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notesSlides/notesSlide5.xml" ContentType="application/vnd.openxmlformats-officedocument.presentationml.notesSlid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notesSlides/notesSlide6.xml" ContentType="application/vnd.openxmlformats-officedocument.presentationml.notesSlide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3" r:id="rId1"/>
  </p:sldMasterIdLst>
  <p:notesMasterIdLst>
    <p:notesMasterId r:id="rId47"/>
  </p:notesMasterIdLst>
  <p:sldIdLst>
    <p:sldId id="256" r:id="rId2"/>
    <p:sldId id="1726" r:id="rId3"/>
    <p:sldId id="1743" r:id="rId4"/>
    <p:sldId id="1727" r:id="rId5"/>
    <p:sldId id="1647" r:id="rId6"/>
    <p:sldId id="1643" r:id="rId7"/>
    <p:sldId id="1649" r:id="rId8"/>
    <p:sldId id="1728" r:id="rId9"/>
    <p:sldId id="1695" r:id="rId10"/>
    <p:sldId id="1575" r:id="rId11"/>
    <p:sldId id="1574" r:id="rId12"/>
    <p:sldId id="1724" r:id="rId13"/>
    <p:sldId id="1772" r:id="rId14"/>
    <p:sldId id="1744" r:id="rId15"/>
    <p:sldId id="1745" r:id="rId16"/>
    <p:sldId id="1756" r:id="rId17"/>
    <p:sldId id="1757" r:id="rId18"/>
    <p:sldId id="1748" r:id="rId19"/>
    <p:sldId id="1749" r:id="rId20"/>
    <p:sldId id="1752" r:id="rId21"/>
    <p:sldId id="1750" r:id="rId22"/>
    <p:sldId id="1753" r:id="rId23"/>
    <p:sldId id="1754" r:id="rId24"/>
    <p:sldId id="1755" r:id="rId25"/>
    <p:sldId id="1759" r:id="rId26"/>
    <p:sldId id="1758" r:id="rId27"/>
    <p:sldId id="1746" r:id="rId28"/>
    <p:sldId id="1761" r:id="rId29"/>
    <p:sldId id="1762" r:id="rId30"/>
    <p:sldId id="1763" r:id="rId31"/>
    <p:sldId id="1737" r:id="rId32"/>
    <p:sldId id="1733" r:id="rId33"/>
    <p:sldId id="1770" r:id="rId34"/>
    <p:sldId id="1771" r:id="rId35"/>
    <p:sldId id="1738" r:id="rId36"/>
    <p:sldId id="1739" r:id="rId37"/>
    <p:sldId id="1740" r:id="rId38"/>
    <p:sldId id="1741" r:id="rId39"/>
    <p:sldId id="1729" r:id="rId40"/>
    <p:sldId id="1742" r:id="rId41"/>
    <p:sldId id="1764" r:id="rId42"/>
    <p:sldId id="1765" r:id="rId43"/>
    <p:sldId id="1767" r:id="rId44"/>
    <p:sldId id="1769" r:id="rId45"/>
    <p:sldId id="1768" r:id="rId4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9ADC"/>
    <a:srgbClr val="3FA3DC"/>
    <a:srgbClr val="3C9AD0"/>
    <a:srgbClr val="58B4D0"/>
    <a:srgbClr val="4FB8BC"/>
    <a:srgbClr val="F0855B"/>
    <a:srgbClr val="FF9B4A"/>
    <a:srgbClr val="FFBC28"/>
    <a:srgbClr val="BC4D32"/>
    <a:srgbClr val="9A0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/>
    <p:restoredTop sz="96966"/>
  </p:normalViewPr>
  <p:slideViewPr>
    <p:cSldViewPr snapToGrid="0">
      <p:cViewPr>
        <p:scale>
          <a:sx n="124" d="100"/>
          <a:sy n="124" d="100"/>
        </p:scale>
        <p:origin x="2496" y="146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" name="Google Shape;33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759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515826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3637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246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7203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1367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9696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039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526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703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98981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450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3837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1301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980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1567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15964faf8e4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Google Shape;73;g15964faf8e4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768436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g139b736f1b9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1" name="Google Shape;81;g139b736f1b9_0_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96626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g139b736f1b9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1" name="Google Shape;81;g139b736f1b9_0_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9441316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277837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444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809588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8132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b="0" i="0" dirty="0">
                <a:solidFill>
                  <a:srgbClr val="2E3338"/>
                </a:solidFill>
                <a:effectLst/>
                <a:latin typeface="Whitney"/>
              </a:rPr>
              <a:t>Guidance. The weekly workshops and study halls with live instructors and TAs is really special. Self-paced might </a:t>
            </a:r>
            <a:r>
              <a:rPr lang="en-GB" b="0" i="1" dirty="0">
                <a:solidFill>
                  <a:srgbClr val="2E3338"/>
                </a:solidFill>
                <a:effectLst/>
                <a:latin typeface="Whitney"/>
              </a:rPr>
              <a:t>seem</a:t>
            </a:r>
            <a:r>
              <a:rPr lang="en-GB" b="0" i="0" dirty="0">
                <a:solidFill>
                  <a:srgbClr val="2E3338"/>
                </a:solidFill>
                <a:effectLst/>
                <a:latin typeface="Whitney"/>
              </a:rPr>
              <a:t> faster/more convenient having one-on-one help for troubleshooting makes a world of difference compared to being on your own, especially for first-time learners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b="0" i="0" dirty="0">
              <a:solidFill>
                <a:srgbClr val="2E3338"/>
              </a:solidFill>
              <a:effectLst/>
              <a:latin typeface="Whitney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b="0" i="0" dirty="0">
                <a:solidFill>
                  <a:srgbClr val="2E3338"/>
                </a:solidFill>
                <a:effectLst/>
                <a:latin typeface="Whitney"/>
              </a:rPr>
              <a:t> 2. Accountability. Guided cohort gives more structure and incentive to actually do the otherwise self-paced conten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b="0" i="0" dirty="0">
              <a:solidFill>
                <a:srgbClr val="2E3338"/>
              </a:solidFill>
              <a:effectLst/>
              <a:latin typeface="Whitney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b="0" i="0" dirty="0">
                <a:solidFill>
                  <a:srgbClr val="2E3338"/>
                </a:solidFill>
                <a:effectLst/>
                <a:latin typeface="Whitney"/>
              </a:rPr>
              <a:t> 3. Social connections/collaboration/classroom set-up. What Laure mentioned about getting to know peers, as well as getting </a:t>
            </a:r>
            <a:r>
              <a:rPr lang="en-GB" b="0" i="0" dirty="0" err="1">
                <a:solidFill>
                  <a:srgbClr val="2E3338"/>
                </a:solidFill>
                <a:effectLst/>
                <a:latin typeface="Whitney"/>
              </a:rPr>
              <a:t>firsthand</a:t>
            </a:r>
            <a:r>
              <a:rPr lang="en-GB" b="0" i="0" dirty="0">
                <a:solidFill>
                  <a:srgbClr val="2E3338"/>
                </a:solidFill>
                <a:effectLst/>
                <a:latin typeface="Whitney"/>
              </a:rPr>
              <a:t> exposure to how different people use R to address the similar tasks. In the end they will have a lot more example code to look at than if they took the self-paced asynchronous version.</a:t>
            </a: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1369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4243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0682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3809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5898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12398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896438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6795696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236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5D04A-391D-DD41-BE9D-8F66D6FB245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282437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245038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Projects that use contextually-relevant epidemiological data from SSA, LM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Core offerings philanthropically-funded &amp; crowdsourc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17161C"/>
                </a:solidFill>
                <a:latin typeface="Avenir Next" panose="020B0503020202020204" pitchFamily="34" charset="0"/>
                <a:ea typeface="Nunito"/>
                <a:cs typeface="Nunito"/>
                <a:sym typeface="Nunito"/>
              </a:rPr>
              <a:t>Best-in-class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16680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15964faf8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15964faf8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539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5D04A-391D-DD41-BE9D-8F66D6FB245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0989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5D04A-391D-DD41-BE9D-8F66D6FB245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0646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/>
              <a:t>In our work with WHO AFRO member countries and other partners in low and middle income countries, we observe that there is a real scarcity of well-trained data analysts. Benido &amp; Olivia has told you a little bit about this. </a:t>
            </a:r>
          </a:p>
          <a:p>
            <a:endParaRPr lang="en-CH"/>
          </a:p>
          <a:p>
            <a:r>
              <a:rPr lang="en-CH"/>
              <a:t>But there is a rich pool of potential analysts. </a:t>
            </a:r>
          </a:p>
          <a:p>
            <a:endParaRPr lang="en-CH"/>
          </a:p>
          <a:p>
            <a:r>
              <a:rPr lang="en-CH"/>
              <a:t>Many LMIC countries have large younf populations</a:t>
            </a:r>
          </a:p>
          <a:p>
            <a:r>
              <a:rPr lang="en-GB"/>
              <a:t>W</a:t>
            </a:r>
            <a:r>
              <a:rPr lang="en-CH"/>
              <a:t>here literacy is increasing quickly</a:t>
            </a:r>
          </a:p>
          <a:p>
            <a:r>
              <a:rPr lang="en-GB"/>
              <a:t>I</a:t>
            </a:r>
            <a:r>
              <a:rPr lang="en-CH"/>
              <a:t>nterest in software &amp; data</a:t>
            </a:r>
          </a:p>
          <a:p>
            <a:r>
              <a:rPr lang="en-CH"/>
              <a:t>Internet a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102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070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17161C"/>
              </a:solidFill>
              <a:latin typeface="Avenir Next" panose="020B0503020202020204" pitchFamily="34" charset="0"/>
              <a:ea typeface="Nunito"/>
              <a:cs typeface="Nunito"/>
              <a:sym typeface="Nuni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6202F-DEF9-4191-8752-62497FCB2E3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903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ctrTitle"/>
          </p:nvPr>
        </p:nvSpPr>
        <p:spPr>
          <a:xfrm>
            <a:off x="1143000" y="1316728"/>
            <a:ext cx="6858000" cy="13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4500"/>
              <a:buFont typeface="Calibri"/>
              <a:buNone/>
              <a:defRPr sz="4500">
                <a:solidFill>
                  <a:srgbClr val="202934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31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>
            <a:lvl1pPr marR="0" lvl="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202934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20293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R="0" lvl="2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202934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R="0" lvl="3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202934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R="0" lvl="4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202934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R="0" lvl="5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"/>
          <p:cNvSpPr txBox="1"/>
          <p:nvPr/>
        </p:nvSpPr>
        <p:spPr>
          <a:xfrm>
            <a:off x="3253740" y="-15240"/>
            <a:ext cx="138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"/>
          <p:cNvSpPr txBox="1">
            <a:spLocks noGrp="1"/>
          </p:cNvSpPr>
          <p:nvPr>
            <p:ph type="body" idx="1"/>
          </p:nvPr>
        </p:nvSpPr>
        <p:spPr>
          <a:xfrm>
            <a:off x="237839" y="593822"/>
            <a:ext cx="8635800" cy="13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202934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title"/>
          </p:nvPr>
        </p:nvSpPr>
        <p:spPr>
          <a:xfrm>
            <a:off x="237839" y="110751"/>
            <a:ext cx="43341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4"/>
          <p:cNvSpPr txBox="1">
            <a:spLocks noGrp="1"/>
          </p:cNvSpPr>
          <p:nvPr>
            <p:ph type="title"/>
          </p:nvPr>
        </p:nvSpPr>
        <p:spPr>
          <a:xfrm>
            <a:off x="237839" y="89977"/>
            <a:ext cx="49437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o graphics">
  <p:cSld name="No graphic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6"/>
          <p:cNvSpPr txBox="1">
            <a:spLocks noGrp="1"/>
          </p:cNvSpPr>
          <p:nvPr>
            <p:ph type="title"/>
          </p:nvPr>
        </p:nvSpPr>
        <p:spPr>
          <a:xfrm>
            <a:off x="237839" y="89977"/>
            <a:ext cx="49437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23CD96-4E75-8D46-A94C-25A13CA11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61177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1DF18-016A-4577-8FAA-6FCC3E354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5487CF-99BC-44C9-9653-4EE256DF1C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885" y="2033982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0C7678-2BB4-4070-A4EE-CF76C70C61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7AD6674-EA90-453B-8FC0-8A39EDFD646B}" type="datetimeFigureOut">
              <a:rPr lang="en-US" smtClean="0"/>
              <a:t>4/3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068B9-ABD6-4F54-A96E-88896E0AFE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548480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0D1DAD-D08D-451B-A59F-FB71A50E0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1DA17-C8BC-4ADF-98F1-EAE4D2D3D3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096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262C26-1ABD-A04D-952A-06B49CC00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7838" y="845282"/>
            <a:ext cx="8635745" cy="116955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>
                <a:latin typeface="Avenir Next LT Pro" panose="020B0504020202020204" pitchFamily="34" charset="77"/>
              </a:defRPr>
            </a:lvl1pPr>
            <a:lvl2pPr>
              <a:defRPr>
                <a:latin typeface="Avenir Next LT Pro" panose="020B0504020202020204" pitchFamily="34" charset="77"/>
              </a:defRPr>
            </a:lvl2pPr>
            <a:lvl3pPr>
              <a:defRPr>
                <a:latin typeface="Avenir Next LT Pro" panose="020B0504020202020204" pitchFamily="34" charset="77"/>
              </a:defRPr>
            </a:lvl3pPr>
            <a:lvl4pPr>
              <a:defRPr>
                <a:latin typeface="Avenir Next LT Pro" panose="020B0504020202020204" pitchFamily="34" charset="77"/>
              </a:defRPr>
            </a:lvl4pPr>
            <a:lvl5pPr>
              <a:defRPr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C76BCE8-9C3B-87D7-BAA1-4EAB986E1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838" y="78435"/>
            <a:ext cx="4334162" cy="4247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594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2F0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37839" y="89977"/>
            <a:ext cx="49437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2400"/>
              <a:buFont typeface="Calibri"/>
              <a:buNone/>
              <a:defRPr sz="2400" b="1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cxnSp>
        <p:nvCxnSpPr>
          <p:cNvPr id="7" name="Google Shape;7;p1"/>
          <p:cNvCxnSpPr/>
          <p:nvPr/>
        </p:nvCxnSpPr>
        <p:spPr>
          <a:xfrm>
            <a:off x="-3581" y="5122201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02934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8;p1"/>
          <p:cNvCxnSpPr/>
          <p:nvPr/>
        </p:nvCxnSpPr>
        <p:spPr>
          <a:xfrm>
            <a:off x="1519226" y="5122201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E75B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" name="Google Shape;9;p1"/>
          <p:cNvCxnSpPr/>
          <p:nvPr/>
        </p:nvCxnSpPr>
        <p:spPr>
          <a:xfrm>
            <a:off x="3042034" y="5122201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4EA4A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" name="Google Shape;10;p1"/>
          <p:cNvCxnSpPr/>
          <p:nvPr/>
        </p:nvCxnSpPr>
        <p:spPr>
          <a:xfrm>
            <a:off x="4564841" y="5122201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02934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1;p1"/>
          <p:cNvCxnSpPr/>
          <p:nvPr/>
        </p:nvCxnSpPr>
        <p:spPr>
          <a:xfrm>
            <a:off x="6087648" y="5122201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E75B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2" name="Google Shape;12;p1"/>
          <p:cNvCxnSpPr/>
          <p:nvPr/>
        </p:nvCxnSpPr>
        <p:spPr>
          <a:xfrm>
            <a:off x="7610456" y="5122201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4EA4A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" name="Google Shape;13;p1"/>
          <p:cNvCxnSpPr/>
          <p:nvPr/>
        </p:nvCxnSpPr>
        <p:spPr>
          <a:xfrm>
            <a:off x="-3581" y="588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02934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" name="Google Shape;14;p1"/>
          <p:cNvCxnSpPr/>
          <p:nvPr/>
        </p:nvCxnSpPr>
        <p:spPr>
          <a:xfrm>
            <a:off x="1519226" y="588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E75B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5" name="Google Shape;15;p1"/>
          <p:cNvCxnSpPr/>
          <p:nvPr/>
        </p:nvCxnSpPr>
        <p:spPr>
          <a:xfrm>
            <a:off x="3042034" y="588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4EA4AD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" name="Google Shape;16;p1"/>
          <p:cNvCxnSpPr/>
          <p:nvPr/>
        </p:nvCxnSpPr>
        <p:spPr>
          <a:xfrm>
            <a:off x="4564841" y="588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02934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7;p1"/>
          <p:cNvCxnSpPr/>
          <p:nvPr/>
        </p:nvCxnSpPr>
        <p:spPr>
          <a:xfrm>
            <a:off x="6087648" y="588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2E75B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8" name="Google Shape;18;p1"/>
          <p:cNvCxnSpPr/>
          <p:nvPr/>
        </p:nvCxnSpPr>
        <p:spPr>
          <a:xfrm>
            <a:off x="7610456" y="588"/>
            <a:ext cx="1530000" cy="0"/>
          </a:xfrm>
          <a:prstGeom prst="straightConnector1">
            <a:avLst/>
          </a:prstGeom>
          <a:noFill/>
          <a:ln w="76200" cap="flat" cmpd="sng">
            <a:solidFill>
              <a:srgbClr val="4EA4AD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5" r:id="rId6"/>
    <p:sldLayoutId id="2147483656" r:id="rId7"/>
    <p:sldLayoutId id="2147483657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jpg"/><Relationship Id="rId4" Type="http://schemas.openxmlformats.org/officeDocument/2006/relationships/image" Target="../media/image27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3.jpg"/><Relationship Id="rId4" Type="http://schemas.openxmlformats.org/officeDocument/2006/relationships/image" Target="../media/image42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6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microsoft.com/office/2007/relationships/hdphoto" Target="../media/hdphoto2.wdp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g"/><Relationship Id="rId13" Type="http://schemas.openxmlformats.org/officeDocument/2006/relationships/image" Target="../media/image61.jpg"/><Relationship Id="rId3" Type="http://schemas.openxmlformats.org/officeDocument/2006/relationships/image" Target="../media/image51.jpg"/><Relationship Id="rId7" Type="http://schemas.openxmlformats.org/officeDocument/2006/relationships/image" Target="../media/image55.jpg"/><Relationship Id="rId12" Type="http://schemas.openxmlformats.org/officeDocument/2006/relationships/image" Target="../media/image60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jpg"/><Relationship Id="rId11" Type="http://schemas.openxmlformats.org/officeDocument/2006/relationships/image" Target="../media/image59.jpg"/><Relationship Id="rId5" Type="http://schemas.openxmlformats.org/officeDocument/2006/relationships/image" Target="../media/image53.jpg"/><Relationship Id="rId10" Type="http://schemas.openxmlformats.org/officeDocument/2006/relationships/image" Target="../media/image58.jpg"/><Relationship Id="rId4" Type="http://schemas.openxmlformats.org/officeDocument/2006/relationships/image" Target="../media/image52.jpg"/><Relationship Id="rId9" Type="http://schemas.openxmlformats.org/officeDocument/2006/relationships/image" Target="../media/image57.jp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://whenisgood.net/RStudyHall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mailto:trainingteam@thegraphnetwork.org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tags" Target="../tags/tag38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slideLayout" Target="../slideLayouts/slideLayout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notesSlide" Target="../notesSlides/notesSlide5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4.jpe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5.jpe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6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499.xml"/><Relationship Id="rId299" Type="http://schemas.openxmlformats.org/officeDocument/2006/relationships/tags" Target="../tags/tag681.xml"/><Relationship Id="rId21" Type="http://schemas.openxmlformats.org/officeDocument/2006/relationships/tags" Target="../tags/tag403.xml"/><Relationship Id="rId63" Type="http://schemas.openxmlformats.org/officeDocument/2006/relationships/tags" Target="../tags/tag445.xml"/><Relationship Id="rId159" Type="http://schemas.openxmlformats.org/officeDocument/2006/relationships/tags" Target="../tags/tag541.xml"/><Relationship Id="rId324" Type="http://schemas.openxmlformats.org/officeDocument/2006/relationships/tags" Target="../tags/tag706.xml"/><Relationship Id="rId366" Type="http://schemas.openxmlformats.org/officeDocument/2006/relationships/tags" Target="../tags/tag748.xml"/><Relationship Id="rId170" Type="http://schemas.openxmlformats.org/officeDocument/2006/relationships/tags" Target="../tags/tag552.xml"/><Relationship Id="rId226" Type="http://schemas.openxmlformats.org/officeDocument/2006/relationships/tags" Target="../tags/tag608.xml"/><Relationship Id="rId268" Type="http://schemas.openxmlformats.org/officeDocument/2006/relationships/tags" Target="../tags/tag650.xml"/><Relationship Id="rId32" Type="http://schemas.openxmlformats.org/officeDocument/2006/relationships/tags" Target="../tags/tag414.xml"/><Relationship Id="rId74" Type="http://schemas.openxmlformats.org/officeDocument/2006/relationships/tags" Target="../tags/tag456.xml"/><Relationship Id="rId128" Type="http://schemas.openxmlformats.org/officeDocument/2006/relationships/tags" Target="../tags/tag510.xml"/><Relationship Id="rId335" Type="http://schemas.openxmlformats.org/officeDocument/2006/relationships/tags" Target="../tags/tag717.xml"/><Relationship Id="rId377" Type="http://schemas.openxmlformats.org/officeDocument/2006/relationships/tags" Target="../tags/tag759.xml"/><Relationship Id="rId5" Type="http://schemas.openxmlformats.org/officeDocument/2006/relationships/tags" Target="../tags/tag387.xml"/><Relationship Id="rId181" Type="http://schemas.openxmlformats.org/officeDocument/2006/relationships/tags" Target="../tags/tag563.xml"/><Relationship Id="rId237" Type="http://schemas.openxmlformats.org/officeDocument/2006/relationships/tags" Target="../tags/tag619.xml"/><Relationship Id="rId402" Type="http://schemas.openxmlformats.org/officeDocument/2006/relationships/image" Target="../media/image18.jpeg"/><Relationship Id="rId279" Type="http://schemas.openxmlformats.org/officeDocument/2006/relationships/tags" Target="../tags/tag661.xml"/><Relationship Id="rId43" Type="http://schemas.openxmlformats.org/officeDocument/2006/relationships/tags" Target="../tags/tag425.xml"/><Relationship Id="rId139" Type="http://schemas.openxmlformats.org/officeDocument/2006/relationships/tags" Target="../tags/tag521.xml"/><Relationship Id="rId290" Type="http://schemas.openxmlformats.org/officeDocument/2006/relationships/tags" Target="../tags/tag672.xml"/><Relationship Id="rId304" Type="http://schemas.openxmlformats.org/officeDocument/2006/relationships/tags" Target="../tags/tag686.xml"/><Relationship Id="rId346" Type="http://schemas.openxmlformats.org/officeDocument/2006/relationships/tags" Target="../tags/tag728.xml"/><Relationship Id="rId388" Type="http://schemas.openxmlformats.org/officeDocument/2006/relationships/notesSlide" Target="../notesSlides/notesSlide6.xml"/><Relationship Id="rId85" Type="http://schemas.openxmlformats.org/officeDocument/2006/relationships/tags" Target="../tags/tag467.xml"/><Relationship Id="rId150" Type="http://schemas.openxmlformats.org/officeDocument/2006/relationships/tags" Target="../tags/tag532.xml"/><Relationship Id="rId192" Type="http://schemas.openxmlformats.org/officeDocument/2006/relationships/tags" Target="../tags/tag574.xml"/><Relationship Id="rId206" Type="http://schemas.openxmlformats.org/officeDocument/2006/relationships/tags" Target="../tags/tag588.xml"/><Relationship Id="rId248" Type="http://schemas.openxmlformats.org/officeDocument/2006/relationships/tags" Target="../tags/tag630.xml"/><Relationship Id="rId12" Type="http://schemas.openxmlformats.org/officeDocument/2006/relationships/tags" Target="../tags/tag394.xml"/><Relationship Id="rId108" Type="http://schemas.openxmlformats.org/officeDocument/2006/relationships/tags" Target="../tags/tag490.xml"/><Relationship Id="rId315" Type="http://schemas.openxmlformats.org/officeDocument/2006/relationships/tags" Target="../tags/tag697.xml"/><Relationship Id="rId357" Type="http://schemas.openxmlformats.org/officeDocument/2006/relationships/tags" Target="../tags/tag739.xml"/><Relationship Id="rId54" Type="http://schemas.openxmlformats.org/officeDocument/2006/relationships/tags" Target="../tags/tag436.xml"/><Relationship Id="rId96" Type="http://schemas.openxmlformats.org/officeDocument/2006/relationships/tags" Target="../tags/tag478.xml"/><Relationship Id="rId161" Type="http://schemas.openxmlformats.org/officeDocument/2006/relationships/tags" Target="../tags/tag543.xml"/><Relationship Id="rId217" Type="http://schemas.openxmlformats.org/officeDocument/2006/relationships/tags" Target="../tags/tag599.xml"/><Relationship Id="rId399" Type="http://schemas.openxmlformats.org/officeDocument/2006/relationships/image" Target="../media/image4.jpeg"/><Relationship Id="rId259" Type="http://schemas.openxmlformats.org/officeDocument/2006/relationships/tags" Target="../tags/tag641.xml"/><Relationship Id="rId23" Type="http://schemas.openxmlformats.org/officeDocument/2006/relationships/tags" Target="../tags/tag405.xml"/><Relationship Id="rId119" Type="http://schemas.openxmlformats.org/officeDocument/2006/relationships/tags" Target="../tags/tag501.xml"/><Relationship Id="rId270" Type="http://schemas.openxmlformats.org/officeDocument/2006/relationships/tags" Target="../tags/tag652.xml"/><Relationship Id="rId326" Type="http://schemas.openxmlformats.org/officeDocument/2006/relationships/tags" Target="../tags/tag708.xml"/><Relationship Id="rId65" Type="http://schemas.openxmlformats.org/officeDocument/2006/relationships/tags" Target="../tags/tag447.xml"/><Relationship Id="rId130" Type="http://schemas.openxmlformats.org/officeDocument/2006/relationships/tags" Target="../tags/tag512.xml"/><Relationship Id="rId368" Type="http://schemas.openxmlformats.org/officeDocument/2006/relationships/tags" Target="../tags/tag750.xml"/><Relationship Id="rId172" Type="http://schemas.openxmlformats.org/officeDocument/2006/relationships/tags" Target="../tags/tag554.xml"/><Relationship Id="rId228" Type="http://schemas.openxmlformats.org/officeDocument/2006/relationships/tags" Target="../tags/tag610.xml"/><Relationship Id="rId281" Type="http://schemas.openxmlformats.org/officeDocument/2006/relationships/tags" Target="../tags/tag663.xml"/><Relationship Id="rId337" Type="http://schemas.openxmlformats.org/officeDocument/2006/relationships/tags" Target="../tags/tag719.xml"/><Relationship Id="rId34" Type="http://schemas.openxmlformats.org/officeDocument/2006/relationships/tags" Target="../tags/tag416.xml"/><Relationship Id="rId76" Type="http://schemas.openxmlformats.org/officeDocument/2006/relationships/tags" Target="../tags/tag458.xml"/><Relationship Id="rId141" Type="http://schemas.openxmlformats.org/officeDocument/2006/relationships/tags" Target="../tags/tag523.xml"/><Relationship Id="rId379" Type="http://schemas.openxmlformats.org/officeDocument/2006/relationships/tags" Target="../tags/tag761.xml"/><Relationship Id="rId7" Type="http://schemas.openxmlformats.org/officeDocument/2006/relationships/tags" Target="../tags/tag389.xml"/><Relationship Id="rId183" Type="http://schemas.openxmlformats.org/officeDocument/2006/relationships/tags" Target="../tags/tag565.xml"/><Relationship Id="rId239" Type="http://schemas.openxmlformats.org/officeDocument/2006/relationships/tags" Target="../tags/tag621.xml"/><Relationship Id="rId390" Type="http://schemas.openxmlformats.org/officeDocument/2006/relationships/image" Target="../media/image8.png"/><Relationship Id="rId250" Type="http://schemas.openxmlformats.org/officeDocument/2006/relationships/tags" Target="../tags/tag632.xml"/><Relationship Id="rId292" Type="http://schemas.openxmlformats.org/officeDocument/2006/relationships/tags" Target="../tags/tag674.xml"/><Relationship Id="rId306" Type="http://schemas.openxmlformats.org/officeDocument/2006/relationships/tags" Target="../tags/tag688.xml"/><Relationship Id="rId45" Type="http://schemas.openxmlformats.org/officeDocument/2006/relationships/tags" Target="../tags/tag427.xml"/><Relationship Id="rId87" Type="http://schemas.openxmlformats.org/officeDocument/2006/relationships/tags" Target="../tags/tag469.xml"/><Relationship Id="rId110" Type="http://schemas.openxmlformats.org/officeDocument/2006/relationships/tags" Target="../tags/tag492.xml"/><Relationship Id="rId348" Type="http://schemas.openxmlformats.org/officeDocument/2006/relationships/tags" Target="../tags/tag730.xml"/><Relationship Id="rId152" Type="http://schemas.openxmlformats.org/officeDocument/2006/relationships/tags" Target="../tags/tag534.xml"/><Relationship Id="rId194" Type="http://schemas.openxmlformats.org/officeDocument/2006/relationships/tags" Target="../tags/tag576.xml"/><Relationship Id="rId208" Type="http://schemas.openxmlformats.org/officeDocument/2006/relationships/tags" Target="../tags/tag590.xml"/><Relationship Id="rId261" Type="http://schemas.openxmlformats.org/officeDocument/2006/relationships/tags" Target="../tags/tag643.xml"/><Relationship Id="rId14" Type="http://schemas.openxmlformats.org/officeDocument/2006/relationships/tags" Target="../tags/tag396.xml"/><Relationship Id="rId56" Type="http://schemas.openxmlformats.org/officeDocument/2006/relationships/tags" Target="../tags/tag438.xml"/><Relationship Id="rId317" Type="http://schemas.openxmlformats.org/officeDocument/2006/relationships/tags" Target="../tags/tag699.xml"/><Relationship Id="rId359" Type="http://schemas.openxmlformats.org/officeDocument/2006/relationships/tags" Target="../tags/tag741.xml"/><Relationship Id="rId98" Type="http://schemas.openxmlformats.org/officeDocument/2006/relationships/tags" Target="../tags/tag480.xml"/><Relationship Id="rId121" Type="http://schemas.openxmlformats.org/officeDocument/2006/relationships/tags" Target="../tags/tag503.xml"/><Relationship Id="rId163" Type="http://schemas.openxmlformats.org/officeDocument/2006/relationships/tags" Target="../tags/tag545.xml"/><Relationship Id="rId219" Type="http://schemas.openxmlformats.org/officeDocument/2006/relationships/tags" Target="../tags/tag601.xml"/><Relationship Id="rId370" Type="http://schemas.openxmlformats.org/officeDocument/2006/relationships/tags" Target="../tags/tag752.xml"/><Relationship Id="rId230" Type="http://schemas.openxmlformats.org/officeDocument/2006/relationships/tags" Target="../tags/tag612.xml"/><Relationship Id="rId25" Type="http://schemas.openxmlformats.org/officeDocument/2006/relationships/tags" Target="../tags/tag407.xml"/><Relationship Id="rId67" Type="http://schemas.openxmlformats.org/officeDocument/2006/relationships/tags" Target="../tags/tag449.xml"/><Relationship Id="rId272" Type="http://schemas.openxmlformats.org/officeDocument/2006/relationships/tags" Target="../tags/tag654.xml"/><Relationship Id="rId328" Type="http://schemas.openxmlformats.org/officeDocument/2006/relationships/tags" Target="../tags/tag710.xml"/><Relationship Id="rId132" Type="http://schemas.openxmlformats.org/officeDocument/2006/relationships/tags" Target="../tags/tag514.xml"/><Relationship Id="rId174" Type="http://schemas.openxmlformats.org/officeDocument/2006/relationships/tags" Target="../tags/tag556.xml"/><Relationship Id="rId381" Type="http://schemas.openxmlformats.org/officeDocument/2006/relationships/tags" Target="../tags/tag763.xml"/><Relationship Id="rId241" Type="http://schemas.openxmlformats.org/officeDocument/2006/relationships/tags" Target="../tags/tag623.xml"/><Relationship Id="rId36" Type="http://schemas.openxmlformats.org/officeDocument/2006/relationships/tags" Target="../tags/tag418.xml"/><Relationship Id="rId283" Type="http://schemas.openxmlformats.org/officeDocument/2006/relationships/tags" Target="../tags/tag665.xml"/><Relationship Id="rId339" Type="http://schemas.openxmlformats.org/officeDocument/2006/relationships/tags" Target="../tags/tag721.xml"/><Relationship Id="rId78" Type="http://schemas.openxmlformats.org/officeDocument/2006/relationships/tags" Target="../tags/tag460.xml"/><Relationship Id="rId101" Type="http://schemas.openxmlformats.org/officeDocument/2006/relationships/tags" Target="../tags/tag483.xml"/><Relationship Id="rId143" Type="http://schemas.openxmlformats.org/officeDocument/2006/relationships/tags" Target="../tags/tag525.xml"/><Relationship Id="rId185" Type="http://schemas.openxmlformats.org/officeDocument/2006/relationships/tags" Target="../tags/tag567.xml"/><Relationship Id="rId350" Type="http://schemas.openxmlformats.org/officeDocument/2006/relationships/tags" Target="../tags/tag732.xml"/><Relationship Id="rId9" Type="http://schemas.openxmlformats.org/officeDocument/2006/relationships/tags" Target="../tags/tag391.xml"/><Relationship Id="rId210" Type="http://schemas.openxmlformats.org/officeDocument/2006/relationships/tags" Target="../tags/tag592.xml"/><Relationship Id="rId392" Type="http://schemas.openxmlformats.org/officeDocument/2006/relationships/image" Target="../media/image10.png"/><Relationship Id="rId252" Type="http://schemas.openxmlformats.org/officeDocument/2006/relationships/tags" Target="../tags/tag634.xml"/><Relationship Id="rId294" Type="http://schemas.openxmlformats.org/officeDocument/2006/relationships/tags" Target="../tags/tag676.xml"/><Relationship Id="rId308" Type="http://schemas.openxmlformats.org/officeDocument/2006/relationships/tags" Target="../tags/tag690.xml"/><Relationship Id="rId47" Type="http://schemas.openxmlformats.org/officeDocument/2006/relationships/tags" Target="../tags/tag429.xml"/><Relationship Id="rId89" Type="http://schemas.openxmlformats.org/officeDocument/2006/relationships/tags" Target="../tags/tag471.xml"/><Relationship Id="rId112" Type="http://schemas.openxmlformats.org/officeDocument/2006/relationships/tags" Target="../tags/tag494.xml"/><Relationship Id="rId154" Type="http://schemas.openxmlformats.org/officeDocument/2006/relationships/tags" Target="../tags/tag536.xml"/><Relationship Id="rId361" Type="http://schemas.openxmlformats.org/officeDocument/2006/relationships/tags" Target="../tags/tag743.xml"/><Relationship Id="rId196" Type="http://schemas.openxmlformats.org/officeDocument/2006/relationships/tags" Target="../tags/tag578.xml"/><Relationship Id="rId16" Type="http://schemas.openxmlformats.org/officeDocument/2006/relationships/tags" Target="../tags/tag398.xml"/><Relationship Id="rId221" Type="http://schemas.openxmlformats.org/officeDocument/2006/relationships/tags" Target="../tags/tag603.xml"/><Relationship Id="rId263" Type="http://schemas.openxmlformats.org/officeDocument/2006/relationships/tags" Target="../tags/tag645.xml"/><Relationship Id="rId319" Type="http://schemas.openxmlformats.org/officeDocument/2006/relationships/tags" Target="../tags/tag701.xml"/><Relationship Id="rId58" Type="http://schemas.openxmlformats.org/officeDocument/2006/relationships/tags" Target="../tags/tag440.xml"/><Relationship Id="rId123" Type="http://schemas.openxmlformats.org/officeDocument/2006/relationships/tags" Target="../tags/tag505.xml"/><Relationship Id="rId330" Type="http://schemas.openxmlformats.org/officeDocument/2006/relationships/tags" Target="../tags/tag712.xml"/><Relationship Id="rId90" Type="http://schemas.openxmlformats.org/officeDocument/2006/relationships/tags" Target="../tags/tag472.xml"/><Relationship Id="rId165" Type="http://schemas.openxmlformats.org/officeDocument/2006/relationships/tags" Target="../tags/tag547.xml"/><Relationship Id="rId186" Type="http://schemas.openxmlformats.org/officeDocument/2006/relationships/tags" Target="../tags/tag568.xml"/><Relationship Id="rId351" Type="http://schemas.openxmlformats.org/officeDocument/2006/relationships/tags" Target="../tags/tag733.xml"/><Relationship Id="rId372" Type="http://schemas.openxmlformats.org/officeDocument/2006/relationships/tags" Target="../tags/tag754.xml"/><Relationship Id="rId393" Type="http://schemas.openxmlformats.org/officeDocument/2006/relationships/image" Target="../media/image11.jpeg"/><Relationship Id="rId211" Type="http://schemas.openxmlformats.org/officeDocument/2006/relationships/tags" Target="../tags/tag593.xml"/><Relationship Id="rId232" Type="http://schemas.openxmlformats.org/officeDocument/2006/relationships/tags" Target="../tags/tag614.xml"/><Relationship Id="rId253" Type="http://schemas.openxmlformats.org/officeDocument/2006/relationships/tags" Target="../tags/tag635.xml"/><Relationship Id="rId274" Type="http://schemas.openxmlformats.org/officeDocument/2006/relationships/tags" Target="../tags/tag656.xml"/><Relationship Id="rId295" Type="http://schemas.openxmlformats.org/officeDocument/2006/relationships/tags" Target="../tags/tag677.xml"/><Relationship Id="rId309" Type="http://schemas.openxmlformats.org/officeDocument/2006/relationships/tags" Target="../tags/tag691.xml"/><Relationship Id="rId27" Type="http://schemas.openxmlformats.org/officeDocument/2006/relationships/tags" Target="../tags/tag409.xml"/><Relationship Id="rId48" Type="http://schemas.openxmlformats.org/officeDocument/2006/relationships/tags" Target="../tags/tag430.xml"/><Relationship Id="rId69" Type="http://schemas.openxmlformats.org/officeDocument/2006/relationships/tags" Target="../tags/tag451.xml"/><Relationship Id="rId113" Type="http://schemas.openxmlformats.org/officeDocument/2006/relationships/tags" Target="../tags/tag495.xml"/><Relationship Id="rId134" Type="http://schemas.openxmlformats.org/officeDocument/2006/relationships/tags" Target="../tags/tag516.xml"/><Relationship Id="rId320" Type="http://schemas.openxmlformats.org/officeDocument/2006/relationships/tags" Target="../tags/tag702.xml"/><Relationship Id="rId80" Type="http://schemas.openxmlformats.org/officeDocument/2006/relationships/tags" Target="../tags/tag462.xml"/><Relationship Id="rId155" Type="http://schemas.openxmlformats.org/officeDocument/2006/relationships/tags" Target="../tags/tag537.xml"/><Relationship Id="rId176" Type="http://schemas.openxmlformats.org/officeDocument/2006/relationships/tags" Target="../tags/tag558.xml"/><Relationship Id="rId197" Type="http://schemas.openxmlformats.org/officeDocument/2006/relationships/tags" Target="../tags/tag579.xml"/><Relationship Id="rId341" Type="http://schemas.openxmlformats.org/officeDocument/2006/relationships/tags" Target="../tags/tag723.xml"/><Relationship Id="rId362" Type="http://schemas.openxmlformats.org/officeDocument/2006/relationships/tags" Target="../tags/tag744.xml"/><Relationship Id="rId383" Type="http://schemas.openxmlformats.org/officeDocument/2006/relationships/tags" Target="../tags/tag765.xml"/><Relationship Id="rId201" Type="http://schemas.openxmlformats.org/officeDocument/2006/relationships/tags" Target="../tags/tag583.xml"/><Relationship Id="rId222" Type="http://schemas.openxmlformats.org/officeDocument/2006/relationships/tags" Target="../tags/tag604.xml"/><Relationship Id="rId243" Type="http://schemas.openxmlformats.org/officeDocument/2006/relationships/tags" Target="../tags/tag625.xml"/><Relationship Id="rId264" Type="http://schemas.openxmlformats.org/officeDocument/2006/relationships/tags" Target="../tags/tag646.xml"/><Relationship Id="rId285" Type="http://schemas.openxmlformats.org/officeDocument/2006/relationships/tags" Target="../tags/tag667.xml"/><Relationship Id="rId17" Type="http://schemas.openxmlformats.org/officeDocument/2006/relationships/tags" Target="../tags/tag399.xml"/><Relationship Id="rId38" Type="http://schemas.openxmlformats.org/officeDocument/2006/relationships/tags" Target="../tags/tag420.xml"/><Relationship Id="rId59" Type="http://schemas.openxmlformats.org/officeDocument/2006/relationships/tags" Target="../tags/tag441.xml"/><Relationship Id="rId103" Type="http://schemas.openxmlformats.org/officeDocument/2006/relationships/tags" Target="../tags/tag485.xml"/><Relationship Id="rId124" Type="http://schemas.openxmlformats.org/officeDocument/2006/relationships/tags" Target="../tags/tag506.xml"/><Relationship Id="rId310" Type="http://schemas.openxmlformats.org/officeDocument/2006/relationships/tags" Target="../tags/tag692.xml"/><Relationship Id="rId70" Type="http://schemas.openxmlformats.org/officeDocument/2006/relationships/tags" Target="../tags/tag452.xml"/><Relationship Id="rId91" Type="http://schemas.openxmlformats.org/officeDocument/2006/relationships/tags" Target="../tags/tag473.xml"/><Relationship Id="rId145" Type="http://schemas.openxmlformats.org/officeDocument/2006/relationships/tags" Target="../tags/tag527.xml"/><Relationship Id="rId166" Type="http://schemas.openxmlformats.org/officeDocument/2006/relationships/tags" Target="../tags/tag548.xml"/><Relationship Id="rId187" Type="http://schemas.openxmlformats.org/officeDocument/2006/relationships/tags" Target="../tags/tag569.xml"/><Relationship Id="rId331" Type="http://schemas.openxmlformats.org/officeDocument/2006/relationships/tags" Target="../tags/tag713.xml"/><Relationship Id="rId352" Type="http://schemas.openxmlformats.org/officeDocument/2006/relationships/tags" Target="../tags/tag734.xml"/><Relationship Id="rId373" Type="http://schemas.openxmlformats.org/officeDocument/2006/relationships/tags" Target="../tags/tag755.xml"/><Relationship Id="rId394" Type="http://schemas.openxmlformats.org/officeDocument/2006/relationships/image" Target="../media/image12.png"/><Relationship Id="rId1" Type="http://schemas.openxmlformats.org/officeDocument/2006/relationships/tags" Target="../tags/tag383.xml"/><Relationship Id="rId212" Type="http://schemas.openxmlformats.org/officeDocument/2006/relationships/tags" Target="../tags/tag594.xml"/><Relationship Id="rId233" Type="http://schemas.openxmlformats.org/officeDocument/2006/relationships/tags" Target="../tags/tag615.xml"/><Relationship Id="rId254" Type="http://schemas.openxmlformats.org/officeDocument/2006/relationships/tags" Target="../tags/tag636.xml"/><Relationship Id="rId28" Type="http://schemas.openxmlformats.org/officeDocument/2006/relationships/tags" Target="../tags/tag410.xml"/><Relationship Id="rId49" Type="http://schemas.openxmlformats.org/officeDocument/2006/relationships/tags" Target="../tags/tag431.xml"/><Relationship Id="rId114" Type="http://schemas.openxmlformats.org/officeDocument/2006/relationships/tags" Target="../tags/tag496.xml"/><Relationship Id="rId275" Type="http://schemas.openxmlformats.org/officeDocument/2006/relationships/tags" Target="../tags/tag657.xml"/><Relationship Id="rId296" Type="http://schemas.openxmlformats.org/officeDocument/2006/relationships/tags" Target="../tags/tag678.xml"/><Relationship Id="rId300" Type="http://schemas.openxmlformats.org/officeDocument/2006/relationships/tags" Target="../tags/tag682.xml"/><Relationship Id="rId60" Type="http://schemas.openxmlformats.org/officeDocument/2006/relationships/tags" Target="../tags/tag442.xml"/><Relationship Id="rId81" Type="http://schemas.openxmlformats.org/officeDocument/2006/relationships/tags" Target="../tags/tag463.xml"/><Relationship Id="rId135" Type="http://schemas.openxmlformats.org/officeDocument/2006/relationships/tags" Target="../tags/tag517.xml"/><Relationship Id="rId156" Type="http://schemas.openxmlformats.org/officeDocument/2006/relationships/tags" Target="../tags/tag538.xml"/><Relationship Id="rId177" Type="http://schemas.openxmlformats.org/officeDocument/2006/relationships/tags" Target="../tags/tag559.xml"/><Relationship Id="rId198" Type="http://schemas.openxmlformats.org/officeDocument/2006/relationships/tags" Target="../tags/tag580.xml"/><Relationship Id="rId321" Type="http://schemas.openxmlformats.org/officeDocument/2006/relationships/tags" Target="../tags/tag703.xml"/><Relationship Id="rId342" Type="http://schemas.openxmlformats.org/officeDocument/2006/relationships/tags" Target="../tags/tag724.xml"/><Relationship Id="rId363" Type="http://schemas.openxmlformats.org/officeDocument/2006/relationships/tags" Target="../tags/tag745.xml"/><Relationship Id="rId384" Type="http://schemas.openxmlformats.org/officeDocument/2006/relationships/tags" Target="../tags/tag766.xml"/><Relationship Id="rId202" Type="http://schemas.openxmlformats.org/officeDocument/2006/relationships/tags" Target="../tags/tag584.xml"/><Relationship Id="rId223" Type="http://schemas.openxmlformats.org/officeDocument/2006/relationships/tags" Target="../tags/tag605.xml"/><Relationship Id="rId244" Type="http://schemas.openxmlformats.org/officeDocument/2006/relationships/tags" Target="../tags/tag626.xml"/><Relationship Id="rId18" Type="http://schemas.openxmlformats.org/officeDocument/2006/relationships/tags" Target="../tags/tag400.xml"/><Relationship Id="rId39" Type="http://schemas.openxmlformats.org/officeDocument/2006/relationships/tags" Target="../tags/tag421.xml"/><Relationship Id="rId265" Type="http://schemas.openxmlformats.org/officeDocument/2006/relationships/tags" Target="../tags/tag647.xml"/><Relationship Id="rId286" Type="http://schemas.openxmlformats.org/officeDocument/2006/relationships/tags" Target="../tags/tag668.xml"/><Relationship Id="rId50" Type="http://schemas.openxmlformats.org/officeDocument/2006/relationships/tags" Target="../tags/tag432.xml"/><Relationship Id="rId104" Type="http://schemas.openxmlformats.org/officeDocument/2006/relationships/tags" Target="../tags/tag486.xml"/><Relationship Id="rId125" Type="http://schemas.openxmlformats.org/officeDocument/2006/relationships/tags" Target="../tags/tag507.xml"/><Relationship Id="rId146" Type="http://schemas.openxmlformats.org/officeDocument/2006/relationships/tags" Target="../tags/tag528.xml"/><Relationship Id="rId167" Type="http://schemas.openxmlformats.org/officeDocument/2006/relationships/tags" Target="../tags/tag549.xml"/><Relationship Id="rId188" Type="http://schemas.openxmlformats.org/officeDocument/2006/relationships/tags" Target="../tags/tag570.xml"/><Relationship Id="rId311" Type="http://schemas.openxmlformats.org/officeDocument/2006/relationships/tags" Target="../tags/tag693.xml"/><Relationship Id="rId332" Type="http://schemas.openxmlformats.org/officeDocument/2006/relationships/tags" Target="../tags/tag714.xml"/><Relationship Id="rId353" Type="http://schemas.openxmlformats.org/officeDocument/2006/relationships/tags" Target="../tags/tag735.xml"/><Relationship Id="rId374" Type="http://schemas.openxmlformats.org/officeDocument/2006/relationships/tags" Target="../tags/tag756.xml"/><Relationship Id="rId395" Type="http://schemas.openxmlformats.org/officeDocument/2006/relationships/image" Target="../media/image13.png"/><Relationship Id="rId71" Type="http://schemas.openxmlformats.org/officeDocument/2006/relationships/tags" Target="../tags/tag453.xml"/><Relationship Id="rId92" Type="http://schemas.openxmlformats.org/officeDocument/2006/relationships/tags" Target="../tags/tag474.xml"/><Relationship Id="rId213" Type="http://schemas.openxmlformats.org/officeDocument/2006/relationships/tags" Target="../tags/tag595.xml"/><Relationship Id="rId234" Type="http://schemas.openxmlformats.org/officeDocument/2006/relationships/tags" Target="../tags/tag616.xml"/><Relationship Id="rId2" Type="http://schemas.openxmlformats.org/officeDocument/2006/relationships/tags" Target="../tags/tag384.xml"/><Relationship Id="rId29" Type="http://schemas.openxmlformats.org/officeDocument/2006/relationships/tags" Target="../tags/tag411.xml"/><Relationship Id="rId255" Type="http://schemas.openxmlformats.org/officeDocument/2006/relationships/tags" Target="../tags/tag637.xml"/><Relationship Id="rId276" Type="http://schemas.openxmlformats.org/officeDocument/2006/relationships/tags" Target="../tags/tag658.xml"/><Relationship Id="rId297" Type="http://schemas.openxmlformats.org/officeDocument/2006/relationships/tags" Target="../tags/tag679.xml"/><Relationship Id="rId40" Type="http://schemas.openxmlformats.org/officeDocument/2006/relationships/tags" Target="../tags/tag422.xml"/><Relationship Id="rId115" Type="http://schemas.openxmlformats.org/officeDocument/2006/relationships/tags" Target="../tags/tag497.xml"/><Relationship Id="rId136" Type="http://schemas.openxmlformats.org/officeDocument/2006/relationships/tags" Target="../tags/tag518.xml"/><Relationship Id="rId157" Type="http://schemas.openxmlformats.org/officeDocument/2006/relationships/tags" Target="../tags/tag539.xml"/><Relationship Id="rId178" Type="http://schemas.openxmlformats.org/officeDocument/2006/relationships/tags" Target="../tags/tag560.xml"/><Relationship Id="rId301" Type="http://schemas.openxmlformats.org/officeDocument/2006/relationships/tags" Target="../tags/tag683.xml"/><Relationship Id="rId322" Type="http://schemas.openxmlformats.org/officeDocument/2006/relationships/tags" Target="../tags/tag704.xml"/><Relationship Id="rId343" Type="http://schemas.openxmlformats.org/officeDocument/2006/relationships/tags" Target="../tags/tag725.xml"/><Relationship Id="rId364" Type="http://schemas.openxmlformats.org/officeDocument/2006/relationships/tags" Target="../tags/tag746.xml"/><Relationship Id="rId61" Type="http://schemas.openxmlformats.org/officeDocument/2006/relationships/tags" Target="../tags/tag443.xml"/><Relationship Id="rId82" Type="http://schemas.openxmlformats.org/officeDocument/2006/relationships/tags" Target="../tags/tag464.xml"/><Relationship Id="rId199" Type="http://schemas.openxmlformats.org/officeDocument/2006/relationships/tags" Target="../tags/tag581.xml"/><Relationship Id="rId203" Type="http://schemas.openxmlformats.org/officeDocument/2006/relationships/tags" Target="../tags/tag585.xml"/><Relationship Id="rId385" Type="http://schemas.openxmlformats.org/officeDocument/2006/relationships/tags" Target="../tags/tag767.xml"/><Relationship Id="rId19" Type="http://schemas.openxmlformats.org/officeDocument/2006/relationships/tags" Target="../tags/tag401.xml"/><Relationship Id="rId224" Type="http://schemas.openxmlformats.org/officeDocument/2006/relationships/tags" Target="../tags/tag606.xml"/><Relationship Id="rId245" Type="http://schemas.openxmlformats.org/officeDocument/2006/relationships/tags" Target="../tags/tag627.xml"/><Relationship Id="rId266" Type="http://schemas.openxmlformats.org/officeDocument/2006/relationships/tags" Target="../tags/tag648.xml"/><Relationship Id="rId287" Type="http://schemas.openxmlformats.org/officeDocument/2006/relationships/tags" Target="../tags/tag669.xml"/><Relationship Id="rId30" Type="http://schemas.openxmlformats.org/officeDocument/2006/relationships/tags" Target="../tags/tag412.xml"/><Relationship Id="rId105" Type="http://schemas.openxmlformats.org/officeDocument/2006/relationships/tags" Target="../tags/tag487.xml"/><Relationship Id="rId126" Type="http://schemas.openxmlformats.org/officeDocument/2006/relationships/tags" Target="../tags/tag508.xml"/><Relationship Id="rId147" Type="http://schemas.openxmlformats.org/officeDocument/2006/relationships/tags" Target="../tags/tag529.xml"/><Relationship Id="rId168" Type="http://schemas.openxmlformats.org/officeDocument/2006/relationships/tags" Target="../tags/tag550.xml"/><Relationship Id="rId312" Type="http://schemas.openxmlformats.org/officeDocument/2006/relationships/tags" Target="../tags/tag694.xml"/><Relationship Id="rId333" Type="http://schemas.openxmlformats.org/officeDocument/2006/relationships/tags" Target="../tags/tag715.xml"/><Relationship Id="rId354" Type="http://schemas.openxmlformats.org/officeDocument/2006/relationships/tags" Target="../tags/tag736.xml"/><Relationship Id="rId51" Type="http://schemas.openxmlformats.org/officeDocument/2006/relationships/tags" Target="../tags/tag433.xml"/><Relationship Id="rId72" Type="http://schemas.openxmlformats.org/officeDocument/2006/relationships/tags" Target="../tags/tag454.xml"/><Relationship Id="rId93" Type="http://schemas.openxmlformats.org/officeDocument/2006/relationships/tags" Target="../tags/tag475.xml"/><Relationship Id="rId189" Type="http://schemas.openxmlformats.org/officeDocument/2006/relationships/tags" Target="../tags/tag571.xml"/><Relationship Id="rId375" Type="http://schemas.openxmlformats.org/officeDocument/2006/relationships/tags" Target="../tags/tag757.xml"/><Relationship Id="rId396" Type="http://schemas.openxmlformats.org/officeDocument/2006/relationships/image" Target="../media/image14.jpeg"/><Relationship Id="rId3" Type="http://schemas.openxmlformats.org/officeDocument/2006/relationships/tags" Target="../tags/tag385.xml"/><Relationship Id="rId214" Type="http://schemas.openxmlformats.org/officeDocument/2006/relationships/tags" Target="../tags/tag596.xml"/><Relationship Id="rId235" Type="http://schemas.openxmlformats.org/officeDocument/2006/relationships/tags" Target="../tags/tag617.xml"/><Relationship Id="rId256" Type="http://schemas.openxmlformats.org/officeDocument/2006/relationships/tags" Target="../tags/tag638.xml"/><Relationship Id="rId277" Type="http://schemas.openxmlformats.org/officeDocument/2006/relationships/tags" Target="../tags/tag659.xml"/><Relationship Id="rId298" Type="http://schemas.openxmlformats.org/officeDocument/2006/relationships/tags" Target="../tags/tag680.xml"/><Relationship Id="rId400" Type="http://schemas.openxmlformats.org/officeDocument/2006/relationships/image" Target="../media/image5.jpeg"/><Relationship Id="rId116" Type="http://schemas.openxmlformats.org/officeDocument/2006/relationships/tags" Target="../tags/tag498.xml"/><Relationship Id="rId137" Type="http://schemas.openxmlformats.org/officeDocument/2006/relationships/tags" Target="../tags/tag519.xml"/><Relationship Id="rId158" Type="http://schemas.openxmlformats.org/officeDocument/2006/relationships/tags" Target="../tags/tag540.xml"/><Relationship Id="rId302" Type="http://schemas.openxmlformats.org/officeDocument/2006/relationships/tags" Target="../tags/tag684.xml"/><Relationship Id="rId323" Type="http://schemas.openxmlformats.org/officeDocument/2006/relationships/tags" Target="../tags/tag705.xml"/><Relationship Id="rId344" Type="http://schemas.openxmlformats.org/officeDocument/2006/relationships/tags" Target="../tags/tag726.xml"/><Relationship Id="rId20" Type="http://schemas.openxmlformats.org/officeDocument/2006/relationships/tags" Target="../tags/tag402.xml"/><Relationship Id="rId41" Type="http://schemas.openxmlformats.org/officeDocument/2006/relationships/tags" Target="../tags/tag423.xml"/><Relationship Id="rId62" Type="http://schemas.openxmlformats.org/officeDocument/2006/relationships/tags" Target="../tags/tag444.xml"/><Relationship Id="rId83" Type="http://schemas.openxmlformats.org/officeDocument/2006/relationships/tags" Target="../tags/tag465.xml"/><Relationship Id="rId179" Type="http://schemas.openxmlformats.org/officeDocument/2006/relationships/tags" Target="../tags/tag561.xml"/><Relationship Id="rId365" Type="http://schemas.openxmlformats.org/officeDocument/2006/relationships/tags" Target="../tags/tag747.xml"/><Relationship Id="rId386" Type="http://schemas.openxmlformats.org/officeDocument/2006/relationships/tags" Target="../tags/tag768.xml"/><Relationship Id="rId190" Type="http://schemas.openxmlformats.org/officeDocument/2006/relationships/tags" Target="../tags/tag572.xml"/><Relationship Id="rId204" Type="http://schemas.openxmlformats.org/officeDocument/2006/relationships/tags" Target="../tags/tag586.xml"/><Relationship Id="rId225" Type="http://schemas.openxmlformats.org/officeDocument/2006/relationships/tags" Target="../tags/tag607.xml"/><Relationship Id="rId246" Type="http://schemas.openxmlformats.org/officeDocument/2006/relationships/tags" Target="../tags/tag628.xml"/><Relationship Id="rId267" Type="http://schemas.openxmlformats.org/officeDocument/2006/relationships/tags" Target="../tags/tag649.xml"/><Relationship Id="rId288" Type="http://schemas.openxmlformats.org/officeDocument/2006/relationships/tags" Target="../tags/tag670.xml"/><Relationship Id="rId106" Type="http://schemas.openxmlformats.org/officeDocument/2006/relationships/tags" Target="../tags/tag488.xml"/><Relationship Id="rId127" Type="http://schemas.openxmlformats.org/officeDocument/2006/relationships/tags" Target="../tags/tag509.xml"/><Relationship Id="rId313" Type="http://schemas.openxmlformats.org/officeDocument/2006/relationships/tags" Target="../tags/tag695.xml"/><Relationship Id="rId10" Type="http://schemas.openxmlformats.org/officeDocument/2006/relationships/tags" Target="../tags/tag392.xml"/><Relationship Id="rId31" Type="http://schemas.openxmlformats.org/officeDocument/2006/relationships/tags" Target="../tags/tag413.xml"/><Relationship Id="rId52" Type="http://schemas.openxmlformats.org/officeDocument/2006/relationships/tags" Target="../tags/tag434.xml"/><Relationship Id="rId73" Type="http://schemas.openxmlformats.org/officeDocument/2006/relationships/tags" Target="../tags/tag455.xml"/><Relationship Id="rId94" Type="http://schemas.openxmlformats.org/officeDocument/2006/relationships/tags" Target="../tags/tag476.xml"/><Relationship Id="rId148" Type="http://schemas.openxmlformats.org/officeDocument/2006/relationships/tags" Target="../tags/tag530.xml"/><Relationship Id="rId169" Type="http://schemas.openxmlformats.org/officeDocument/2006/relationships/tags" Target="../tags/tag551.xml"/><Relationship Id="rId334" Type="http://schemas.openxmlformats.org/officeDocument/2006/relationships/tags" Target="../tags/tag716.xml"/><Relationship Id="rId355" Type="http://schemas.openxmlformats.org/officeDocument/2006/relationships/tags" Target="../tags/tag737.xml"/><Relationship Id="rId376" Type="http://schemas.openxmlformats.org/officeDocument/2006/relationships/tags" Target="../tags/tag758.xml"/><Relationship Id="rId397" Type="http://schemas.openxmlformats.org/officeDocument/2006/relationships/image" Target="../media/image15.png"/><Relationship Id="rId4" Type="http://schemas.openxmlformats.org/officeDocument/2006/relationships/tags" Target="../tags/tag386.xml"/><Relationship Id="rId180" Type="http://schemas.openxmlformats.org/officeDocument/2006/relationships/tags" Target="../tags/tag562.xml"/><Relationship Id="rId215" Type="http://schemas.openxmlformats.org/officeDocument/2006/relationships/tags" Target="../tags/tag597.xml"/><Relationship Id="rId236" Type="http://schemas.openxmlformats.org/officeDocument/2006/relationships/tags" Target="../tags/tag618.xml"/><Relationship Id="rId257" Type="http://schemas.openxmlformats.org/officeDocument/2006/relationships/tags" Target="../tags/tag639.xml"/><Relationship Id="rId278" Type="http://schemas.openxmlformats.org/officeDocument/2006/relationships/tags" Target="../tags/tag660.xml"/><Relationship Id="rId401" Type="http://schemas.openxmlformats.org/officeDocument/2006/relationships/image" Target="../media/image17.png"/><Relationship Id="rId303" Type="http://schemas.openxmlformats.org/officeDocument/2006/relationships/tags" Target="../tags/tag685.xml"/><Relationship Id="rId42" Type="http://schemas.openxmlformats.org/officeDocument/2006/relationships/tags" Target="../tags/tag424.xml"/><Relationship Id="rId84" Type="http://schemas.openxmlformats.org/officeDocument/2006/relationships/tags" Target="../tags/tag466.xml"/><Relationship Id="rId138" Type="http://schemas.openxmlformats.org/officeDocument/2006/relationships/tags" Target="../tags/tag520.xml"/><Relationship Id="rId345" Type="http://schemas.openxmlformats.org/officeDocument/2006/relationships/tags" Target="../tags/tag727.xml"/><Relationship Id="rId387" Type="http://schemas.openxmlformats.org/officeDocument/2006/relationships/slideLayout" Target="../slideLayouts/slideLayout7.xml"/><Relationship Id="rId191" Type="http://schemas.openxmlformats.org/officeDocument/2006/relationships/tags" Target="../tags/tag573.xml"/><Relationship Id="rId205" Type="http://schemas.openxmlformats.org/officeDocument/2006/relationships/tags" Target="../tags/tag587.xml"/><Relationship Id="rId247" Type="http://schemas.openxmlformats.org/officeDocument/2006/relationships/tags" Target="../tags/tag629.xml"/><Relationship Id="rId107" Type="http://schemas.openxmlformats.org/officeDocument/2006/relationships/tags" Target="../tags/tag489.xml"/><Relationship Id="rId289" Type="http://schemas.openxmlformats.org/officeDocument/2006/relationships/tags" Target="../tags/tag671.xml"/><Relationship Id="rId11" Type="http://schemas.openxmlformats.org/officeDocument/2006/relationships/tags" Target="../tags/tag393.xml"/><Relationship Id="rId53" Type="http://schemas.openxmlformats.org/officeDocument/2006/relationships/tags" Target="../tags/tag435.xml"/><Relationship Id="rId149" Type="http://schemas.openxmlformats.org/officeDocument/2006/relationships/tags" Target="../tags/tag531.xml"/><Relationship Id="rId314" Type="http://schemas.openxmlformats.org/officeDocument/2006/relationships/tags" Target="../tags/tag696.xml"/><Relationship Id="rId356" Type="http://schemas.openxmlformats.org/officeDocument/2006/relationships/tags" Target="../tags/tag738.xml"/><Relationship Id="rId398" Type="http://schemas.openxmlformats.org/officeDocument/2006/relationships/image" Target="../media/image16.png"/><Relationship Id="rId95" Type="http://schemas.openxmlformats.org/officeDocument/2006/relationships/tags" Target="../tags/tag477.xml"/><Relationship Id="rId160" Type="http://schemas.openxmlformats.org/officeDocument/2006/relationships/tags" Target="../tags/tag542.xml"/><Relationship Id="rId216" Type="http://schemas.openxmlformats.org/officeDocument/2006/relationships/tags" Target="../tags/tag598.xml"/><Relationship Id="rId258" Type="http://schemas.openxmlformats.org/officeDocument/2006/relationships/tags" Target="../tags/tag640.xml"/><Relationship Id="rId22" Type="http://schemas.openxmlformats.org/officeDocument/2006/relationships/tags" Target="../tags/tag404.xml"/><Relationship Id="rId64" Type="http://schemas.openxmlformats.org/officeDocument/2006/relationships/tags" Target="../tags/tag446.xml"/><Relationship Id="rId118" Type="http://schemas.openxmlformats.org/officeDocument/2006/relationships/tags" Target="../tags/tag500.xml"/><Relationship Id="rId325" Type="http://schemas.openxmlformats.org/officeDocument/2006/relationships/tags" Target="../tags/tag707.xml"/><Relationship Id="rId367" Type="http://schemas.openxmlformats.org/officeDocument/2006/relationships/tags" Target="../tags/tag749.xml"/><Relationship Id="rId171" Type="http://schemas.openxmlformats.org/officeDocument/2006/relationships/tags" Target="../tags/tag553.xml"/><Relationship Id="rId227" Type="http://schemas.openxmlformats.org/officeDocument/2006/relationships/tags" Target="../tags/tag609.xml"/><Relationship Id="rId269" Type="http://schemas.openxmlformats.org/officeDocument/2006/relationships/tags" Target="../tags/tag651.xml"/><Relationship Id="rId33" Type="http://schemas.openxmlformats.org/officeDocument/2006/relationships/tags" Target="../tags/tag415.xml"/><Relationship Id="rId129" Type="http://schemas.openxmlformats.org/officeDocument/2006/relationships/tags" Target="../tags/tag511.xml"/><Relationship Id="rId280" Type="http://schemas.openxmlformats.org/officeDocument/2006/relationships/tags" Target="../tags/tag662.xml"/><Relationship Id="rId336" Type="http://schemas.openxmlformats.org/officeDocument/2006/relationships/tags" Target="../tags/tag718.xml"/><Relationship Id="rId75" Type="http://schemas.openxmlformats.org/officeDocument/2006/relationships/tags" Target="../tags/tag457.xml"/><Relationship Id="rId140" Type="http://schemas.openxmlformats.org/officeDocument/2006/relationships/tags" Target="../tags/tag522.xml"/><Relationship Id="rId182" Type="http://schemas.openxmlformats.org/officeDocument/2006/relationships/tags" Target="../tags/tag564.xml"/><Relationship Id="rId378" Type="http://schemas.openxmlformats.org/officeDocument/2006/relationships/tags" Target="../tags/tag760.xml"/><Relationship Id="rId6" Type="http://schemas.openxmlformats.org/officeDocument/2006/relationships/tags" Target="../tags/tag388.xml"/><Relationship Id="rId238" Type="http://schemas.openxmlformats.org/officeDocument/2006/relationships/tags" Target="../tags/tag620.xml"/><Relationship Id="rId291" Type="http://schemas.openxmlformats.org/officeDocument/2006/relationships/tags" Target="../tags/tag673.xml"/><Relationship Id="rId305" Type="http://schemas.openxmlformats.org/officeDocument/2006/relationships/tags" Target="../tags/tag687.xml"/><Relationship Id="rId347" Type="http://schemas.openxmlformats.org/officeDocument/2006/relationships/tags" Target="../tags/tag729.xml"/><Relationship Id="rId44" Type="http://schemas.openxmlformats.org/officeDocument/2006/relationships/tags" Target="../tags/tag426.xml"/><Relationship Id="rId86" Type="http://schemas.openxmlformats.org/officeDocument/2006/relationships/tags" Target="../tags/tag468.xml"/><Relationship Id="rId151" Type="http://schemas.openxmlformats.org/officeDocument/2006/relationships/tags" Target="../tags/tag533.xml"/><Relationship Id="rId389" Type="http://schemas.openxmlformats.org/officeDocument/2006/relationships/image" Target="../media/image7.png"/><Relationship Id="rId193" Type="http://schemas.openxmlformats.org/officeDocument/2006/relationships/tags" Target="../tags/tag575.xml"/><Relationship Id="rId207" Type="http://schemas.openxmlformats.org/officeDocument/2006/relationships/tags" Target="../tags/tag589.xml"/><Relationship Id="rId249" Type="http://schemas.openxmlformats.org/officeDocument/2006/relationships/tags" Target="../tags/tag631.xml"/><Relationship Id="rId13" Type="http://schemas.openxmlformats.org/officeDocument/2006/relationships/tags" Target="../tags/tag395.xml"/><Relationship Id="rId109" Type="http://schemas.openxmlformats.org/officeDocument/2006/relationships/tags" Target="../tags/tag491.xml"/><Relationship Id="rId260" Type="http://schemas.openxmlformats.org/officeDocument/2006/relationships/tags" Target="../tags/tag642.xml"/><Relationship Id="rId316" Type="http://schemas.openxmlformats.org/officeDocument/2006/relationships/tags" Target="../tags/tag698.xml"/><Relationship Id="rId55" Type="http://schemas.openxmlformats.org/officeDocument/2006/relationships/tags" Target="../tags/tag437.xml"/><Relationship Id="rId97" Type="http://schemas.openxmlformats.org/officeDocument/2006/relationships/tags" Target="../tags/tag479.xml"/><Relationship Id="rId120" Type="http://schemas.openxmlformats.org/officeDocument/2006/relationships/tags" Target="../tags/tag502.xml"/><Relationship Id="rId358" Type="http://schemas.openxmlformats.org/officeDocument/2006/relationships/tags" Target="../tags/tag740.xml"/><Relationship Id="rId162" Type="http://schemas.openxmlformats.org/officeDocument/2006/relationships/tags" Target="../tags/tag544.xml"/><Relationship Id="rId218" Type="http://schemas.openxmlformats.org/officeDocument/2006/relationships/tags" Target="../tags/tag600.xml"/><Relationship Id="rId271" Type="http://schemas.openxmlformats.org/officeDocument/2006/relationships/tags" Target="../tags/tag653.xml"/><Relationship Id="rId24" Type="http://schemas.openxmlformats.org/officeDocument/2006/relationships/tags" Target="../tags/tag406.xml"/><Relationship Id="rId66" Type="http://schemas.openxmlformats.org/officeDocument/2006/relationships/tags" Target="../tags/tag448.xml"/><Relationship Id="rId131" Type="http://schemas.openxmlformats.org/officeDocument/2006/relationships/tags" Target="../tags/tag513.xml"/><Relationship Id="rId327" Type="http://schemas.openxmlformats.org/officeDocument/2006/relationships/tags" Target="../tags/tag709.xml"/><Relationship Id="rId369" Type="http://schemas.openxmlformats.org/officeDocument/2006/relationships/tags" Target="../tags/tag751.xml"/><Relationship Id="rId173" Type="http://schemas.openxmlformats.org/officeDocument/2006/relationships/tags" Target="../tags/tag555.xml"/><Relationship Id="rId229" Type="http://schemas.openxmlformats.org/officeDocument/2006/relationships/tags" Target="../tags/tag611.xml"/><Relationship Id="rId380" Type="http://schemas.openxmlformats.org/officeDocument/2006/relationships/tags" Target="../tags/tag762.xml"/><Relationship Id="rId240" Type="http://schemas.openxmlformats.org/officeDocument/2006/relationships/tags" Target="../tags/tag622.xml"/><Relationship Id="rId35" Type="http://schemas.openxmlformats.org/officeDocument/2006/relationships/tags" Target="../tags/tag417.xml"/><Relationship Id="rId77" Type="http://schemas.openxmlformats.org/officeDocument/2006/relationships/tags" Target="../tags/tag459.xml"/><Relationship Id="rId100" Type="http://schemas.openxmlformats.org/officeDocument/2006/relationships/tags" Target="../tags/tag482.xml"/><Relationship Id="rId282" Type="http://schemas.openxmlformats.org/officeDocument/2006/relationships/tags" Target="../tags/tag664.xml"/><Relationship Id="rId338" Type="http://schemas.openxmlformats.org/officeDocument/2006/relationships/tags" Target="../tags/tag720.xml"/><Relationship Id="rId8" Type="http://schemas.openxmlformats.org/officeDocument/2006/relationships/tags" Target="../tags/tag390.xml"/><Relationship Id="rId142" Type="http://schemas.openxmlformats.org/officeDocument/2006/relationships/tags" Target="../tags/tag524.xml"/><Relationship Id="rId184" Type="http://schemas.openxmlformats.org/officeDocument/2006/relationships/tags" Target="../tags/tag566.xml"/><Relationship Id="rId391" Type="http://schemas.openxmlformats.org/officeDocument/2006/relationships/image" Target="../media/image9.jpeg"/><Relationship Id="rId251" Type="http://schemas.openxmlformats.org/officeDocument/2006/relationships/tags" Target="../tags/tag633.xml"/><Relationship Id="rId46" Type="http://schemas.openxmlformats.org/officeDocument/2006/relationships/tags" Target="../tags/tag428.xml"/><Relationship Id="rId293" Type="http://schemas.openxmlformats.org/officeDocument/2006/relationships/tags" Target="../tags/tag675.xml"/><Relationship Id="rId307" Type="http://schemas.openxmlformats.org/officeDocument/2006/relationships/tags" Target="../tags/tag689.xml"/><Relationship Id="rId349" Type="http://schemas.openxmlformats.org/officeDocument/2006/relationships/tags" Target="../tags/tag731.xml"/><Relationship Id="rId88" Type="http://schemas.openxmlformats.org/officeDocument/2006/relationships/tags" Target="../tags/tag470.xml"/><Relationship Id="rId111" Type="http://schemas.openxmlformats.org/officeDocument/2006/relationships/tags" Target="../tags/tag493.xml"/><Relationship Id="rId153" Type="http://schemas.openxmlformats.org/officeDocument/2006/relationships/tags" Target="../tags/tag535.xml"/><Relationship Id="rId195" Type="http://schemas.openxmlformats.org/officeDocument/2006/relationships/tags" Target="../tags/tag577.xml"/><Relationship Id="rId209" Type="http://schemas.openxmlformats.org/officeDocument/2006/relationships/tags" Target="../tags/tag591.xml"/><Relationship Id="rId360" Type="http://schemas.openxmlformats.org/officeDocument/2006/relationships/tags" Target="../tags/tag742.xml"/><Relationship Id="rId220" Type="http://schemas.openxmlformats.org/officeDocument/2006/relationships/tags" Target="../tags/tag602.xml"/><Relationship Id="rId15" Type="http://schemas.openxmlformats.org/officeDocument/2006/relationships/tags" Target="../tags/tag397.xml"/><Relationship Id="rId57" Type="http://schemas.openxmlformats.org/officeDocument/2006/relationships/tags" Target="../tags/tag439.xml"/><Relationship Id="rId262" Type="http://schemas.openxmlformats.org/officeDocument/2006/relationships/tags" Target="../tags/tag644.xml"/><Relationship Id="rId318" Type="http://schemas.openxmlformats.org/officeDocument/2006/relationships/tags" Target="../tags/tag700.xml"/><Relationship Id="rId99" Type="http://schemas.openxmlformats.org/officeDocument/2006/relationships/tags" Target="../tags/tag481.xml"/><Relationship Id="rId122" Type="http://schemas.openxmlformats.org/officeDocument/2006/relationships/tags" Target="../tags/tag504.xml"/><Relationship Id="rId164" Type="http://schemas.openxmlformats.org/officeDocument/2006/relationships/tags" Target="../tags/tag546.xml"/><Relationship Id="rId371" Type="http://schemas.openxmlformats.org/officeDocument/2006/relationships/tags" Target="../tags/tag753.xml"/><Relationship Id="rId26" Type="http://schemas.openxmlformats.org/officeDocument/2006/relationships/tags" Target="../tags/tag408.xml"/><Relationship Id="rId231" Type="http://schemas.openxmlformats.org/officeDocument/2006/relationships/tags" Target="../tags/tag613.xml"/><Relationship Id="rId273" Type="http://schemas.openxmlformats.org/officeDocument/2006/relationships/tags" Target="../tags/tag655.xml"/><Relationship Id="rId329" Type="http://schemas.openxmlformats.org/officeDocument/2006/relationships/tags" Target="../tags/tag711.xml"/><Relationship Id="rId68" Type="http://schemas.openxmlformats.org/officeDocument/2006/relationships/tags" Target="../tags/tag450.xml"/><Relationship Id="rId133" Type="http://schemas.openxmlformats.org/officeDocument/2006/relationships/tags" Target="../tags/tag515.xml"/><Relationship Id="rId175" Type="http://schemas.openxmlformats.org/officeDocument/2006/relationships/tags" Target="../tags/tag557.xml"/><Relationship Id="rId340" Type="http://schemas.openxmlformats.org/officeDocument/2006/relationships/tags" Target="../tags/tag722.xml"/><Relationship Id="rId200" Type="http://schemas.openxmlformats.org/officeDocument/2006/relationships/tags" Target="../tags/tag582.xml"/><Relationship Id="rId382" Type="http://schemas.openxmlformats.org/officeDocument/2006/relationships/tags" Target="../tags/tag764.xml"/><Relationship Id="rId242" Type="http://schemas.openxmlformats.org/officeDocument/2006/relationships/tags" Target="../tags/tag624.xml"/><Relationship Id="rId284" Type="http://schemas.openxmlformats.org/officeDocument/2006/relationships/tags" Target="../tags/tag666.xml"/><Relationship Id="rId37" Type="http://schemas.openxmlformats.org/officeDocument/2006/relationships/tags" Target="../tags/tag419.xml"/><Relationship Id="rId79" Type="http://schemas.openxmlformats.org/officeDocument/2006/relationships/tags" Target="../tags/tag461.xml"/><Relationship Id="rId102" Type="http://schemas.openxmlformats.org/officeDocument/2006/relationships/tags" Target="../tags/tag484.xml"/><Relationship Id="rId144" Type="http://schemas.openxmlformats.org/officeDocument/2006/relationships/tags" Target="../tags/tag526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885.xml"/><Relationship Id="rId299" Type="http://schemas.openxmlformats.org/officeDocument/2006/relationships/tags" Target="../tags/tag1067.xml"/><Relationship Id="rId21" Type="http://schemas.openxmlformats.org/officeDocument/2006/relationships/tags" Target="../tags/tag789.xml"/><Relationship Id="rId63" Type="http://schemas.openxmlformats.org/officeDocument/2006/relationships/tags" Target="../tags/tag831.xml"/><Relationship Id="rId159" Type="http://schemas.openxmlformats.org/officeDocument/2006/relationships/tags" Target="../tags/tag927.xml"/><Relationship Id="rId324" Type="http://schemas.openxmlformats.org/officeDocument/2006/relationships/tags" Target="../tags/tag1092.xml"/><Relationship Id="rId366" Type="http://schemas.openxmlformats.org/officeDocument/2006/relationships/tags" Target="../tags/tag1134.xml"/><Relationship Id="rId170" Type="http://schemas.openxmlformats.org/officeDocument/2006/relationships/tags" Target="../tags/tag938.xml"/><Relationship Id="rId226" Type="http://schemas.openxmlformats.org/officeDocument/2006/relationships/tags" Target="../tags/tag994.xml"/><Relationship Id="rId268" Type="http://schemas.openxmlformats.org/officeDocument/2006/relationships/tags" Target="../tags/tag1036.xml"/><Relationship Id="rId32" Type="http://schemas.openxmlformats.org/officeDocument/2006/relationships/tags" Target="../tags/tag800.xml"/><Relationship Id="rId74" Type="http://schemas.openxmlformats.org/officeDocument/2006/relationships/tags" Target="../tags/tag842.xml"/><Relationship Id="rId128" Type="http://schemas.openxmlformats.org/officeDocument/2006/relationships/tags" Target="../tags/tag896.xml"/><Relationship Id="rId335" Type="http://schemas.openxmlformats.org/officeDocument/2006/relationships/tags" Target="../tags/tag1103.xml"/><Relationship Id="rId377" Type="http://schemas.openxmlformats.org/officeDocument/2006/relationships/tags" Target="../tags/tag1145.xml"/><Relationship Id="rId5" Type="http://schemas.openxmlformats.org/officeDocument/2006/relationships/tags" Target="../tags/tag773.xml"/><Relationship Id="rId181" Type="http://schemas.openxmlformats.org/officeDocument/2006/relationships/tags" Target="../tags/tag949.xml"/><Relationship Id="rId237" Type="http://schemas.openxmlformats.org/officeDocument/2006/relationships/tags" Target="../tags/tag1005.xml"/><Relationship Id="rId279" Type="http://schemas.openxmlformats.org/officeDocument/2006/relationships/tags" Target="../tags/tag1047.xml"/><Relationship Id="rId43" Type="http://schemas.openxmlformats.org/officeDocument/2006/relationships/tags" Target="../tags/tag811.xml"/><Relationship Id="rId139" Type="http://schemas.openxmlformats.org/officeDocument/2006/relationships/tags" Target="../tags/tag907.xml"/><Relationship Id="rId290" Type="http://schemas.openxmlformats.org/officeDocument/2006/relationships/tags" Target="../tags/tag1058.xml"/><Relationship Id="rId304" Type="http://schemas.openxmlformats.org/officeDocument/2006/relationships/tags" Target="../tags/tag1072.xml"/><Relationship Id="rId346" Type="http://schemas.openxmlformats.org/officeDocument/2006/relationships/tags" Target="../tags/tag1114.xml"/><Relationship Id="rId85" Type="http://schemas.openxmlformats.org/officeDocument/2006/relationships/tags" Target="../tags/tag853.xml"/><Relationship Id="rId150" Type="http://schemas.openxmlformats.org/officeDocument/2006/relationships/tags" Target="../tags/tag918.xml"/><Relationship Id="rId192" Type="http://schemas.openxmlformats.org/officeDocument/2006/relationships/tags" Target="../tags/tag960.xml"/><Relationship Id="rId206" Type="http://schemas.openxmlformats.org/officeDocument/2006/relationships/tags" Target="../tags/tag974.xml"/><Relationship Id="rId248" Type="http://schemas.openxmlformats.org/officeDocument/2006/relationships/tags" Target="../tags/tag1016.xml"/><Relationship Id="rId12" Type="http://schemas.openxmlformats.org/officeDocument/2006/relationships/tags" Target="../tags/tag780.xml"/><Relationship Id="rId108" Type="http://schemas.openxmlformats.org/officeDocument/2006/relationships/tags" Target="../tags/tag876.xml"/><Relationship Id="rId315" Type="http://schemas.openxmlformats.org/officeDocument/2006/relationships/tags" Target="../tags/tag1083.xml"/><Relationship Id="rId357" Type="http://schemas.openxmlformats.org/officeDocument/2006/relationships/tags" Target="../tags/tag1125.xml"/><Relationship Id="rId54" Type="http://schemas.openxmlformats.org/officeDocument/2006/relationships/tags" Target="../tags/tag822.xml"/><Relationship Id="rId96" Type="http://schemas.openxmlformats.org/officeDocument/2006/relationships/tags" Target="../tags/tag864.xml"/><Relationship Id="rId161" Type="http://schemas.openxmlformats.org/officeDocument/2006/relationships/tags" Target="../tags/tag929.xml"/><Relationship Id="rId217" Type="http://schemas.openxmlformats.org/officeDocument/2006/relationships/tags" Target="../tags/tag985.xml"/><Relationship Id="rId259" Type="http://schemas.openxmlformats.org/officeDocument/2006/relationships/tags" Target="../tags/tag1027.xml"/><Relationship Id="rId23" Type="http://schemas.openxmlformats.org/officeDocument/2006/relationships/tags" Target="../tags/tag791.xml"/><Relationship Id="rId119" Type="http://schemas.openxmlformats.org/officeDocument/2006/relationships/tags" Target="../tags/tag887.xml"/><Relationship Id="rId270" Type="http://schemas.openxmlformats.org/officeDocument/2006/relationships/tags" Target="../tags/tag1038.xml"/><Relationship Id="rId326" Type="http://schemas.openxmlformats.org/officeDocument/2006/relationships/tags" Target="../tags/tag1094.xml"/><Relationship Id="rId65" Type="http://schemas.openxmlformats.org/officeDocument/2006/relationships/tags" Target="../tags/tag833.xml"/><Relationship Id="rId130" Type="http://schemas.openxmlformats.org/officeDocument/2006/relationships/tags" Target="../tags/tag898.xml"/><Relationship Id="rId368" Type="http://schemas.openxmlformats.org/officeDocument/2006/relationships/tags" Target="../tags/tag1136.xml"/><Relationship Id="rId172" Type="http://schemas.openxmlformats.org/officeDocument/2006/relationships/tags" Target="../tags/tag940.xml"/><Relationship Id="rId228" Type="http://schemas.openxmlformats.org/officeDocument/2006/relationships/tags" Target="../tags/tag996.xml"/><Relationship Id="rId281" Type="http://schemas.openxmlformats.org/officeDocument/2006/relationships/tags" Target="../tags/tag1049.xml"/><Relationship Id="rId337" Type="http://schemas.openxmlformats.org/officeDocument/2006/relationships/tags" Target="../tags/tag1105.xml"/><Relationship Id="rId34" Type="http://schemas.openxmlformats.org/officeDocument/2006/relationships/tags" Target="../tags/tag802.xml"/><Relationship Id="rId76" Type="http://schemas.openxmlformats.org/officeDocument/2006/relationships/tags" Target="../tags/tag844.xml"/><Relationship Id="rId141" Type="http://schemas.openxmlformats.org/officeDocument/2006/relationships/tags" Target="../tags/tag909.xml"/><Relationship Id="rId379" Type="http://schemas.openxmlformats.org/officeDocument/2006/relationships/tags" Target="../tags/tag1147.xml"/><Relationship Id="rId7" Type="http://schemas.openxmlformats.org/officeDocument/2006/relationships/tags" Target="../tags/tag775.xml"/><Relationship Id="rId183" Type="http://schemas.openxmlformats.org/officeDocument/2006/relationships/tags" Target="../tags/tag951.xml"/><Relationship Id="rId239" Type="http://schemas.openxmlformats.org/officeDocument/2006/relationships/tags" Target="../tags/tag1007.xml"/><Relationship Id="rId250" Type="http://schemas.openxmlformats.org/officeDocument/2006/relationships/tags" Target="../tags/tag1018.xml"/><Relationship Id="rId292" Type="http://schemas.openxmlformats.org/officeDocument/2006/relationships/tags" Target="../tags/tag1060.xml"/><Relationship Id="rId306" Type="http://schemas.openxmlformats.org/officeDocument/2006/relationships/tags" Target="../tags/tag1074.xml"/><Relationship Id="rId45" Type="http://schemas.openxmlformats.org/officeDocument/2006/relationships/tags" Target="../tags/tag813.xml"/><Relationship Id="rId87" Type="http://schemas.openxmlformats.org/officeDocument/2006/relationships/tags" Target="../tags/tag855.xml"/><Relationship Id="rId110" Type="http://schemas.openxmlformats.org/officeDocument/2006/relationships/tags" Target="../tags/tag878.xml"/><Relationship Id="rId348" Type="http://schemas.openxmlformats.org/officeDocument/2006/relationships/tags" Target="../tags/tag1116.xml"/><Relationship Id="rId152" Type="http://schemas.openxmlformats.org/officeDocument/2006/relationships/tags" Target="../tags/tag920.xml"/><Relationship Id="rId194" Type="http://schemas.openxmlformats.org/officeDocument/2006/relationships/tags" Target="../tags/tag962.xml"/><Relationship Id="rId208" Type="http://schemas.openxmlformats.org/officeDocument/2006/relationships/tags" Target="../tags/tag976.xml"/><Relationship Id="rId261" Type="http://schemas.openxmlformats.org/officeDocument/2006/relationships/tags" Target="../tags/tag1029.xml"/><Relationship Id="rId14" Type="http://schemas.openxmlformats.org/officeDocument/2006/relationships/tags" Target="../tags/tag782.xml"/><Relationship Id="rId56" Type="http://schemas.openxmlformats.org/officeDocument/2006/relationships/tags" Target="../tags/tag824.xml"/><Relationship Id="rId317" Type="http://schemas.openxmlformats.org/officeDocument/2006/relationships/tags" Target="../tags/tag1085.xml"/><Relationship Id="rId359" Type="http://schemas.openxmlformats.org/officeDocument/2006/relationships/tags" Target="../tags/tag1127.xml"/><Relationship Id="rId98" Type="http://schemas.openxmlformats.org/officeDocument/2006/relationships/tags" Target="../tags/tag866.xml"/><Relationship Id="rId121" Type="http://schemas.openxmlformats.org/officeDocument/2006/relationships/tags" Target="../tags/tag889.xml"/><Relationship Id="rId163" Type="http://schemas.openxmlformats.org/officeDocument/2006/relationships/tags" Target="../tags/tag931.xml"/><Relationship Id="rId219" Type="http://schemas.openxmlformats.org/officeDocument/2006/relationships/tags" Target="../tags/tag987.xml"/><Relationship Id="rId370" Type="http://schemas.openxmlformats.org/officeDocument/2006/relationships/tags" Target="../tags/tag1138.xml"/><Relationship Id="rId230" Type="http://schemas.openxmlformats.org/officeDocument/2006/relationships/tags" Target="../tags/tag998.xml"/><Relationship Id="rId25" Type="http://schemas.openxmlformats.org/officeDocument/2006/relationships/tags" Target="../tags/tag793.xml"/><Relationship Id="rId67" Type="http://schemas.openxmlformats.org/officeDocument/2006/relationships/tags" Target="../tags/tag835.xml"/><Relationship Id="rId272" Type="http://schemas.openxmlformats.org/officeDocument/2006/relationships/tags" Target="../tags/tag1040.xml"/><Relationship Id="rId328" Type="http://schemas.openxmlformats.org/officeDocument/2006/relationships/tags" Target="../tags/tag1096.xml"/><Relationship Id="rId132" Type="http://schemas.openxmlformats.org/officeDocument/2006/relationships/tags" Target="../tags/tag900.xml"/><Relationship Id="rId174" Type="http://schemas.openxmlformats.org/officeDocument/2006/relationships/tags" Target="../tags/tag942.xml"/><Relationship Id="rId381" Type="http://schemas.openxmlformats.org/officeDocument/2006/relationships/tags" Target="../tags/tag1149.xml"/><Relationship Id="rId241" Type="http://schemas.openxmlformats.org/officeDocument/2006/relationships/tags" Target="../tags/tag1009.xml"/><Relationship Id="rId36" Type="http://schemas.openxmlformats.org/officeDocument/2006/relationships/tags" Target="../tags/tag804.xml"/><Relationship Id="rId283" Type="http://schemas.openxmlformats.org/officeDocument/2006/relationships/tags" Target="../tags/tag1051.xml"/><Relationship Id="rId339" Type="http://schemas.openxmlformats.org/officeDocument/2006/relationships/tags" Target="../tags/tag1107.xml"/><Relationship Id="rId78" Type="http://schemas.openxmlformats.org/officeDocument/2006/relationships/tags" Target="../tags/tag846.xml"/><Relationship Id="rId101" Type="http://schemas.openxmlformats.org/officeDocument/2006/relationships/tags" Target="../tags/tag869.xml"/><Relationship Id="rId143" Type="http://schemas.openxmlformats.org/officeDocument/2006/relationships/tags" Target="../tags/tag911.xml"/><Relationship Id="rId185" Type="http://schemas.openxmlformats.org/officeDocument/2006/relationships/tags" Target="../tags/tag953.xml"/><Relationship Id="rId350" Type="http://schemas.openxmlformats.org/officeDocument/2006/relationships/tags" Target="../tags/tag1118.xml"/><Relationship Id="rId9" Type="http://schemas.openxmlformats.org/officeDocument/2006/relationships/tags" Target="../tags/tag777.xml"/><Relationship Id="rId210" Type="http://schemas.openxmlformats.org/officeDocument/2006/relationships/tags" Target="../tags/tag978.xml"/><Relationship Id="rId26" Type="http://schemas.openxmlformats.org/officeDocument/2006/relationships/tags" Target="../tags/tag794.xml"/><Relationship Id="rId231" Type="http://schemas.openxmlformats.org/officeDocument/2006/relationships/tags" Target="../tags/tag999.xml"/><Relationship Id="rId252" Type="http://schemas.openxmlformats.org/officeDocument/2006/relationships/tags" Target="../tags/tag1020.xml"/><Relationship Id="rId273" Type="http://schemas.openxmlformats.org/officeDocument/2006/relationships/tags" Target="../tags/tag1041.xml"/><Relationship Id="rId294" Type="http://schemas.openxmlformats.org/officeDocument/2006/relationships/tags" Target="../tags/tag1062.xml"/><Relationship Id="rId308" Type="http://schemas.openxmlformats.org/officeDocument/2006/relationships/tags" Target="../tags/tag1076.xml"/><Relationship Id="rId329" Type="http://schemas.openxmlformats.org/officeDocument/2006/relationships/tags" Target="../tags/tag1097.xml"/><Relationship Id="rId47" Type="http://schemas.openxmlformats.org/officeDocument/2006/relationships/tags" Target="../tags/tag815.xml"/><Relationship Id="rId68" Type="http://schemas.openxmlformats.org/officeDocument/2006/relationships/tags" Target="../tags/tag836.xml"/><Relationship Id="rId89" Type="http://schemas.openxmlformats.org/officeDocument/2006/relationships/tags" Target="../tags/tag857.xml"/><Relationship Id="rId112" Type="http://schemas.openxmlformats.org/officeDocument/2006/relationships/tags" Target="../tags/tag880.xml"/><Relationship Id="rId133" Type="http://schemas.openxmlformats.org/officeDocument/2006/relationships/tags" Target="../tags/tag901.xml"/><Relationship Id="rId154" Type="http://schemas.openxmlformats.org/officeDocument/2006/relationships/tags" Target="../tags/tag922.xml"/><Relationship Id="rId175" Type="http://schemas.openxmlformats.org/officeDocument/2006/relationships/tags" Target="../tags/tag943.xml"/><Relationship Id="rId340" Type="http://schemas.openxmlformats.org/officeDocument/2006/relationships/tags" Target="../tags/tag1108.xml"/><Relationship Id="rId361" Type="http://schemas.openxmlformats.org/officeDocument/2006/relationships/tags" Target="../tags/tag1129.xml"/><Relationship Id="rId196" Type="http://schemas.openxmlformats.org/officeDocument/2006/relationships/tags" Target="../tags/tag964.xml"/><Relationship Id="rId200" Type="http://schemas.openxmlformats.org/officeDocument/2006/relationships/tags" Target="../tags/tag968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784.xml"/><Relationship Id="rId221" Type="http://schemas.openxmlformats.org/officeDocument/2006/relationships/tags" Target="../tags/tag989.xml"/><Relationship Id="rId242" Type="http://schemas.openxmlformats.org/officeDocument/2006/relationships/tags" Target="../tags/tag1010.xml"/><Relationship Id="rId263" Type="http://schemas.openxmlformats.org/officeDocument/2006/relationships/tags" Target="../tags/tag1031.xml"/><Relationship Id="rId284" Type="http://schemas.openxmlformats.org/officeDocument/2006/relationships/tags" Target="../tags/tag1052.xml"/><Relationship Id="rId319" Type="http://schemas.openxmlformats.org/officeDocument/2006/relationships/tags" Target="../tags/tag1087.xml"/><Relationship Id="rId37" Type="http://schemas.openxmlformats.org/officeDocument/2006/relationships/tags" Target="../tags/tag805.xml"/><Relationship Id="rId58" Type="http://schemas.openxmlformats.org/officeDocument/2006/relationships/tags" Target="../tags/tag826.xml"/><Relationship Id="rId79" Type="http://schemas.openxmlformats.org/officeDocument/2006/relationships/tags" Target="../tags/tag847.xml"/><Relationship Id="rId102" Type="http://schemas.openxmlformats.org/officeDocument/2006/relationships/tags" Target="../tags/tag870.xml"/><Relationship Id="rId123" Type="http://schemas.openxmlformats.org/officeDocument/2006/relationships/tags" Target="../tags/tag891.xml"/><Relationship Id="rId144" Type="http://schemas.openxmlformats.org/officeDocument/2006/relationships/tags" Target="../tags/tag912.xml"/><Relationship Id="rId330" Type="http://schemas.openxmlformats.org/officeDocument/2006/relationships/tags" Target="../tags/tag1098.xml"/><Relationship Id="rId90" Type="http://schemas.openxmlformats.org/officeDocument/2006/relationships/tags" Target="../tags/tag858.xml"/><Relationship Id="rId165" Type="http://schemas.openxmlformats.org/officeDocument/2006/relationships/tags" Target="../tags/tag933.xml"/><Relationship Id="rId186" Type="http://schemas.openxmlformats.org/officeDocument/2006/relationships/tags" Target="../tags/tag954.xml"/><Relationship Id="rId351" Type="http://schemas.openxmlformats.org/officeDocument/2006/relationships/tags" Target="../tags/tag1119.xml"/><Relationship Id="rId372" Type="http://schemas.openxmlformats.org/officeDocument/2006/relationships/tags" Target="../tags/tag1140.xml"/><Relationship Id="rId211" Type="http://schemas.openxmlformats.org/officeDocument/2006/relationships/tags" Target="../tags/tag979.xml"/><Relationship Id="rId232" Type="http://schemas.openxmlformats.org/officeDocument/2006/relationships/tags" Target="../tags/tag1000.xml"/><Relationship Id="rId253" Type="http://schemas.openxmlformats.org/officeDocument/2006/relationships/tags" Target="../tags/tag1021.xml"/><Relationship Id="rId274" Type="http://schemas.openxmlformats.org/officeDocument/2006/relationships/tags" Target="../tags/tag1042.xml"/><Relationship Id="rId295" Type="http://schemas.openxmlformats.org/officeDocument/2006/relationships/tags" Target="../tags/tag1063.xml"/><Relationship Id="rId309" Type="http://schemas.openxmlformats.org/officeDocument/2006/relationships/tags" Target="../tags/tag1077.xml"/><Relationship Id="rId27" Type="http://schemas.openxmlformats.org/officeDocument/2006/relationships/tags" Target="../tags/tag795.xml"/><Relationship Id="rId48" Type="http://schemas.openxmlformats.org/officeDocument/2006/relationships/tags" Target="../tags/tag816.xml"/><Relationship Id="rId69" Type="http://schemas.openxmlformats.org/officeDocument/2006/relationships/tags" Target="../tags/tag837.xml"/><Relationship Id="rId113" Type="http://schemas.openxmlformats.org/officeDocument/2006/relationships/tags" Target="../tags/tag881.xml"/><Relationship Id="rId134" Type="http://schemas.openxmlformats.org/officeDocument/2006/relationships/tags" Target="../tags/tag902.xml"/><Relationship Id="rId320" Type="http://schemas.openxmlformats.org/officeDocument/2006/relationships/tags" Target="../tags/tag1088.xml"/><Relationship Id="rId80" Type="http://schemas.openxmlformats.org/officeDocument/2006/relationships/tags" Target="../tags/tag848.xml"/><Relationship Id="rId155" Type="http://schemas.openxmlformats.org/officeDocument/2006/relationships/tags" Target="../tags/tag923.xml"/><Relationship Id="rId176" Type="http://schemas.openxmlformats.org/officeDocument/2006/relationships/tags" Target="../tags/tag944.xml"/><Relationship Id="rId197" Type="http://schemas.openxmlformats.org/officeDocument/2006/relationships/tags" Target="../tags/tag965.xml"/><Relationship Id="rId341" Type="http://schemas.openxmlformats.org/officeDocument/2006/relationships/tags" Target="../tags/tag1109.xml"/><Relationship Id="rId362" Type="http://schemas.openxmlformats.org/officeDocument/2006/relationships/tags" Target="../tags/tag1130.xml"/><Relationship Id="rId201" Type="http://schemas.openxmlformats.org/officeDocument/2006/relationships/tags" Target="../tags/tag969.xml"/><Relationship Id="rId222" Type="http://schemas.openxmlformats.org/officeDocument/2006/relationships/tags" Target="../tags/tag990.xml"/><Relationship Id="rId243" Type="http://schemas.openxmlformats.org/officeDocument/2006/relationships/tags" Target="../tags/tag1011.xml"/><Relationship Id="rId264" Type="http://schemas.openxmlformats.org/officeDocument/2006/relationships/tags" Target="../tags/tag1032.xml"/><Relationship Id="rId285" Type="http://schemas.openxmlformats.org/officeDocument/2006/relationships/tags" Target="../tags/tag1053.xml"/><Relationship Id="rId17" Type="http://schemas.openxmlformats.org/officeDocument/2006/relationships/tags" Target="../tags/tag785.xml"/><Relationship Id="rId38" Type="http://schemas.openxmlformats.org/officeDocument/2006/relationships/tags" Target="../tags/tag806.xml"/><Relationship Id="rId59" Type="http://schemas.openxmlformats.org/officeDocument/2006/relationships/tags" Target="../tags/tag827.xml"/><Relationship Id="rId103" Type="http://schemas.openxmlformats.org/officeDocument/2006/relationships/tags" Target="../tags/tag871.xml"/><Relationship Id="rId124" Type="http://schemas.openxmlformats.org/officeDocument/2006/relationships/tags" Target="../tags/tag892.xml"/><Relationship Id="rId310" Type="http://schemas.openxmlformats.org/officeDocument/2006/relationships/tags" Target="../tags/tag1078.xml"/><Relationship Id="rId70" Type="http://schemas.openxmlformats.org/officeDocument/2006/relationships/tags" Target="../tags/tag838.xml"/><Relationship Id="rId91" Type="http://schemas.openxmlformats.org/officeDocument/2006/relationships/tags" Target="../tags/tag859.xml"/><Relationship Id="rId145" Type="http://schemas.openxmlformats.org/officeDocument/2006/relationships/tags" Target="../tags/tag913.xml"/><Relationship Id="rId166" Type="http://schemas.openxmlformats.org/officeDocument/2006/relationships/tags" Target="../tags/tag934.xml"/><Relationship Id="rId187" Type="http://schemas.openxmlformats.org/officeDocument/2006/relationships/tags" Target="../tags/tag955.xml"/><Relationship Id="rId331" Type="http://schemas.openxmlformats.org/officeDocument/2006/relationships/tags" Target="../tags/tag1099.xml"/><Relationship Id="rId352" Type="http://schemas.openxmlformats.org/officeDocument/2006/relationships/tags" Target="../tags/tag1120.xml"/><Relationship Id="rId373" Type="http://schemas.openxmlformats.org/officeDocument/2006/relationships/tags" Target="../tags/tag1141.xml"/><Relationship Id="rId1" Type="http://schemas.openxmlformats.org/officeDocument/2006/relationships/tags" Target="../tags/tag769.xml"/><Relationship Id="rId212" Type="http://schemas.openxmlformats.org/officeDocument/2006/relationships/tags" Target="../tags/tag980.xml"/><Relationship Id="rId233" Type="http://schemas.openxmlformats.org/officeDocument/2006/relationships/tags" Target="../tags/tag1001.xml"/><Relationship Id="rId254" Type="http://schemas.openxmlformats.org/officeDocument/2006/relationships/tags" Target="../tags/tag1022.xml"/><Relationship Id="rId28" Type="http://schemas.openxmlformats.org/officeDocument/2006/relationships/tags" Target="../tags/tag796.xml"/><Relationship Id="rId49" Type="http://schemas.openxmlformats.org/officeDocument/2006/relationships/tags" Target="../tags/tag817.xml"/><Relationship Id="rId114" Type="http://schemas.openxmlformats.org/officeDocument/2006/relationships/tags" Target="../tags/tag882.xml"/><Relationship Id="rId275" Type="http://schemas.openxmlformats.org/officeDocument/2006/relationships/tags" Target="../tags/tag1043.xml"/><Relationship Id="rId296" Type="http://schemas.openxmlformats.org/officeDocument/2006/relationships/tags" Target="../tags/tag1064.xml"/><Relationship Id="rId300" Type="http://schemas.openxmlformats.org/officeDocument/2006/relationships/tags" Target="../tags/tag1068.xml"/><Relationship Id="rId60" Type="http://schemas.openxmlformats.org/officeDocument/2006/relationships/tags" Target="../tags/tag828.xml"/><Relationship Id="rId81" Type="http://schemas.openxmlformats.org/officeDocument/2006/relationships/tags" Target="../tags/tag849.xml"/><Relationship Id="rId135" Type="http://schemas.openxmlformats.org/officeDocument/2006/relationships/tags" Target="../tags/tag903.xml"/><Relationship Id="rId156" Type="http://schemas.openxmlformats.org/officeDocument/2006/relationships/tags" Target="../tags/tag924.xml"/><Relationship Id="rId177" Type="http://schemas.openxmlformats.org/officeDocument/2006/relationships/tags" Target="../tags/tag945.xml"/><Relationship Id="rId198" Type="http://schemas.openxmlformats.org/officeDocument/2006/relationships/tags" Target="../tags/tag966.xml"/><Relationship Id="rId321" Type="http://schemas.openxmlformats.org/officeDocument/2006/relationships/tags" Target="../tags/tag1089.xml"/><Relationship Id="rId342" Type="http://schemas.openxmlformats.org/officeDocument/2006/relationships/tags" Target="../tags/tag1110.xml"/><Relationship Id="rId363" Type="http://schemas.openxmlformats.org/officeDocument/2006/relationships/tags" Target="../tags/tag1131.xml"/><Relationship Id="rId202" Type="http://schemas.openxmlformats.org/officeDocument/2006/relationships/tags" Target="../tags/tag970.xml"/><Relationship Id="rId223" Type="http://schemas.openxmlformats.org/officeDocument/2006/relationships/tags" Target="../tags/tag991.xml"/><Relationship Id="rId244" Type="http://schemas.openxmlformats.org/officeDocument/2006/relationships/tags" Target="../tags/tag1012.xml"/><Relationship Id="rId18" Type="http://schemas.openxmlformats.org/officeDocument/2006/relationships/tags" Target="../tags/tag786.xml"/><Relationship Id="rId39" Type="http://schemas.openxmlformats.org/officeDocument/2006/relationships/tags" Target="../tags/tag807.xml"/><Relationship Id="rId265" Type="http://schemas.openxmlformats.org/officeDocument/2006/relationships/tags" Target="../tags/tag1033.xml"/><Relationship Id="rId286" Type="http://schemas.openxmlformats.org/officeDocument/2006/relationships/tags" Target="../tags/tag1054.xml"/><Relationship Id="rId50" Type="http://schemas.openxmlformats.org/officeDocument/2006/relationships/tags" Target="../tags/tag818.xml"/><Relationship Id="rId104" Type="http://schemas.openxmlformats.org/officeDocument/2006/relationships/tags" Target="../tags/tag872.xml"/><Relationship Id="rId125" Type="http://schemas.openxmlformats.org/officeDocument/2006/relationships/tags" Target="../tags/tag893.xml"/><Relationship Id="rId146" Type="http://schemas.openxmlformats.org/officeDocument/2006/relationships/tags" Target="../tags/tag914.xml"/><Relationship Id="rId167" Type="http://schemas.openxmlformats.org/officeDocument/2006/relationships/tags" Target="../tags/tag935.xml"/><Relationship Id="rId188" Type="http://schemas.openxmlformats.org/officeDocument/2006/relationships/tags" Target="../tags/tag956.xml"/><Relationship Id="rId311" Type="http://schemas.openxmlformats.org/officeDocument/2006/relationships/tags" Target="../tags/tag1079.xml"/><Relationship Id="rId332" Type="http://schemas.openxmlformats.org/officeDocument/2006/relationships/tags" Target="../tags/tag1100.xml"/><Relationship Id="rId353" Type="http://schemas.openxmlformats.org/officeDocument/2006/relationships/tags" Target="../tags/tag1121.xml"/><Relationship Id="rId374" Type="http://schemas.openxmlformats.org/officeDocument/2006/relationships/tags" Target="../tags/tag1142.xml"/><Relationship Id="rId71" Type="http://schemas.openxmlformats.org/officeDocument/2006/relationships/tags" Target="../tags/tag839.xml"/><Relationship Id="rId92" Type="http://schemas.openxmlformats.org/officeDocument/2006/relationships/tags" Target="../tags/tag860.xml"/><Relationship Id="rId213" Type="http://schemas.openxmlformats.org/officeDocument/2006/relationships/tags" Target="../tags/tag981.xml"/><Relationship Id="rId234" Type="http://schemas.openxmlformats.org/officeDocument/2006/relationships/tags" Target="../tags/tag1002.xml"/><Relationship Id="rId2" Type="http://schemas.openxmlformats.org/officeDocument/2006/relationships/tags" Target="../tags/tag770.xml"/><Relationship Id="rId29" Type="http://schemas.openxmlformats.org/officeDocument/2006/relationships/tags" Target="../tags/tag797.xml"/><Relationship Id="rId255" Type="http://schemas.openxmlformats.org/officeDocument/2006/relationships/tags" Target="../tags/tag1023.xml"/><Relationship Id="rId276" Type="http://schemas.openxmlformats.org/officeDocument/2006/relationships/tags" Target="../tags/tag1044.xml"/><Relationship Id="rId297" Type="http://schemas.openxmlformats.org/officeDocument/2006/relationships/tags" Target="../tags/tag1065.xml"/><Relationship Id="rId40" Type="http://schemas.openxmlformats.org/officeDocument/2006/relationships/tags" Target="../tags/tag808.xml"/><Relationship Id="rId115" Type="http://schemas.openxmlformats.org/officeDocument/2006/relationships/tags" Target="../tags/tag883.xml"/><Relationship Id="rId136" Type="http://schemas.openxmlformats.org/officeDocument/2006/relationships/tags" Target="../tags/tag904.xml"/><Relationship Id="rId157" Type="http://schemas.openxmlformats.org/officeDocument/2006/relationships/tags" Target="../tags/tag925.xml"/><Relationship Id="rId178" Type="http://schemas.openxmlformats.org/officeDocument/2006/relationships/tags" Target="../tags/tag946.xml"/><Relationship Id="rId301" Type="http://schemas.openxmlformats.org/officeDocument/2006/relationships/tags" Target="../tags/tag1069.xml"/><Relationship Id="rId322" Type="http://schemas.openxmlformats.org/officeDocument/2006/relationships/tags" Target="../tags/tag1090.xml"/><Relationship Id="rId343" Type="http://schemas.openxmlformats.org/officeDocument/2006/relationships/tags" Target="../tags/tag1111.xml"/><Relationship Id="rId364" Type="http://schemas.openxmlformats.org/officeDocument/2006/relationships/tags" Target="../tags/tag1132.xml"/><Relationship Id="rId61" Type="http://schemas.openxmlformats.org/officeDocument/2006/relationships/tags" Target="../tags/tag829.xml"/><Relationship Id="rId82" Type="http://schemas.openxmlformats.org/officeDocument/2006/relationships/tags" Target="../tags/tag850.xml"/><Relationship Id="rId199" Type="http://schemas.openxmlformats.org/officeDocument/2006/relationships/tags" Target="../tags/tag967.xml"/><Relationship Id="rId203" Type="http://schemas.openxmlformats.org/officeDocument/2006/relationships/tags" Target="../tags/tag971.xml"/><Relationship Id="rId19" Type="http://schemas.openxmlformats.org/officeDocument/2006/relationships/tags" Target="../tags/tag787.xml"/><Relationship Id="rId224" Type="http://schemas.openxmlformats.org/officeDocument/2006/relationships/tags" Target="../tags/tag992.xml"/><Relationship Id="rId245" Type="http://schemas.openxmlformats.org/officeDocument/2006/relationships/tags" Target="../tags/tag1013.xml"/><Relationship Id="rId266" Type="http://schemas.openxmlformats.org/officeDocument/2006/relationships/tags" Target="../tags/tag1034.xml"/><Relationship Id="rId287" Type="http://schemas.openxmlformats.org/officeDocument/2006/relationships/tags" Target="../tags/tag1055.xml"/><Relationship Id="rId30" Type="http://schemas.openxmlformats.org/officeDocument/2006/relationships/tags" Target="../tags/tag798.xml"/><Relationship Id="rId105" Type="http://schemas.openxmlformats.org/officeDocument/2006/relationships/tags" Target="../tags/tag873.xml"/><Relationship Id="rId126" Type="http://schemas.openxmlformats.org/officeDocument/2006/relationships/tags" Target="../tags/tag894.xml"/><Relationship Id="rId147" Type="http://schemas.openxmlformats.org/officeDocument/2006/relationships/tags" Target="../tags/tag915.xml"/><Relationship Id="rId168" Type="http://schemas.openxmlformats.org/officeDocument/2006/relationships/tags" Target="../tags/tag936.xml"/><Relationship Id="rId312" Type="http://schemas.openxmlformats.org/officeDocument/2006/relationships/tags" Target="../tags/tag1080.xml"/><Relationship Id="rId333" Type="http://schemas.openxmlformats.org/officeDocument/2006/relationships/tags" Target="../tags/tag1101.xml"/><Relationship Id="rId354" Type="http://schemas.openxmlformats.org/officeDocument/2006/relationships/tags" Target="../tags/tag1122.xml"/><Relationship Id="rId51" Type="http://schemas.openxmlformats.org/officeDocument/2006/relationships/tags" Target="../tags/tag819.xml"/><Relationship Id="rId72" Type="http://schemas.openxmlformats.org/officeDocument/2006/relationships/tags" Target="../tags/tag840.xml"/><Relationship Id="rId93" Type="http://schemas.openxmlformats.org/officeDocument/2006/relationships/tags" Target="../tags/tag861.xml"/><Relationship Id="rId189" Type="http://schemas.openxmlformats.org/officeDocument/2006/relationships/tags" Target="../tags/tag957.xml"/><Relationship Id="rId375" Type="http://schemas.openxmlformats.org/officeDocument/2006/relationships/tags" Target="../tags/tag1143.xml"/><Relationship Id="rId3" Type="http://schemas.openxmlformats.org/officeDocument/2006/relationships/tags" Target="../tags/tag771.xml"/><Relationship Id="rId214" Type="http://schemas.openxmlformats.org/officeDocument/2006/relationships/tags" Target="../tags/tag982.xml"/><Relationship Id="rId235" Type="http://schemas.openxmlformats.org/officeDocument/2006/relationships/tags" Target="../tags/tag1003.xml"/><Relationship Id="rId256" Type="http://schemas.openxmlformats.org/officeDocument/2006/relationships/tags" Target="../tags/tag1024.xml"/><Relationship Id="rId277" Type="http://schemas.openxmlformats.org/officeDocument/2006/relationships/tags" Target="../tags/tag1045.xml"/><Relationship Id="rId298" Type="http://schemas.openxmlformats.org/officeDocument/2006/relationships/tags" Target="../tags/tag1066.xml"/><Relationship Id="rId116" Type="http://schemas.openxmlformats.org/officeDocument/2006/relationships/tags" Target="../tags/tag884.xml"/><Relationship Id="rId137" Type="http://schemas.openxmlformats.org/officeDocument/2006/relationships/tags" Target="../tags/tag905.xml"/><Relationship Id="rId158" Type="http://schemas.openxmlformats.org/officeDocument/2006/relationships/tags" Target="../tags/tag926.xml"/><Relationship Id="rId302" Type="http://schemas.openxmlformats.org/officeDocument/2006/relationships/tags" Target="../tags/tag1070.xml"/><Relationship Id="rId323" Type="http://schemas.openxmlformats.org/officeDocument/2006/relationships/tags" Target="../tags/tag1091.xml"/><Relationship Id="rId344" Type="http://schemas.openxmlformats.org/officeDocument/2006/relationships/tags" Target="../tags/tag1112.xml"/><Relationship Id="rId20" Type="http://schemas.openxmlformats.org/officeDocument/2006/relationships/tags" Target="../tags/tag788.xml"/><Relationship Id="rId41" Type="http://schemas.openxmlformats.org/officeDocument/2006/relationships/tags" Target="../tags/tag809.xml"/><Relationship Id="rId62" Type="http://schemas.openxmlformats.org/officeDocument/2006/relationships/tags" Target="../tags/tag830.xml"/><Relationship Id="rId83" Type="http://schemas.openxmlformats.org/officeDocument/2006/relationships/tags" Target="../tags/tag851.xml"/><Relationship Id="rId179" Type="http://schemas.openxmlformats.org/officeDocument/2006/relationships/tags" Target="../tags/tag947.xml"/><Relationship Id="rId365" Type="http://schemas.openxmlformats.org/officeDocument/2006/relationships/tags" Target="../tags/tag1133.xml"/><Relationship Id="rId190" Type="http://schemas.openxmlformats.org/officeDocument/2006/relationships/tags" Target="../tags/tag958.xml"/><Relationship Id="rId204" Type="http://schemas.openxmlformats.org/officeDocument/2006/relationships/tags" Target="../tags/tag972.xml"/><Relationship Id="rId225" Type="http://schemas.openxmlformats.org/officeDocument/2006/relationships/tags" Target="../tags/tag993.xml"/><Relationship Id="rId246" Type="http://schemas.openxmlformats.org/officeDocument/2006/relationships/tags" Target="../tags/tag1014.xml"/><Relationship Id="rId267" Type="http://schemas.openxmlformats.org/officeDocument/2006/relationships/tags" Target="../tags/tag1035.xml"/><Relationship Id="rId288" Type="http://schemas.openxmlformats.org/officeDocument/2006/relationships/tags" Target="../tags/tag1056.xml"/><Relationship Id="rId106" Type="http://schemas.openxmlformats.org/officeDocument/2006/relationships/tags" Target="../tags/tag874.xml"/><Relationship Id="rId127" Type="http://schemas.openxmlformats.org/officeDocument/2006/relationships/tags" Target="../tags/tag895.xml"/><Relationship Id="rId313" Type="http://schemas.openxmlformats.org/officeDocument/2006/relationships/tags" Target="../tags/tag1081.xml"/><Relationship Id="rId10" Type="http://schemas.openxmlformats.org/officeDocument/2006/relationships/tags" Target="../tags/tag778.xml"/><Relationship Id="rId31" Type="http://schemas.openxmlformats.org/officeDocument/2006/relationships/tags" Target="../tags/tag799.xml"/><Relationship Id="rId52" Type="http://schemas.openxmlformats.org/officeDocument/2006/relationships/tags" Target="../tags/tag820.xml"/><Relationship Id="rId73" Type="http://schemas.openxmlformats.org/officeDocument/2006/relationships/tags" Target="../tags/tag841.xml"/><Relationship Id="rId94" Type="http://schemas.openxmlformats.org/officeDocument/2006/relationships/tags" Target="../tags/tag862.xml"/><Relationship Id="rId148" Type="http://schemas.openxmlformats.org/officeDocument/2006/relationships/tags" Target="../tags/tag916.xml"/><Relationship Id="rId169" Type="http://schemas.openxmlformats.org/officeDocument/2006/relationships/tags" Target="../tags/tag937.xml"/><Relationship Id="rId334" Type="http://schemas.openxmlformats.org/officeDocument/2006/relationships/tags" Target="../tags/tag1102.xml"/><Relationship Id="rId355" Type="http://schemas.openxmlformats.org/officeDocument/2006/relationships/tags" Target="../tags/tag1123.xml"/><Relationship Id="rId376" Type="http://schemas.openxmlformats.org/officeDocument/2006/relationships/tags" Target="../tags/tag1144.xml"/><Relationship Id="rId4" Type="http://schemas.openxmlformats.org/officeDocument/2006/relationships/tags" Target="../tags/tag772.xml"/><Relationship Id="rId180" Type="http://schemas.openxmlformats.org/officeDocument/2006/relationships/tags" Target="../tags/tag948.xml"/><Relationship Id="rId215" Type="http://schemas.openxmlformats.org/officeDocument/2006/relationships/tags" Target="../tags/tag983.xml"/><Relationship Id="rId236" Type="http://schemas.openxmlformats.org/officeDocument/2006/relationships/tags" Target="../tags/tag1004.xml"/><Relationship Id="rId257" Type="http://schemas.openxmlformats.org/officeDocument/2006/relationships/tags" Target="../tags/tag1025.xml"/><Relationship Id="rId278" Type="http://schemas.openxmlformats.org/officeDocument/2006/relationships/tags" Target="../tags/tag1046.xml"/><Relationship Id="rId303" Type="http://schemas.openxmlformats.org/officeDocument/2006/relationships/tags" Target="../tags/tag1071.xml"/><Relationship Id="rId42" Type="http://schemas.openxmlformats.org/officeDocument/2006/relationships/tags" Target="../tags/tag810.xml"/><Relationship Id="rId84" Type="http://schemas.openxmlformats.org/officeDocument/2006/relationships/tags" Target="../tags/tag852.xml"/><Relationship Id="rId138" Type="http://schemas.openxmlformats.org/officeDocument/2006/relationships/tags" Target="../tags/tag906.xml"/><Relationship Id="rId345" Type="http://schemas.openxmlformats.org/officeDocument/2006/relationships/tags" Target="../tags/tag1113.xml"/><Relationship Id="rId191" Type="http://schemas.openxmlformats.org/officeDocument/2006/relationships/tags" Target="../tags/tag959.xml"/><Relationship Id="rId205" Type="http://schemas.openxmlformats.org/officeDocument/2006/relationships/tags" Target="../tags/tag973.xml"/><Relationship Id="rId247" Type="http://schemas.openxmlformats.org/officeDocument/2006/relationships/tags" Target="../tags/tag1015.xml"/><Relationship Id="rId107" Type="http://schemas.openxmlformats.org/officeDocument/2006/relationships/tags" Target="../tags/tag875.xml"/><Relationship Id="rId289" Type="http://schemas.openxmlformats.org/officeDocument/2006/relationships/tags" Target="../tags/tag1057.xml"/><Relationship Id="rId11" Type="http://schemas.openxmlformats.org/officeDocument/2006/relationships/tags" Target="../tags/tag779.xml"/><Relationship Id="rId53" Type="http://schemas.openxmlformats.org/officeDocument/2006/relationships/tags" Target="../tags/tag821.xml"/><Relationship Id="rId149" Type="http://schemas.openxmlformats.org/officeDocument/2006/relationships/tags" Target="../tags/tag917.xml"/><Relationship Id="rId314" Type="http://schemas.openxmlformats.org/officeDocument/2006/relationships/tags" Target="../tags/tag1082.xml"/><Relationship Id="rId356" Type="http://schemas.openxmlformats.org/officeDocument/2006/relationships/tags" Target="../tags/tag1124.xml"/><Relationship Id="rId95" Type="http://schemas.openxmlformats.org/officeDocument/2006/relationships/tags" Target="../tags/tag863.xml"/><Relationship Id="rId160" Type="http://schemas.openxmlformats.org/officeDocument/2006/relationships/tags" Target="../tags/tag928.xml"/><Relationship Id="rId216" Type="http://schemas.openxmlformats.org/officeDocument/2006/relationships/tags" Target="../tags/tag984.xml"/><Relationship Id="rId258" Type="http://schemas.openxmlformats.org/officeDocument/2006/relationships/tags" Target="../tags/tag1026.xml"/><Relationship Id="rId22" Type="http://schemas.openxmlformats.org/officeDocument/2006/relationships/tags" Target="../tags/tag790.xml"/><Relationship Id="rId64" Type="http://schemas.openxmlformats.org/officeDocument/2006/relationships/tags" Target="../tags/tag832.xml"/><Relationship Id="rId118" Type="http://schemas.openxmlformats.org/officeDocument/2006/relationships/tags" Target="../tags/tag886.xml"/><Relationship Id="rId325" Type="http://schemas.openxmlformats.org/officeDocument/2006/relationships/tags" Target="../tags/tag1093.xml"/><Relationship Id="rId367" Type="http://schemas.openxmlformats.org/officeDocument/2006/relationships/tags" Target="../tags/tag1135.xml"/><Relationship Id="rId171" Type="http://schemas.openxmlformats.org/officeDocument/2006/relationships/tags" Target="../tags/tag939.xml"/><Relationship Id="rId227" Type="http://schemas.openxmlformats.org/officeDocument/2006/relationships/tags" Target="../tags/tag995.xml"/><Relationship Id="rId269" Type="http://schemas.openxmlformats.org/officeDocument/2006/relationships/tags" Target="../tags/tag1037.xml"/><Relationship Id="rId33" Type="http://schemas.openxmlformats.org/officeDocument/2006/relationships/tags" Target="../tags/tag801.xml"/><Relationship Id="rId129" Type="http://schemas.openxmlformats.org/officeDocument/2006/relationships/tags" Target="../tags/tag897.xml"/><Relationship Id="rId280" Type="http://schemas.openxmlformats.org/officeDocument/2006/relationships/tags" Target="../tags/tag1048.xml"/><Relationship Id="rId336" Type="http://schemas.openxmlformats.org/officeDocument/2006/relationships/tags" Target="../tags/tag1104.xml"/><Relationship Id="rId75" Type="http://schemas.openxmlformats.org/officeDocument/2006/relationships/tags" Target="../tags/tag843.xml"/><Relationship Id="rId140" Type="http://schemas.openxmlformats.org/officeDocument/2006/relationships/tags" Target="../tags/tag908.xml"/><Relationship Id="rId182" Type="http://schemas.openxmlformats.org/officeDocument/2006/relationships/tags" Target="../tags/tag950.xml"/><Relationship Id="rId378" Type="http://schemas.openxmlformats.org/officeDocument/2006/relationships/tags" Target="../tags/tag1146.xml"/><Relationship Id="rId6" Type="http://schemas.openxmlformats.org/officeDocument/2006/relationships/tags" Target="../tags/tag774.xml"/><Relationship Id="rId238" Type="http://schemas.openxmlformats.org/officeDocument/2006/relationships/tags" Target="../tags/tag1006.xml"/><Relationship Id="rId291" Type="http://schemas.openxmlformats.org/officeDocument/2006/relationships/tags" Target="../tags/tag1059.xml"/><Relationship Id="rId305" Type="http://schemas.openxmlformats.org/officeDocument/2006/relationships/tags" Target="../tags/tag1073.xml"/><Relationship Id="rId347" Type="http://schemas.openxmlformats.org/officeDocument/2006/relationships/tags" Target="../tags/tag1115.xml"/><Relationship Id="rId44" Type="http://schemas.openxmlformats.org/officeDocument/2006/relationships/tags" Target="../tags/tag812.xml"/><Relationship Id="rId86" Type="http://schemas.openxmlformats.org/officeDocument/2006/relationships/tags" Target="../tags/tag854.xml"/><Relationship Id="rId151" Type="http://schemas.openxmlformats.org/officeDocument/2006/relationships/tags" Target="../tags/tag919.xml"/><Relationship Id="rId193" Type="http://schemas.openxmlformats.org/officeDocument/2006/relationships/tags" Target="../tags/tag961.xml"/><Relationship Id="rId207" Type="http://schemas.openxmlformats.org/officeDocument/2006/relationships/tags" Target="../tags/tag975.xml"/><Relationship Id="rId249" Type="http://schemas.openxmlformats.org/officeDocument/2006/relationships/tags" Target="../tags/tag1017.xml"/><Relationship Id="rId13" Type="http://schemas.openxmlformats.org/officeDocument/2006/relationships/tags" Target="../tags/tag781.xml"/><Relationship Id="rId109" Type="http://schemas.openxmlformats.org/officeDocument/2006/relationships/tags" Target="../tags/tag877.xml"/><Relationship Id="rId260" Type="http://schemas.openxmlformats.org/officeDocument/2006/relationships/tags" Target="../tags/tag1028.xml"/><Relationship Id="rId316" Type="http://schemas.openxmlformats.org/officeDocument/2006/relationships/tags" Target="../tags/tag1084.xml"/><Relationship Id="rId55" Type="http://schemas.openxmlformats.org/officeDocument/2006/relationships/tags" Target="../tags/tag823.xml"/><Relationship Id="rId97" Type="http://schemas.openxmlformats.org/officeDocument/2006/relationships/tags" Target="../tags/tag865.xml"/><Relationship Id="rId120" Type="http://schemas.openxmlformats.org/officeDocument/2006/relationships/tags" Target="../tags/tag888.xml"/><Relationship Id="rId358" Type="http://schemas.openxmlformats.org/officeDocument/2006/relationships/tags" Target="../tags/tag1126.xml"/><Relationship Id="rId162" Type="http://schemas.openxmlformats.org/officeDocument/2006/relationships/tags" Target="../tags/tag930.xml"/><Relationship Id="rId218" Type="http://schemas.openxmlformats.org/officeDocument/2006/relationships/tags" Target="../tags/tag986.xml"/><Relationship Id="rId271" Type="http://schemas.openxmlformats.org/officeDocument/2006/relationships/tags" Target="../tags/tag1039.xml"/><Relationship Id="rId24" Type="http://schemas.openxmlformats.org/officeDocument/2006/relationships/tags" Target="../tags/tag792.xml"/><Relationship Id="rId66" Type="http://schemas.openxmlformats.org/officeDocument/2006/relationships/tags" Target="../tags/tag834.xml"/><Relationship Id="rId131" Type="http://schemas.openxmlformats.org/officeDocument/2006/relationships/tags" Target="../tags/tag899.xml"/><Relationship Id="rId327" Type="http://schemas.openxmlformats.org/officeDocument/2006/relationships/tags" Target="../tags/tag1095.xml"/><Relationship Id="rId369" Type="http://schemas.openxmlformats.org/officeDocument/2006/relationships/tags" Target="../tags/tag1137.xml"/><Relationship Id="rId173" Type="http://schemas.openxmlformats.org/officeDocument/2006/relationships/tags" Target="../tags/tag941.xml"/><Relationship Id="rId229" Type="http://schemas.openxmlformats.org/officeDocument/2006/relationships/tags" Target="../tags/tag997.xml"/><Relationship Id="rId380" Type="http://schemas.openxmlformats.org/officeDocument/2006/relationships/tags" Target="../tags/tag1148.xml"/><Relationship Id="rId240" Type="http://schemas.openxmlformats.org/officeDocument/2006/relationships/tags" Target="../tags/tag1008.xml"/><Relationship Id="rId35" Type="http://schemas.openxmlformats.org/officeDocument/2006/relationships/tags" Target="../tags/tag803.xml"/><Relationship Id="rId77" Type="http://schemas.openxmlformats.org/officeDocument/2006/relationships/tags" Target="../tags/tag845.xml"/><Relationship Id="rId100" Type="http://schemas.openxmlformats.org/officeDocument/2006/relationships/tags" Target="../tags/tag868.xml"/><Relationship Id="rId282" Type="http://schemas.openxmlformats.org/officeDocument/2006/relationships/tags" Target="../tags/tag1050.xml"/><Relationship Id="rId338" Type="http://schemas.openxmlformats.org/officeDocument/2006/relationships/tags" Target="../tags/tag1106.xml"/><Relationship Id="rId8" Type="http://schemas.openxmlformats.org/officeDocument/2006/relationships/tags" Target="../tags/tag776.xml"/><Relationship Id="rId142" Type="http://schemas.openxmlformats.org/officeDocument/2006/relationships/tags" Target="../tags/tag910.xml"/><Relationship Id="rId184" Type="http://schemas.openxmlformats.org/officeDocument/2006/relationships/tags" Target="../tags/tag952.xml"/><Relationship Id="rId251" Type="http://schemas.openxmlformats.org/officeDocument/2006/relationships/tags" Target="../tags/tag1019.xml"/><Relationship Id="rId46" Type="http://schemas.openxmlformats.org/officeDocument/2006/relationships/tags" Target="../tags/tag814.xml"/><Relationship Id="rId293" Type="http://schemas.openxmlformats.org/officeDocument/2006/relationships/tags" Target="../tags/tag1061.xml"/><Relationship Id="rId307" Type="http://schemas.openxmlformats.org/officeDocument/2006/relationships/tags" Target="../tags/tag1075.xml"/><Relationship Id="rId349" Type="http://schemas.openxmlformats.org/officeDocument/2006/relationships/tags" Target="../tags/tag1117.xml"/><Relationship Id="rId88" Type="http://schemas.openxmlformats.org/officeDocument/2006/relationships/tags" Target="../tags/tag856.xml"/><Relationship Id="rId111" Type="http://schemas.openxmlformats.org/officeDocument/2006/relationships/tags" Target="../tags/tag879.xml"/><Relationship Id="rId153" Type="http://schemas.openxmlformats.org/officeDocument/2006/relationships/tags" Target="../tags/tag921.xml"/><Relationship Id="rId195" Type="http://schemas.openxmlformats.org/officeDocument/2006/relationships/tags" Target="../tags/tag963.xml"/><Relationship Id="rId209" Type="http://schemas.openxmlformats.org/officeDocument/2006/relationships/tags" Target="../tags/tag977.xml"/><Relationship Id="rId360" Type="http://schemas.openxmlformats.org/officeDocument/2006/relationships/tags" Target="../tags/tag1128.xml"/><Relationship Id="rId220" Type="http://schemas.openxmlformats.org/officeDocument/2006/relationships/tags" Target="../tags/tag988.xml"/><Relationship Id="rId15" Type="http://schemas.openxmlformats.org/officeDocument/2006/relationships/tags" Target="../tags/tag783.xml"/><Relationship Id="rId57" Type="http://schemas.openxmlformats.org/officeDocument/2006/relationships/tags" Target="../tags/tag825.xml"/><Relationship Id="rId262" Type="http://schemas.openxmlformats.org/officeDocument/2006/relationships/tags" Target="../tags/tag1030.xml"/><Relationship Id="rId318" Type="http://schemas.openxmlformats.org/officeDocument/2006/relationships/tags" Target="../tags/tag1086.xml"/><Relationship Id="rId99" Type="http://schemas.openxmlformats.org/officeDocument/2006/relationships/tags" Target="../tags/tag867.xml"/><Relationship Id="rId122" Type="http://schemas.openxmlformats.org/officeDocument/2006/relationships/tags" Target="../tags/tag890.xml"/><Relationship Id="rId164" Type="http://schemas.openxmlformats.org/officeDocument/2006/relationships/tags" Target="../tags/tag932.xml"/><Relationship Id="rId371" Type="http://schemas.openxmlformats.org/officeDocument/2006/relationships/tags" Target="../tags/tag1139.xml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1264.xml"/><Relationship Id="rId299" Type="http://schemas.openxmlformats.org/officeDocument/2006/relationships/tags" Target="../tags/tag1446.xml"/><Relationship Id="rId21" Type="http://schemas.openxmlformats.org/officeDocument/2006/relationships/tags" Target="../tags/tag1168.xml"/><Relationship Id="rId63" Type="http://schemas.openxmlformats.org/officeDocument/2006/relationships/tags" Target="../tags/tag1210.xml"/><Relationship Id="rId159" Type="http://schemas.openxmlformats.org/officeDocument/2006/relationships/tags" Target="../tags/tag1306.xml"/><Relationship Id="rId324" Type="http://schemas.openxmlformats.org/officeDocument/2006/relationships/tags" Target="../tags/tag1471.xml"/><Relationship Id="rId366" Type="http://schemas.openxmlformats.org/officeDocument/2006/relationships/tags" Target="../tags/tag1513.xml"/><Relationship Id="rId170" Type="http://schemas.openxmlformats.org/officeDocument/2006/relationships/tags" Target="../tags/tag1317.xml"/><Relationship Id="rId226" Type="http://schemas.openxmlformats.org/officeDocument/2006/relationships/tags" Target="../tags/tag1373.xml"/><Relationship Id="rId268" Type="http://schemas.openxmlformats.org/officeDocument/2006/relationships/tags" Target="../tags/tag1415.xml"/><Relationship Id="rId32" Type="http://schemas.openxmlformats.org/officeDocument/2006/relationships/tags" Target="../tags/tag1179.xml"/><Relationship Id="rId74" Type="http://schemas.openxmlformats.org/officeDocument/2006/relationships/tags" Target="../tags/tag1221.xml"/><Relationship Id="rId128" Type="http://schemas.openxmlformats.org/officeDocument/2006/relationships/tags" Target="../tags/tag1275.xml"/><Relationship Id="rId335" Type="http://schemas.openxmlformats.org/officeDocument/2006/relationships/tags" Target="../tags/tag1482.xml"/><Relationship Id="rId377" Type="http://schemas.openxmlformats.org/officeDocument/2006/relationships/tags" Target="../tags/tag1524.xml"/><Relationship Id="rId5" Type="http://schemas.openxmlformats.org/officeDocument/2006/relationships/tags" Target="../tags/tag1152.xml"/><Relationship Id="rId181" Type="http://schemas.openxmlformats.org/officeDocument/2006/relationships/tags" Target="../tags/tag1328.xml"/><Relationship Id="rId237" Type="http://schemas.openxmlformats.org/officeDocument/2006/relationships/tags" Target="../tags/tag1384.xml"/><Relationship Id="rId279" Type="http://schemas.openxmlformats.org/officeDocument/2006/relationships/tags" Target="../tags/tag1426.xml"/><Relationship Id="rId43" Type="http://schemas.openxmlformats.org/officeDocument/2006/relationships/tags" Target="../tags/tag1190.xml"/><Relationship Id="rId139" Type="http://schemas.openxmlformats.org/officeDocument/2006/relationships/tags" Target="../tags/tag1286.xml"/><Relationship Id="rId290" Type="http://schemas.openxmlformats.org/officeDocument/2006/relationships/tags" Target="../tags/tag1437.xml"/><Relationship Id="rId304" Type="http://schemas.openxmlformats.org/officeDocument/2006/relationships/tags" Target="../tags/tag1451.xml"/><Relationship Id="rId346" Type="http://schemas.openxmlformats.org/officeDocument/2006/relationships/tags" Target="../tags/tag1493.xml"/><Relationship Id="rId85" Type="http://schemas.openxmlformats.org/officeDocument/2006/relationships/tags" Target="../tags/tag1232.xml"/><Relationship Id="rId150" Type="http://schemas.openxmlformats.org/officeDocument/2006/relationships/tags" Target="../tags/tag1297.xml"/><Relationship Id="rId192" Type="http://schemas.openxmlformats.org/officeDocument/2006/relationships/tags" Target="../tags/tag1339.xml"/><Relationship Id="rId206" Type="http://schemas.openxmlformats.org/officeDocument/2006/relationships/tags" Target="../tags/tag1353.xml"/><Relationship Id="rId248" Type="http://schemas.openxmlformats.org/officeDocument/2006/relationships/tags" Target="../tags/tag1395.xml"/><Relationship Id="rId12" Type="http://schemas.openxmlformats.org/officeDocument/2006/relationships/tags" Target="../tags/tag1159.xml"/><Relationship Id="rId108" Type="http://schemas.openxmlformats.org/officeDocument/2006/relationships/tags" Target="../tags/tag1255.xml"/><Relationship Id="rId315" Type="http://schemas.openxmlformats.org/officeDocument/2006/relationships/tags" Target="../tags/tag1462.xml"/><Relationship Id="rId357" Type="http://schemas.openxmlformats.org/officeDocument/2006/relationships/tags" Target="../tags/tag1504.xml"/><Relationship Id="rId54" Type="http://schemas.openxmlformats.org/officeDocument/2006/relationships/tags" Target="../tags/tag1201.xml"/><Relationship Id="rId96" Type="http://schemas.openxmlformats.org/officeDocument/2006/relationships/tags" Target="../tags/tag1243.xml"/><Relationship Id="rId161" Type="http://schemas.openxmlformats.org/officeDocument/2006/relationships/tags" Target="../tags/tag1308.xml"/><Relationship Id="rId217" Type="http://schemas.openxmlformats.org/officeDocument/2006/relationships/tags" Target="../tags/tag1364.xml"/><Relationship Id="rId259" Type="http://schemas.openxmlformats.org/officeDocument/2006/relationships/tags" Target="../tags/tag1406.xml"/><Relationship Id="rId23" Type="http://schemas.openxmlformats.org/officeDocument/2006/relationships/tags" Target="../tags/tag1170.xml"/><Relationship Id="rId119" Type="http://schemas.openxmlformats.org/officeDocument/2006/relationships/tags" Target="../tags/tag1266.xml"/><Relationship Id="rId270" Type="http://schemas.openxmlformats.org/officeDocument/2006/relationships/tags" Target="../tags/tag1417.xml"/><Relationship Id="rId326" Type="http://schemas.openxmlformats.org/officeDocument/2006/relationships/tags" Target="../tags/tag1473.xml"/><Relationship Id="rId65" Type="http://schemas.openxmlformats.org/officeDocument/2006/relationships/tags" Target="../tags/tag1212.xml"/><Relationship Id="rId130" Type="http://schemas.openxmlformats.org/officeDocument/2006/relationships/tags" Target="../tags/tag1277.xml"/><Relationship Id="rId368" Type="http://schemas.openxmlformats.org/officeDocument/2006/relationships/tags" Target="../tags/tag1515.xml"/><Relationship Id="rId172" Type="http://schemas.openxmlformats.org/officeDocument/2006/relationships/tags" Target="../tags/tag1319.xml"/><Relationship Id="rId228" Type="http://schemas.openxmlformats.org/officeDocument/2006/relationships/tags" Target="../tags/tag1375.xml"/><Relationship Id="rId281" Type="http://schemas.openxmlformats.org/officeDocument/2006/relationships/tags" Target="../tags/tag1428.xml"/><Relationship Id="rId337" Type="http://schemas.openxmlformats.org/officeDocument/2006/relationships/tags" Target="../tags/tag1484.xml"/><Relationship Id="rId34" Type="http://schemas.openxmlformats.org/officeDocument/2006/relationships/tags" Target="../tags/tag1181.xml"/><Relationship Id="rId76" Type="http://schemas.openxmlformats.org/officeDocument/2006/relationships/tags" Target="../tags/tag1223.xml"/><Relationship Id="rId141" Type="http://schemas.openxmlformats.org/officeDocument/2006/relationships/tags" Target="../tags/tag1288.xml"/><Relationship Id="rId379" Type="http://schemas.openxmlformats.org/officeDocument/2006/relationships/tags" Target="../tags/tag1526.xml"/><Relationship Id="rId7" Type="http://schemas.openxmlformats.org/officeDocument/2006/relationships/tags" Target="../tags/tag1154.xml"/><Relationship Id="rId183" Type="http://schemas.openxmlformats.org/officeDocument/2006/relationships/tags" Target="../tags/tag1330.xml"/><Relationship Id="rId239" Type="http://schemas.openxmlformats.org/officeDocument/2006/relationships/tags" Target="../tags/tag1386.xml"/><Relationship Id="rId250" Type="http://schemas.openxmlformats.org/officeDocument/2006/relationships/tags" Target="../tags/tag1397.xml"/><Relationship Id="rId292" Type="http://schemas.openxmlformats.org/officeDocument/2006/relationships/tags" Target="../tags/tag1439.xml"/><Relationship Id="rId306" Type="http://schemas.openxmlformats.org/officeDocument/2006/relationships/tags" Target="../tags/tag1453.xml"/><Relationship Id="rId45" Type="http://schemas.openxmlformats.org/officeDocument/2006/relationships/tags" Target="../tags/tag1192.xml"/><Relationship Id="rId87" Type="http://schemas.openxmlformats.org/officeDocument/2006/relationships/tags" Target="../tags/tag1234.xml"/><Relationship Id="rId110" Type="http://schemas.openxmlformats.org/officeDocument/2006/relationships/tags" Target="../tags/tag1257.xml"/><Relationship Id="rId348" Type="http://schemas.openxmlformats.org/officeDocument/2006/relationships/tags" Target="../tags/tag1495.xml"/><Relationship Id="rId152" Type="http://schemas.openxmlformats.org/officeDocument/2006/relationships/tags" Target="../tags/tag1299.xml"/><Relationship Id="rId194" Type="http://schemas.openxmlformats.org/officeDocument/2006/relationships/tags" Target="../tags/tag1341.xml"/><Relationship Id="rId208" Type="http://schemas.openxmlformats.org/officeDocument/2006/relationships/tags" Target="../tags/tag1355.xml"/><Relationship Id="rId261" Type="http://schemas.openxmlformats.org/officeDocument/2006/relationships/tags" Target="../tags/tag1408.xml"/><Relationship Id="rId14" Type="http://schemas.openxmlformats.org/officeDocument/2006/relationships/tags" Target="../tags/tag1161.xml"/><Relationship Id="rId56" Type="http://schemas.openxmlformats.org/officeDocument/2006/relationships/tags" Target="../tags/tag1203.xml"/><Relationship Id="rId317" Type="http://schemas.openxmlformats.org/officeDocument/2006/relationships/tags" Target="../tags/tag1464.xml"/><Relationship Id="rId359" Type="http://schemas.openxmlformats.org/officeDocument/2006/relationships/tags" Target="../tags/tag1506.xml"/><Relationship Id="rId98" Type="http://schemas.openxmlformats.org/officeDocument/2006/relationships/tags" Target="../tags/tag1245.xml"/><Relationship Id="rId121" Type="http://schemas.openxmlformats.org/officeDocument/2006/relationships/tags" Target="../tags/tag1268.xml"/><Relationship Id="rId163" Type="http://schemas.openxmlformats.org/officeDocument/2006/relationships/tags" Target="../tags/tag1310.xml"/><Relationship Id="rId219" Type="http://schemas.openxmlformats.org/officeDocument/2006/relationships/tags" Target="../tags/tag1366.xml"/><Relationship Id="rId370" Type="http://schemas.openxmlformats.org/officeDocument/2006/relationships/tags" Target="../tags/tag1517.xml"/><Relationship Id="rId230" Type="http://schemas.openxmlformats.org/officeDocument/2006/relationships/tags" Target="../tags/tag1377.xml"/><Relationship Id="rId25" Type="http://schemas.openxmlformats.org/officeDocument/2006/relationships/tags" Target="../tags/tag1172.xml"/><Relationship Id="rId67" Type="http://schemas.openxmlformats.org/officeDocument/2006/relationships/tags" Target="../tags/tag1214.xml"/><Relationship Id="rId272" Type="http://schemas.openxmlformats.org/officeDocument/2006/relationships/tags" Target="../tags/tag1419.xml"/><Relationship Id="rId328" Type="http://schemas.openxmlformats.org/officeDocument/2006/relationships/tags" Target="../tags/tag1475.xml"/><Relationship Id="rId132" Type="http://schemas.openxmlformats.org/officeDocument/2006/relationships/tags" Target="../tags/tag1279.xml"/><Relationship Id="rId174" Type="http://schemas.openxmlformats.org/officeDocument/2006/relationships/tags" Target="../tags/tag1321.xml"/><Relationship Id="rId381" Type="http://schemas.openxmlformats.org/officeDocument/2006/relationships/tags" Target="../tags/tag1528.xml"/><Relationship Id="rId241" Type="http://schemas.openxmlformats.org/officeDocument/2006/relationships/tags" Target="../tags/tag1388.xml"/><Relationship Id="rId36" Type="http://schemas.openxmlformats.org/officeDocument/2006/relationships/tags" Target="../tags/tag1183.xml"/><Relationship Id="rId283" Type="http://schemas.openxmlformats.org/officeDocument/2006/relationships/tags" Target="../tags/tag1430.xml"/><Relationship Id="rId339" Type="http://schemas.openxmlformats.org/officeDocument/2006/relationships/tags" Target="../tags/tag1486.xml"/><Relationship Id="rId78" Type="http://schemas.openxmlformats.org/officeDocument/2006/relationships/tags" Target="../tags/tag1225.xml"/><Relationship Id="rId101" Type="http://schemas.openxmlformats.org/officeDocument/2006/relationships/tags" Target="../tags/tag1248.xml"/><Relationship Id="rId143" Type="http://schemas.openxmlformats.org/officeDocument/2006/relationships/tags" Target="../tags/tag1290.xml"/><Relationship Id="rId185" Type="http://schemas.openxmlformats.org/officeDocument/2006/relationships/tags" Target="../tags/tag1332.xml"/><Relationship Id="rId350" Type="http://schemas.openxmlformats.org/officeDocument/2006/relationships/tags" Target="../tags/tag1497.xml"/><Relationship Id="rId9" Type="http://schemas.openxmlformats.org/officeDocument/2006/relationships/tags" Target="../tags/tag1156.xml"/><Relationship Id="rId210" Type="http://schemas.openxmlformats.org/officeDocument/2006/relationships/tags" Target="../tags/tag1357.xml"/><Relationship Id="rId252" Type="http://schemas.openxmlformats.org/officeDocument/2006/relationships/tags" Target="../tags/tag1399.xml"/><Relationship Id="rId294" Type="http://schemas.openxmlformats.org/officeDocument/2006/relationships/tags" Target="../tags/tag1441.xml"/><Relationship Id="rId308" Type="http://schemas.openxmlformats.org/officeDocument/2006/relationships/tags" Target="../tags/tag1455.xml"/><Relationship Id="rId47" Type="http://schemas.openxmlformats.org/officeDocument/2006/relationships/tags" Target="../tags/tag1194.xml"/><Relationship Id="rId68" Type="http://schemas.openxmlformats.org/officeDocument/2006/relationships/tags" Target="../tags/tag1215.xml"/><Relationship Id="rId89" Type="http://schemas.openxmlformats.org/officeDocument/2006/relationships/tags" Target="../tags/tag1236.xml"/><Relationship Id="rId112" Type="http://schemas.openxmlformats.org/officeDocument/2006/relationships/tags" Target="../tags/tag1259.xml"/><Relationship Id="rId133" Type="http://schemas.openxmlformats.org/officeDocument/2006/relationships/tags" Target="../tags/tag1280.xml"/><Relationship Id="rId154" Type="http://schemas.openxmlformats.org/officeDocument/2006/relationships/tags" Target="../tags/tag1301.xml"/><Relationship Id="rId175" Type="http://schemas.openxmlformats.org/officeDocument/2006/relationships/tags" Target="../tags/tag1322.xml"/><Relationship Id="rId340" Type="http://schemas.openxmlformats.org/officeDocument/2006/relationships/tags" Target="../tags/tag1487.xml"/><Relationship Id="rId361" Type="http://schemas.openxmlformats.org/officeDocument/2006/relationships/tags" Target="../tags/tag1508.xml"/><Relationship Id="rId196" Type="http://schemas.openxmlformats.org/officeDocument/2006/relationships/tags" Target="../tags/tag1343.xml"/><Relationship Id="rId200" Type="http://schemas.openxmlformats.org/officeDocument/2006/relationships/tags" Target="../tags/tag1347.xml"/><Relationship Id="rId382" Type="http://schemas.openxmlformats.org/officeDocument/2006/relationships/tags" Target="../tags/tag1529.xml"/><Relationship Id="rId16" Type="http://schemas.openxmlformats.org/officeDocument/2006/relationships/tags" Target="../tags/tag1163.xml"/><Relationship Id="rId221" Type="http://schemas.openxmlformats.org/officeDocument/2006/relationships/tags" Target="../tags/tag1368.xml"/><Relationship Id="rId242" Type="http://schemas.openxmlformats.org/officeDocument/2006/relationships/tags" Target="../tags/tag1389.xml"/><Relationship Id="rId263" Type="http://schemas.openxmlformats.org/officeDocument/2006/relationships/tags" Target="../tags/tag1410.xml"/><Relationship Id="rId284" Type="http://schemas.openxmlformats.org/officeDocument/2006/relationships/tags" Target="../tags/tag1431.xml"/><Relationship Id="rId319" Type="http://schemas.openxmlformats.org/officeDocument/2006/relationships/tags" Target="../tags/tag1466.xml"/><Relationship Id="rId37" Type="http://schemas.openxmlformats.org/officeDocument/2006/relationships/tags" Target="../tags/tag1184.xml"/><Relationship Id="rId58" Type="http://schemas.openxmlformats.org/officeDocument/2006/relationships/tags" Target="../tags/tag1205.xml"/><Relationship Id="rId79" Type="http://schemas.openxmlformats.org/officeDocument/2006/relationships/tags" Target="../tags/tag1226.xml"/><Relationship Id="rId102" Type="http://schemas.openxmlformats.org/officeDocument/2006/relationships/tags" Target="../tags/tag1249.xml"/><Relationship Id="rId123" Type="http://schemas.openxmlformats.org/officeDocument/2006/relationships/tags" Target="../tags/tag1270.xml"/><Relationship Id="rId144" Type="http://schemas.openxmlformats.org/officeDocument/2006/relationships/tags" Target="../tags/tag1291.xml"/><Relationship Id="rId330" Type="http://schemas.openxmlformats.org/officeDocument/2006/relationships/tags" Target="../tags/tag1477.xml"/><Relationship Id="rId90" Type="http://schemas.openxmlformats.org/officeDocument/2006/relationships/tags" Target="../tags/tag1237.xml"/><Relationship Id="rId165" Type="http://schemas.openxmlformats.org/officeDocument/2006/relationships/tags" Target="../tags/tag1312.xml"/><Relationship Id="rId186" Type="http://schemas.openxmlformats.org/officeDocument/2006/relationships/tags" Target="../tags/tag1333.xml"/><Relationship Id="rId351" Type="http://schemas.openxmlformats.org/officeDocument/2006/relationships/tags" Target="../tags/tag1498.xml"/><Relationship Id="rId372" Type="http://schemas.openxmlformats.org/officeDocument/2006/relationships/tags" Target="../tags/tag1519.xml"/><Relationship Id="rId211" Type="http://schemas.openxmlformats.org/officeDocument/2006/relationships/tags" Target="../tags/tag1358.xml"/><Relationship Id="rId232" Type="http://schemas.openxmlformats.org/officeDocument/2006/relationships/tags" Target="../tags/tag1379.xml"/><Relationship Id="rId253" Type="http://schemas.openxmlformats.org/officeDocument/2006/relationships/tags" Target="../tags/tag1400.xml"/><Relationship Id="rId274" Type="http://schemas.openxmlformats.org/officeDocument/2006/relationships/tags" Target="../tags/tag1421.xml"/><Relationship Id="rId295" Type="http://schemas.openxmlformats.org/officeDocument/2006/relationships/tags" Target="../tags/tag1442.xml"/><Relationship Id="rId309" Type="http://schemas.openxmlformats.org/officeDocument/2006/relationships/tags" Target="../tags/tag1456.xml"/><Relationship Id="rId27" Type="http://schemas.openxmlformats.org/officeDocument/2006/relationships/tags" Target="../tags/tag1174.xml"/><Relationship Id="rId48" Type="http://schemas.openxmlformats.org/officeDocument/2006/relationships/tags" Target="../tags/tag1195.xml"/><Relationship Id="rId69" Type="http://schemas.openxmlformats.org/officeDocument/2006/relationships/tags" Target="../tags/tag1216.xml"/><Relationship Id="rId113" Type="http://schemas.openxmlformats.org/officeDocument/2006/relationships/tags" Target="../tags/tag1260.xml"/><Relationship Id="rId134" Type="http://schemas.openxmlformats.org/officeDocument/2006/relationships/tags" Target="../tags/tag1281.xml"/><Relationship Id="rId320" Type="http://schemas.openxmlformats.org/officeDocument/2006/relationships/tags" Target="../tags/tag1467.xml"/><Relationship Id="rId80" Type="http://schemas.openxmlformats.org/officeDocument/2006/relationships/tags" Target="../tags/tag1227.xml"/><Relationship Id="rId155" Type="http://schemas.openxmlformats.org/officeDocument/2006/relationships/tags" Target="../tags/tag1302.xml"/><Relationship Id="rId176" Type="http://schemas.openxmlformats.org/officeDocument/2006/relationships/tags" Target="../tags/tag1323.xml"/><Relationship Id="rId197" Type="http://schemas.openxmlformats.org/officeDocument/2006/relationships/tags" Target="../tags/tag1344.xml"/><Relationship Id="rId341" Type="http://schemas.openxmlformats.org/officeDocument/2006/relationships/tags" Target="../tags/tag1488.xml"/><Relationship Id="rId362" Type="http://schemas.openxmlformats.org/officeDocument/2006/relationships/tags" Target="../tags/tag1509.xml"/><Relationship Id="rId383" Type="http://schemas.openxmlformats.org/officeDocument/2006/relationships/tags" Target="../tags/tag1530.xml"/><Relationship Id="rId201" Type="http://schemas.openxmlformats.org/officeDocument/2006/relationships/tags" Target="../tags/tag1348.xml"/><Relationship Id="rId222" Type="http://schemas.openxmlformats.org/officeDocument/2006/relationships/tags" Target="../tags/tag1369.xml"/><Relationship Id="rId243" Type="http://schemas.openxmlformats.org/officeDocument/2006/relationships/tags" Target="../tags/tag1390.xml"/><Relationship Id="rId264" Type="http://schemas.openxmlformats.org/officeDocument/2006/relationships/tags" Target="../tags/tag1411.xml"/><Relationship Id="rId285" Type="http://schemas.openxmlformats.org/officeDocument/2006/relationships/tags" Target="../tags/tag1432.xml"/><Relationship Id="rId17" Type="http://schemas.openxmlformats.org/officeDocument/2006/relationships/tags" Target="../tags/tag1164.xml"/><Relationship Id="rId38" Type="http://schemas.openxmlformats.org/officeDocument/2006/relationships/tags" Target="../tags/tag1185.xml"/><Relationship Id="rId59" Type="http://schemas.openxmlformats.org/officeDocument/2006/relationships/tags" Target="../tags/tag1206.xml"/><Relationship Id="rId103" Type="http://schemas.openxmlformats.org/officeDocument/2006/relationships/tags" Target="../tags/tag1250.xml"/><Relationship Id="rId124" Type="http://schemas.openxmlformats.org/officeDocument/2006/relationships/tags" Target="../tags/tag1271.xml"/><Relationship Id="rId310" Type="http://schemas.openxmlformats.org/officeDocument/2006/relationships/tags" Target="../tags/tag1457.xml"/><Relationship Id="rId70" Type="http://schemas.openxmlformats.org/officeDocument/2006/relationships/tags" Target="../tags/tag1217.xml"/><Relationship Id="rId91" Type="http://schemas.openxmlformats.org/officeDocument/2006/relationships/tags" Target="../tags/tag1238.xml"/><Relationship Id="rId145" Type="http://schemas.openxmlformats.org/officeDocument/2006/relationships/tags" Target="../tags/tag1292.xml"/><Relationship Id="rId166" Type="http://schemas.openxmlformats.org/officeDocument/2006/relationships/tags" Target="../tags/tag1313.xml"/><Relationship Id="rId187" Type="http://schemas.openxmlformats.org/officeDocument/2006/relationships/tags" Target="../tags/tag1334.xml"/><Relationship Id="rId331" Type="http://schemas.openxmlformats.org/officeDocument/2006/relationships/tags" Target="../tags/tag1478.xml"/><Relationship Id="rId352" Type="http://schemas.openxmlformats.org/officeDocument/2006/relationships/tags" Target="../tags/tag1499.xml"/><Relationship Id="rId373" Type="http://schemas.openxmlformats.org/officeDocument/2006/relationships/tags" Target="../tags/tag1520.xml"/><Relationship Id="rId1" Type="http://schemas.microsoft.com/office/2007/relationships/media" Target="../media/media2.mp4"/><Relationship Id="rId212" Type="http://schemas.openxmlformats.org/officeDocument/2006/relationships/tags" Target="../tags/tag1359.xml"/><Relationship Id="rId233" Type="http://schemas.openxmlformats.org/officeDocument/2006/relationships/tags" Target="../tags/tag1380.xml"/><Relationship Id="rId254" Type="http://schemas.openxmlformats.org/officeDocument/2006/relationships/tags" Target="../tags/tag1401.xml"/><Relationship Id="rId28" Type="http://schemas.openxmlformats.org/officeDocument/2006/relationships/tags" Target="../tags/tag1175.xml"/><Relationship Id="rId49" Type="http://schemas.openxmlformats.org/officeDocument/2006/relationships/tags" Target="../tags/tag1196.xml"/><Relationship Id="rId114" Type="http://schemas.openxmlformats.org/officeDocument/2006/relationships/tags" Target="../tags/tag1261.xml"/><Relationship Id="rId275" Type="http://schemas.openxmlformats.org/officeDocument/2006/relationships/tags" Target="../tags/tag1422.xml"/><Relationship Id="rId296" Type="http://schemas.openxmlformats.org/officeDocument/2006/relationships/tags" Target="../tags/tag1443.xml"/><Relationship Id="rId300" Type="http://schemas.openxmlformats.org/officeDocument/2006/relationships/tags" Target="../tags/tag1447.xml"/><Relationship Id="rId60" Type="http://schemas.openxmlformats.org/officeDocument/2006/relationships/tags" Target="../tags/tag1207.xml"/><Relationship Id="rId81" Type="http://schemas.openxmlformats.org/officeDocument/2006/relationships/tags" Target="../tags/tag1228.xml"/><Relationship Id="rId135" Type="http://schemas.openxmlformats.org/officeDocument/2006/relationships/tags" Target="../tags/tag1282.xml"/><Relationship Id="rId156" Type="http://schemas.openxmlformats.org/officeDocument/2006/relationships/tags" Target="../tags/tag1303.xml"/><Relationship Id="rId177" Type="http://schemas.openxmlformats.org/officeDocument/2006/relationships/tags" Target="../tags/tag1324.xml"/><Relationship Id="rId198" Type="http://schemas.openxmlformats.org/officeDocument/2006/relationships/tags" Target="../tags/tag1345.xml"/><Relationship Id="rId321" Type="http://schemas.openxmlformats.org/officeDocument/2006/relationships/tags" Target="../tags/tag1468.xml"/><Relationship Id="rId342" Type="http://schemas.openxmlformats.org/officeDocument/2006/relationships/tags" Target="../tags/tag1489.xml"/><Relationship Id="rId363" Type="http://schemas.openxmlformats.org/officeDocument/2006/relationships/tags" Target="../tags/tag1510.xml"/><Relationship Id="rId384" Type="http://schemas.openxmlformats.org/officeDocument/2006/relationships/slideLayout" Target="../slideLayouts/slideLayout7.xml"/><Relationship Id="rId202" Type="http://schemas.openxmlformats.org/officeDocument/2006/relationships/tags" Target="../tags/tag1349.xml"/><Relationship Id="rId223" Type="http://schemas.openxmlformats.org/officeDocument/2006/relationships/tags" Target="../tags/tag1370.xml"/><Relationship Id="rId244" Type="http://schemas.openxmlformats.org/officeDocument/2006/relationships/tags" Target="../tags/tag1391.xml"/><Relationship Id="rId18" Type="http://schemas.openxmlformats.org/officeDocument/2006/relationships/tags" Target="../tags/tag1165.xml"/><Relationship Id="rId39" Type="http://schemas.openxmlformats.org/officeDocument/2006/relationships/tags" Target="../tags/tag1186.xml"/><Relationship Id="rId265" Type="http://schemas.openxmlformats.org/officeDocument/2006/relationships/tags" Target="../tags/tag1412.xml"/><Relationship Id="rId286" Type="http://schemas.openxmlformats.org/officeDocument/2006/relationships/tags" Target="../tags/tag1433.xml"/><Relationship Id="rId50" Type="http://schemas.openxmlformats.org/officeDocument/2006/relationships/tags" Target="../tags/tag1197.xml"/><Relationship Id="rId104" Type="http://schemas.openxmlformats.org/officeDocument/2006/relationships/tags" Target="../tags/tag1251.xml"/><Relationship Id="rId125" Type="http://schemas.openxmlformats.org/officeDocument/2006/relationships/tags" Target="../tags/tag1272.xml"/><Relationship Id="rId146" Type="http://schemas.openxmlformats.org/officeDocument/2006/relationships/tags" Target="../tags/tag1293.xml"/><Relationship Id="rId167" Type="http://schemas.openxmlformats.org/officeDocument/2006/relationships/tags" Target="../tags/tag1314.xml"/><Relationship Id="rId188" Type="http://schemas.openxmlformats.org/officeDocument/2006/relationships/tags" Target="../tags/tag1335.xml"/><Relationship Id="rId311" Type="http://schemas.openxmlformats.org/officeDocument/2006/relationships/tags" Target="../tags/tag1458.xml"/><Relationship Id="rId332" Type="http://schemas.openxmlformats.org/officeDocument/2006/relationships/tags" Target="../tags/tag1479.xml"/><Relationship Id="rId353" Type="http://schemas.openxmlformats.org/officeDocument/2006/relationships/tags" Target="../tags/tag1500.xml"/><Relationship Id="rId374" Type="http://schemas.openxmlformats.org/officeDocument/2006/relationships/tags" Target="../tags/tag1521.xml"/><Relationship Id="rId71" Type="http://schemas.openxmlformats.org/officeDocument/2006/relationships/tags" Target="../tags/tag1218.xml"/><Relationship Id="rId92" Type="http://schemas.openxmlformats.org/officeDocument/2006/relationships/tags" Target="../tags/tag1239.xml"/><Relationship Id="rId213" Type="http://schemas.openxmlformats.org/officeDocument/2006/relationships/tags" Target="../tags/tag1360.xml"/><Relationship Id="rId234" Type="http://schemas.openxmlformats.org/officeDocument/2006/relationships/tags" Target="../tags/tag1381.xml"/><Relationship Id="rId2" Type="http://schemas.openxmlformats.org/officeDocument/2006/relationships/video" Target="../media/media2.mp4"/><Relationship Id="rId29" Type="http://schemas.openxmlformats.org/officeDocument/2006/relationships/tags" Target="../tags/tag1176.xml"/><Relationship Id="rId255" Type="http://schemas.openxmlformats.org/officeDocument/2006/relationships/tags" Target="../tags/tag1402.xml"/><Relationship Id="rId276" Type="http://schemas.openxmlformats.org/officeDocument/2006/relationships/tags" Target="../tags/tag1423.xml"/><Relationship Id="rId297" Type="http://schemas.openxmlformats.org/officeDocument/2006/relationships/tags" Target="../tags/tag1444.xml"/><Relationship Id="rId40" Type="http://schemas.openxmlformats.org/officeDocument/2006/relationships/tags" Target="../tags/tag1187.xml"/><Relationship Id="rId115" Type="http://schemas.openxmlformats.org/officeDocument/2006/relationships/tags" Target="../tags/tag1262.xml"/><Relationship Id="rId136" Type="http://schemas.openxmlformats.org/officeDocument/2006/relationships/tags" Target="../tags/tag1283.xml"/><Relationship Id="rId157" Type="http://schemas.openxmlformats.org/officeDocument/2006/relationships/tags" Target="../tags/tag1304.xml"/><Relationship Id="rId178" Type="http://schemas.openxmlformats.org/officeDocument/2006/relationships/tags" Target="../tags/tag1325.xml"/><Relationship Id="rId301" Type="http://schemas.openxmlformats.org/officeDocument/2006/relationships/tags" Target="../tags/tag1448.xml"/><Relationship Id="rId322" Type="http://schemas.openxmlformats.org/officeDocument/2006/relationships/tags" Target="../tags/tag1469.xml"/><Relationship Id="rId343" Type="http://schemas.openxmlformats.org/officeDocument/2006/relationships/tags" Target="../tags/tag1490.xml"/><Relationship Id="rId364" Type="http://schemas.openxmlformats.org/officeDocument/2006/relationships/tags" Target="../tags/tag1511.xml"/><Relationship Id="rId61" Type="http://schemas.openxmlformats.org/officeDocument/2006/relationships/tags" Target="../tags/tag1208.xml"/><Relationship Id="rId82" Type="http://schemas.openxmlformats.org/officeDocument/2006/relationships/tags" Target="../tags/tag1229.xml"/><Relationship Id="rId199" Type="http://schemas.openxmlformats.org/officeDocument/2006/relationships/tags" Target="../tags/tag1346.xml"/><Relationship Id="rId203" Type="http://schemas.openxmlformats.org/officeDocument/2006/relationships/tags" Target="../tags/tag1350.xml"/><Relationship Id="rId385" Type="http://schemas.openxmlformats.org/officeDocument/2006/relationships/image" Target="../media/image19.png"/><Relationship Id="rId19" Type="http://schemas.openxmlformats.org/officeDocument/2006/relationships/tags" Target="../tags/tag1166.xml"/><Relationship Id="rId224" Type="http://schemas.openxmlformats.org/officeDocument/2006/relationships/tags" Target="../tags/tag1371.xml"/><Relationship Id="rId245" Type="http://schemas.openxmlformats.org/officeDocument/2006/relationships/tags" Target="../tags/tag1392.xml"/><Relationship Id="rId266" Type="http://schemas.openxmlformats.org/officeDocument/2006/relationships/tags" Target="../tags/tag1413.xml"/><Relationship Id="rId287" Type="http://schemas.openxmlformats.org/officeDocument/2006/relationships/tags" Target="../tags/tag1434.xml"/><Relationship Id="rId30" Type="http://schemas.openxmlformats.org/officeDocument/2006/relationships/tags" Target="../tags/tag1177.xml"/><Relationship Id="rId105" Type="http://schemas.openxmlformats.org/officeDocument/2006/relationships/tags" Target="../tags/tag1252.xml"/><Relationship Id="rId126" Type="http://schemas.openxmlformats.org/officeDocument/2006/relationships/tags" Target="../tags/tag1273.xml"/><Relationship Id="rId147" Type="http://schemas.openxmlformats.org/officeDocument/2006/relationships/tags" Target="../tags/tag1294.xml"/><Relationship Id="rId168" Type="http://schemas.openxmlformats.org/officeDocument/2006/relationships/tags" Target="../tags/tag1315.xml"/><Relationship Id="rId312" Type="http://schemas.openxmlformats.org/officeDocument/2006/relationships/tags" Target="../tags/tag1459.xml"/><Relationship Id="rId333" Type="http://schemas.openxmlformats.org/officeDocument/2006/relationships/tags" Target="../tags/tag1480.xml"/><Relationship Id="rId354" Type="http://schemas.openxmlformats.org/officeDocument/2006/relationships/tags" Target="../tags/tag1501.xml"/><Relationship Id="rId51" Type="http://schemas.openxmlformats.org/officeDocument/2006/relationships/tags" Target="../tags/tag1198.xml"/><Relationship Id="rId72" Type="http://schemas.openxmlformats.org/officeDocument/2006/relationships/tags" Target="../tags/tag1219.xml"/><Relationship Id="rId93" Type="http://schemas.openxmlformats.org/officeDocument/2006/relationships/tags" Target="../tags/tag1240.xml"/><Relationship Id="rId189" Type="http://schemas.openxmlformats.org/officeDocument/2006/relationships/tags" Target="../tags/tag1336.xml"/><Relationship Id="rId375" Type="http://schemas.openxmlformats.org/officeDocument/2006/relationships/tags" Target="../tags/tag1522.xml"/><Relationship Id="rId3" Type="http://schemas.openxmlformats.org/officeDocument/2006/relationships/tags" Target="../tags/tag1150.xml"/><Relationship Id="rId214" Type="http://schemas.openxmlformats.org/officeDocument/2006/relationships/tags" Target="../tags/tag1361.xml"/><Relationship Id="rId235" Type="http://schemas.openxmlformats.org/officeDocument/2006/relationships/tags" Target="../tags/tag1382.xml"/><Relationship Id="rId256" Type="http://schemas.openxmlformats.org/officeDocument/2006/relationships/tags" Target="../tags/tag1403.xml"/><Relationship Id="rId277" Type="http://schemas.openxmlformats.org/officeDocument/2006/relationships/tags" Target="../tags/tag1424.xml"/><Relationship Id="rId298" Type="http://schemas.openxmlformats.org/officeDocument/2006/relationships/tags" Target="../tags/tag1445.xml"/><Relationship Id="rId116" Type="http://schemas.openxmlformats.org/officeDocument/2006/relationships/tags" Target="../tags/tag1263.xml"/><Relationship Id="rId137" Type="http://schemas.openxmlformats.org/officeDocument/2006/relationships/tags" Target="../tags/tag1284.xml"/><Relationship Id="rId158" Type="http://schemas.openxmlformats.org/officeDocument/2006/relationships/tags" Target="../tags/tag1305.xml"/><Relationship Id="rId302" Type="http://schemas.openxmlformats.org/officeDocument/2006/relationships/tags" Target="../tags/tag1449.xml"/><Relationship Id="rId323" Type="http://schemas.openxmlformats.org/officeDocument/2006/relationships/tags" Target="../tags/tag1470.xml"/><Relationship Id="rId344" Type="http://schemas.openxmlformats.org/officeDocument/2006/relationships/tags" Target="../tags/tag1491.xml"/><Relationship Id="rId20" Type="http://schemas.openxmlformats.org/officeDocument/2006/relationships/tags" Target="../tags/tag1167.xml"/><Relationship Id="rId41" Type="http://schemas.openxmlformats.org/officeDocument/2006/relationships/tags" Target="../tags/tag1188.xml"/><Relationship Id="rId62" Type="http://schemas.openxmlformats.org/officeDocument/2006/relationships/tags" Target="../tags/tag1209.xml"/><Relationship Id="rId83" Type="http://schemas.openxmlformats.org/officeDocument/2006/relationships/tags" Target="../tags/tag1230.xml"/><Relationship Id="rId179" Type="http://schemas.openxmlformats.org/officeDocument/2006/relationships/tags" Target="../tags/tag1326.xml"/><Relationship Id="rId365" Type="http://schemas.openxmlformats.org/officeDocument/2006/relationships/tags" Target="../tags/tag1512.xml"/><Relationship Id="rId190" Type="http://schemas.openxmlformats.org/officeDocument/2006/relationships/tags" Target="../tags/tag1337.xml"/><Relationship Id="rId204" Type="http://schemas.openxmlformats.org/officeDocument/2006/relationships/tags" Target="../tags/tag1351.xml"/><Relationship Id="rId225" Type="http://schemas.openxmlformats.org/officeDocument/2006/relationships/tags" Target="../tags/tag1372.xml"/><Relationship Id="rId246" Type="http://schemas.openxmlformats.org/officeDocument/2006/relationships/tags" Target="../tags/tag1393.xml"/><Relationship Id="rId267" Type="http://schemas.openxmlformats.org/officeDocument/2006/relationships/tags" Target="../tags/tag1414.xml"/><Relationship Id="rId288" Type="http://schemas.openxmlformats.org/officeDocument/2006/relationships/tags" Target="../tags/tag1435.xml"/><Relationship Id="rId106" Type="http://schemas.openxmlformats.org/officeDocument/2006/relationships/tags" Target="../tags/tag1253.xml"/><Relationship Id="rId127" Type="http://schemas.openxmlformats.org/officeDocument/2006/relationships/tags" Target="../tags/tag1274.xml"/><Relationship Id="rId313" Type="http://schemas.openxmlformats.org/officeDocument/2006/relationships/tags" Target="../tags/tag1460.xml"/><Relationship Id="rId10" Type="http://schemas.openxmlformats.org/officeDocument/2006/relationships/tags" Target="../tags/tag1157.xml"/><Relationship Id="rId31" Type="http://schemas.openxmlformats.org/officeDocument/2006/relationships/tags" Target="../tags/tag1178.xml"/><Relationship Id="rId52" Type="http://schemas.openxmlformats.org/officeDocument/2006/relationships/tags" Target="../tags/tag1199.xml"/><Relationship Id="rId73" Type="http://schemas.openxmlformats.org/officeDocument/2006/relationships/tags" Target="../tags/tag1220.xml"/><Relationship Id="rId94" Type="http://schemas.openxmlformats.org/officeDocument/2006/relationships/tags" Target="../tags/tag1241.xml"/><Relationship Id="rId148" Type="http://schemas.openxmlformats.org/officeDocument/2006/relationships/tags" Target="../tags/tag1295.xml"/><Relationship Id="rId169" Type="http://schemas.openxmlformats.org/officeDocument/2006/relationships/tags" Target="../tags/tag1316.xml"/><Relationship Id="rId334" Type="http://schemas.openxmlformats.org/officeDocument/2006/relationships/tags" Target="../tags/tag1481.xml"/><Relationship Id="rId355" Type="http://schemas.openxmlformats.org/officeDocument/2006/relationships/tags" Target="../tags/tag1502.xml"/><Relationship Id="rId376" Type="http://schemas.openxmlformats.org/officeDocument/2006/relationships/tags" Target="../tags/tag1523.xml"/><Relationship Id="rId4" Type="http://schemas.openxmlformats.org/officeDocument/2006/relationships/tags" Target="../tags/tag1151.xml"/><Relationship Id="rId180" Type="http://schemas.openxmlformats.org/officeDocument/2006/relationships/tags" Target="../tags/tag1327.xml"/><Relationship Id="rId215" Type="http://schemas.openxmlformats.org/officeDocument/2006/relationships/tags" Target="../tags/tag1362.xml"/><Relationship Id="rId236" Type="http://schemas.openxmlformats.org/officeDocument/2006/relationships/tags" Target="../tags/tag1383.xml"/><Relationship Id="rId257" Type="http://schemas.openxmlformats.org/officeDocument/2006/relationships/tags" Target="../tags/tag1404.xml"/><Relationship Id="rId278" Type="http://schemas.openxmlformats.org/officeDocument/2006/relationships/tags" Target="../tags/tag1425.xml"/><Relationship Id="rId303" Type="http://schemas.openxmlformats.org/officeDocument/2006/relationships/tags" Target="../tags/tag1450.xml"/><Relationship Id="rId42" Type="http://schemas.openxmlformats.org/officeDocument/2006/relationships/tags" Target="../tags/tag1189.xml"/><Relationship Id="rId84" Type="http://schemas.openxmlformats.org/officeDocument/2006/relationships/tags" Target="../tags/tag1231.xml"/><Relationship Id="rId138" Type="http://schemas.openxmlformats.org/officeDocument/2006/relationships/tags" Target="../tags/tag1285.xml"/><Relationship Id="rId345" Type="http://schemas.openxmlformats.org/officeDocument/2006/relationships/tags" Target="../tags/tag1492.xml"/><Relationship Id="rId191" Type="http://schemas.openxmlformats.org/officeDocument/2006/relationships/tags" Target="../tags/tag1338.xml"/><Relationship Id="rId205" Type="http://schemas.openxmlformats.org/officeDocument/2006/relationships/tags" Target="../tags/tag1352.xml"/><Relationship Id="rId247" Type="http://schemas.openxmlformats.org/officeDocument/2006/relationships/tags" Target="../tags/tag1394.xml"/><Relationship Id="rId107" Type="http://schemas.openxmlformats.org/officeDocument/2006/relationships/tags" Target="../tags/tag1254.xml"/><Relationship Id="rId289" Type="http://schemas.openxmlformats.org/officeDocument/2006/relationships/tags" Target="../tags/tag1436.xml"/><Relationship Id="rId11" Type="http://schemas.openxmlformats.org/officeDocument/2006/relationships/tags" Target="../tags/tag1158.xml"/><Relationship Id="rId53" Type="http://schemas.openxmlformats.org/officeDocument/2006/relationships/tags" Target="../tags/tag1200.xml"/><Relationship Id="rId149" Type="http://schemas.openxmlformats.org/officeDocument/2006/relationships/tags" Target="../tags/tag1296.xml"/><Relationship Id="rId314" Type="http://schemas.openxmlformats.org/officeDocument/2006/relationships/tags" Target="../tags/tag1461.xml"/><Relationship Id="rId356" Type="http://schemas.openxmlformats.org/officeDocument/2006/relationships/tags" Target="../tags/tag1503.xml"/><Relationship Id="rId95" Type="http://schemas.openxmlformats.org/officeDocument/2006/relationships/tags" Target="../tags/tag1242.xml"/><Relationship Id="rId160" Type="http://schemas.openxmlformats.org/officeDocument/2006/relationships/tags" Target="../tags/tag1307.xml"/><Relationship Id="rId216" Type="http://schemas.openxmlformats.org/officeDocument/2006/relationships/tags" Target="../tags/tag1363.xml"/><Relationship Id="rId258" Type="http://schemas.openxmlformats.org/officeDocument/2006/relationships/tags" Target="../tags/tag1405.xml"/><Relationship Id="rId22" Type="http://schemas.openxmlformats.org/officeDocument/2006/relationships/tags" Target="../tags/tag1169.xml"/><Relationship Id="rId64" Type="http://schemas.openxmlformats.org/officeDocument/2006/relationships/tags" Target="../tags/tag1211.xml"/><Relationship Id="rId118" Type="http://schemas.openxmlformats.org/officeDocument/2006/relationships/tags" Target="../tags/tag1265.xml"/><Relationship Id="rId325" Type="http://schemas.openxmlformats.org/officeDocument/2006/relationships/tags" Target="../tags/tag1472.xml"/><Relationship Id="rId367" Type="http://schemas.openxmlformats.org/officeDocument/2006/relationships/tags" Target="../tags/tag1514.xml"/><Relationship Id="rId171" Type="http://schemas.openxmlformats.org/officeDocument/2006/relationships/tags" Target="../tags/tag1318.xml"/><Relationship Id="rId227" Type="http://schemas.openxmlformats.org/officeDocument/2006/relationships/tags" Target="../tags/tag1374.xml"/><Relationship Id="rId269" Type="http://schemas.openxmlformats.org/officeDocument/2006/relationships/tags" Target="../tags/tag1416.xml"/><Relationship Id="rId33" Type="http://schemas.openxmlformats.org/officeDocument/2006/relationships/tags" Target="../tags/tag1180.xml"/><Relationship Id="rId129" Type="http://schemas.openxmlformats.org/officeDocument/2006/relationships/tags" Target="../tags/tag1276.xml"/><Relationship Id="rId280" Type="http://schemas.openxmlformats.org/officeDocument/2006/relationships/tags" Target="../tags/tag1427.xml"/><Relationship Id="rId336" Type="http://schemas.openxmlformats.org/officeDocument/2006/relationships/tags" Target="../tags/tag1483.xml"/><Relationship Id="rId75" Type="http://schemas.openxmlformats.org/officeDocument/2006/relationships/tags" Target="../tags/tag1222.xml"/><Relationship Id="rId140" Type="http://schemas.openxmlformats.org/officeDocument/2006/relationships/tags" Target="../tags/tag1287.xml"/><Relationship Id="rId182" Type="http://schemas.openxmlformats.org/officeDocument/2006/relationships/tags" Target="../tags/tag1329.xml"/><Relationship Id="rId378" Type="http://schemas.openxmlformats.org/officeDocument/2006/relationships/tags" Target="../tags/tag1525.xml"/><Relationship Id="rId6" Type="http://schemas.openxmlformats.org/officeDocument/2006/relationships/tags" Target="../tags/tag1153.xml"/><Relationship Id="rId238" Type="http://schemas.openxmlformats.org/officeDocument/2006/relationships/tags" Target="../tags/tag1385.xml"/><Relationship Id="rId291" Type="http://schemas.openxmlformats.org/officeDocument/2006/relationships/tags" Target="../tags/tag1438.xml"/><Relationship Id="rId305" Type="http://schemas.openxmlformats.org/officeDocument/2006/relationships/tags" Target="../tags/tag1452.xml"/><Relationship Id="rId347" Type="http://schemas.openxmlformats.org/officeDocument/2006/relationships/tags" Target="../tags/tag1494.xml"/><Relationship Id="rId44" Type="http://schemas.openxmlformats.org/officeDocument/2006/relationships/tags" Target="../tags/tag1191.xml"/><Relationship Id="rId86" Type="http://schemas.openxmlformats.org/officeDocument/2006/relationships/tags" Target="../tags/tag1233.xml"/><Relationship Id="rId151" Type="http://schemas.openxmlformats.org/officeDocument/2006/relationships/tags" Target="../tags/tag1298.xml"/><Relationship Id="rId193" Type="http://schemas.openxmlformats.org/officeDocument/2006/relationships/tags" Target="../tags/tag1340.xml"/><Relationship Id="rId207" Type="http://schemas.openxmlformats.org/officeDocument/2006/relationships/tags" Target="../tags/tag1354.xml"/><Relationship Id="rId249" Type="http://schemas.openxmlformats.org/officeDocument/2006/relationships/tags" Target="../tags/tag1396.xml"/><Relationship Id="rId13" Type="http://schemas.openxmlformats.org/officeDocument/2006/relationships/tags" Target="../tags/tag1160.xml"/><Relationship Id="rId109" Type="http://schemas.openxmlformats.org/officeDocument/2006/relationships/tags" Target="../tags/tag1256.xml"/><Relationship Id="rId260" Type="http://schemas.openxmlformats.org/officeDocument/2006/relationships/tags" Target="../tags/tag1407.xml"/><Relationship Id="rId316" Type="http://schemas.openxmlformats.org/officeDocument/2006/relationships/tags" Target="../tags/tag1463.xml"/><Relationship Id="rId55" Type="http://schemas.openxmlformats.org/officeDocument/2006/relationships/tags" Target="../tags/tag1202.xml"/><Relationship Id="rId97" Type="http://schemas.openxmlformats.org/officeDocument/2006/relationships/tags" Target="../tags/tag1244.xml"/><Relationship Id="rId120" Type="http://schemas.openxmlformats.org/officeDocument/2006/relationships/tags" Target="../tags/tag1267.xml"/><Relationship Id="rId358" Type="http://schemas.openxmlformats.org/officeDocument/2006/relationships/tags" Target="../tags/tag1505.xml"/><Relationship Id="rId162" Type="http://schemas.openxmlformats.org/officeDocument/2006/relationships/tags" Target="../tags/tag1309.xml"/><Relationship Id="rId218" Type="http://schemas.openxmlformats.org/officeDocument/2006/relationships/tags" Target="../tags/tag1365.xml"/><Relationship Id="rId271" Type="http://schemas.openxmlformats.org/officeDocument/2006/relationships/tags" Target="../tags/tag1418.xml"/><Relationship Id="rId24" Type="http://schemas.openxmlformats.org/officeDocument/2006/relationships/tags" Target="../tags/tag1171.xml"/><Relationship Id="rId66" Type="http://schemas.openxmlformats.org/officeDocument/2006/relationships/tags" Target="../tags/tag1213.xml"/><Relationship Id="rId131" Type="http://schemas.openxmlformats.org/officeDocument/2006/relationships/tags" Target="../tags/tag1278.xml"/><Relationship Id="rId327" Type="http://schemas.openxmlformats.org/officeDocument/2006/relationships/tags" Target="../tags/tag1474.xml"/><Relationship Id="rId369" Type="http://schemas.openxmlformats.org/officeDocument/2006/relationships/tags" Target="../tags/tag1516.xml"/><Relationship Id="rId173" Type="http://schemas.openxmlformats.org/officeDocument/2006/relationships/tags" Target="../tags/tag1320.xml"/><Relationship Id="rId229" Type="http://schemas.openxmlformats.org/officeDocument/2006/relationships/tags" Target="../tags/tag1376.xml"/><Relationship Id="rId380" Type="http://schemas.openxmlformats.org/officeDocument/2006/relationships/tags" Target="../tags/tag1527.xml"/><Relationship Id="rId240" Type="http://schemas.openxmlformats.org/officeDocument/2006/relationships/tags" Target="../tags/tag1387.xml"/><Relationship Id="rId35" Type="http://schemas.openxmlformats.org/officeDocument/2006/relationships/tags" Target="../tags/tag1182.xml"/><Relationship Id="rId77" Type="http://schemas.openxmlformats.org/officeDocument/2006/relationships/tags" Target="../tags/tag1224.xml"/><Relationship Id="rId100" Type="http://schemas.openxmlformats.org/officeDocument/2006/relationships/tags" Target="../tags/tag1247.xml"/><Relationship Id="rId282" Type="http://schemas.openxmlformats.org/officeDocument/2006/relationships/tags" Target="../tags/tag1429.xml"/><Relationship Id="rId338" Type="http://schemas.openxmlformats.org/officeDocument/2006/relationships/tags" Target="../tags/tag1485.xml"/><Relationship Id="rId8" Type="http://schemas.openxmlformats.org/officeDocument/2006/relationships/tags" Target="../tags/tag1155.xml"/><Relationship Id="rId142" Type="http://schemas.openxmlformats.org/officeDocument/2006/relationships/tags" Target="../tags/tag1289.xml"/><Relationship Id="rId184" Type="http://schemas.openxmlformats.org/officeDocument/2006/relationships/tags" Target="../tags/tag1331.xml"/><Relationship Id="rId251" Type="http://schemas.openxmlformats.org/officeDocument/2006/relationships/tags" Target="../tags/tag1398.xml"/><Relationship Id="rId46" Type="http://schemas.openxmlformats.org/officeDocument/2006/relationships/tags" Target="../tags/tag1193.xml"/><Relationship Id="rId293" Type="http://schemas.openxmlformats.org/officeDocument/2006/relationships/tags" Target="../tags/tag1440.xml"/><Relationship Id="rId307" Type="http://schemas.openxmlformats.org/officeDocument/2006/relationships/tags" Target="../tags/tag1454.xml"/><Relationship Id="rId349" Type="http://schemas.openxmlformats.org/officeDocument/2006/relationships/tags" Target="../tags/tag1496.xml"/><Relationship Id="rId88" Type="http://schemas.openxmlformats.org/officeDocument/2006/relationships/tags" Target="../tags/tag1235.xml"/><Relationship Id="rId111" Type="http://schemas.openxmlformats.org/officeDocument/2006/relationships/tags" Target="../tags/tag1258.xml"/><Relationship Id="rId153" Type="http://schemas.openxmlformats.org/officeDocument/2006/relationships/tags" Target="../tags/tag1300.xml"/><Relationship Id="rId195" Type="http://schemas.openxmlformats.org/officeDocument/2006/relationships/tags" Target="../tags/tag1342.xml"/><Relationship Id="rId209" Type="http://schemas.openxmlformats.org/officeDocument/2006/relationships/tags" Target="../tags/tag1356.xml"/><Relationship Id="rId360" Type="http://schemas.openxmlformats.org/officeDocument/2006/relationships/tags" Target="../tags/tag1507.xml"/><Relationship Id="rId220" Type="http://schemas.openxmlformats.org/officeDocument/2006/relationships/tags" Target="../tags/tag1367.xml"/><Relationship Id="rId15" Type="http://schemas.openxmlformats.org/officeDocument/2006/relationships/tags" Target="../tags/tag1162.xml"/><Relationship Id="rId57" Type="http://schemas.openxmlformats.org/officeDocument/2006/relationships/tags" Target="../tags/tag1204.xml"/><Relationship Id="rId262" Type="http://schemas.openxmlformats.org/officeDocument/2006/relationships/tags" Target="../tags/tag1409.xml"/><Relationship Id="rId318" Type="http://schemas.openxmlformats.org/officeDocument/2006/relationships/tags" Target="../tags/tag1465.xml"/><Relationship Id="rId99" Type="http://schemas.openxmlformats.org/officeDocument/2006/relationships/tags" Target="../tags/tag1246.xml"/><Relationship Id="rId122" Type="http://schemas.openxmlformats.org/officeDocument/2006/relationships/tags" Target="../tags/tag1269.xml"/><Relationship Id="rId164" Type="http://schemas.openxmlformats.org/officeDocument/2006/relationships/tags" Target="../tags/tag1311.xml"/><Relationship Id="rId371" Type="http://schemas.openxmlformats.org/officeDocument/2006/relationships/tags" Target="../tags/tag1518.xml"/><Relationship Id="rId26" Type="http://schemas.openxmlformats.org/officeDocument/2006/relationships/tags" Target="../tags/tag1173.xml"/><Relationship Id="rId231" Type="http://schemas.openxmlformats.org/officeDocument/2006/relationships/tags" Target="../tags/tag1378.xml"/><Relationship Id="rId273" Type="http://schemas.openxmlformats.org/officeDocument/2006/relationships/tags" Target="../tags/tag1420.xml"/><Relationship Id="rId329" Type="http://schemas.openxmlformats.org/officeDocument/2006/relationships/tags" Target="../tags/tag147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7"/>
          <p:cNvSpPr txBox="1">
            <a:spLocks noGrp="1"/>
          </p:cNvSpPr>
          <p:nvPr>
            <p:ph type="ctrTitle"/>
          </p:nvPr>
        </p:nvSpPr>
        <p:spPr>
          <a:xfrm>
            <a:off x="1143000" y="2920003"/>
            <a:ext cx="6858000" cy="692700"/>
          </a:xfrm>
          <a:prstGeom prst="rect">
            <a:avLst/>
          </a:prstGeom>
        </p:spPr>
        <p:txBody>
          <a:bodyPr spcFirstLastPara="1" wrap="square" lIns="68575" tIns="34275" rIns="68575" bIns="34275" anchor="b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 for busy people </a:t>
            </a:r>
            <a:endParaRPr dirty="0"/>
          </a:p>
        </p:txBody>
      </p:sp>
      <p:sp>
        <p:nvSpPr>
          <p:cNvPr id="36" name="Google Shape;36;p7"/>
          <p:cNvSpPr txBox="1">
            <a:spLocks noGrp="1"/>
          </p:cNvSpPr>
          <p:nvPr>
            <p:ph type="subTitle" idx="1"/>
          </p:nvPr>
        </p:nvSpPr>
        <p:spPr>
          <a:xfrm>
            <a:off x="1143000" y="3612704"/>
            <a:ext cx="6858000" cy="518060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ctr" rtl="0">
              <a:spcBef>
                <a:spcPts val="800"/>
              </a:spcBef>
              <a:spcAft>
                <a:spcPts val="0"/>
              </a:spcAft>
              <a:buNone/>
            </a:pPr>
            <a:r>
              <a:rPr lang="en" sz="2500" dirty="0"/>
              <a:t>Small group onboarding session</a:t>
            </a:r>
            <a:endParaRPr sz="2500" dirty="0"/>
          </a:p>
        </p:txBody>
      </p:sp>
      <p:pic>
        <p:nvPicPr>
          <p:cNvPr id="37" name="Google Shape;37;p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663024" y="287173"/>
            <a:ext cx="3561626" cy="2632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Google Shape;38;p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37225" y="4182950"/>
            <a:ext cx="812273" cy="8122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lèche : droite 18">
            <a:extLst>
              <a:ext uri="{FF2B5EF4-FFF2-40B4-BE49-F238E27FC236}">
                <a16:creationId xmlns:a16="http://schemas.microsoft.com/office/drawing/2014/main" id="{16D40968-A751-2148-AD75-3270B700D95B}"/>
              </a:ext>
            </a:extLst>
          </p:cNvPr>
          <p:cNvSpPr/>
          <p:nvPr/>
        </p:nvSpPr>
        <p:spPr>
          <a:xfrm>
            <a:off x="3365203" y="1290418"/>
            <a:ext cx="3172385" cy="2183044"/>
          </a:xfrm>
          <a:prstGeom prst="rightArrow">
            <a:avLst/>
          </a:prstGeom>
          <a:solidFill>
            <a:srgbClr val="57A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>
                <a:latin typeface="Avenir Next" panose="020B0503020202020204" pitchFamily="34" charset="0"/>
              </a:rPr>
              <a:t>The GRAPH Courses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2A9773E-7BD0-B44B-864D-F0F27EFAE101}"/>
              </a:ext>
            </a:extLst>
          </p:cNvPr>
          <p:cNvGrpSpPr/>
          <p:nvPr/>
        </p:nvGrpSpPr>
        <p:grpSpPr>
          <a:xfrm>
            <a:off x="7565158" y="1909694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085D896F-1212-5449-975A-27334181D231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38298C3B-FC19-2E42-8EFD-3BC54450B1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D79CC99-5A72-659A-EA6D-1367E2C509D7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6F3AF5E-D2F6-79EE-BFE8-33BA9D00637A}"/>
              </a:ext>
            </a:extLst>
          </p:cNvPr>
          <p:cNvGrpSpPr/>
          <p:nvPr/>
        </p:nvGrpSpPr>
        <p:grpSpPr>
          <a:xfrm>
            <a:off x="1029563" y="1652192"/>
            <a:ext cx="286463" cy="267429"/>
            <a:chOff x="2101073" y="4443720"/>
            <a:chExt cx="488376" cy="488376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F18FAA62-63A7-4DDE-F94F-3250EE44FA7C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1A5F3271-0618-2B44-670B-7F721CF39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AE03BA7-4275-848D-F074-3848B3EB4942}"/>
              </a:ext>
            </a:extLst>
          </p:cNvPr>
          <p:cNvGrpSpPr/>
          <p:nvPr/>
        </p:nvGrpSpPr>
        <p:grpSpPr>
          <a:xfrm>
            <a:off x="1414227" y="1639498"/>
            <a:ext cx="286463" cy="267429"/>
            <a:chOff x="2101073" y="4443720"/>
            <a:chExt cx="488376" cy="488376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A6BE06D-44D8-2419-943A-322FAD1A4B3F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ACCFC1EE-7C65-4E4A-1E28-C72F64A974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429B3D2-C295-67E9-63F2-3A19CB96C40A}"/>
              </a:ext>
            </a:extLst>
          </p:cNvPr>
          <p:cNvGrpSpPr/>
          <p:nvPr/>
        </p:nvGrpSpPr>
        <p:grpSpPr>
          <a:xfrm>
            <a:off x="1276123" y="1923101"/>
            <a:ext cx="286463" cy="267429"/>
            <a:chOff x="2101073" y="4443720"/>
            <a:chExt cx="488376" cy="488376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5D17F4BB-4441-16B1-980F-F909AEEE015D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E0433C2E-092F-C64A-60D5-363DA32F2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B23D8D0-E665-F298-40AB-D1CED2ADE544}"/>
              </a:ext>
            </a:extLst>
          </p:cNvPr>
          <p:cNvGrpSpPr/>
          <p:nvPr/>
        </p:nvGrpSpPr>
        <p:grpSpPr>
          <a:xfrm>
            <a:off x="1459413" y="2223270"/>
            <a:ext cx="286463" cy="267429"/>
            <a:chOff x="2101073" y="4443720"/>
            <a:chExt cx="488376" cy="488376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E284DE85-BFBB-9925-2BAF-82A4FFC30215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DF056079-E44A-CD78-5D34-5CD8C662B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D942921-B55A-C0C1-E79A-3EE167F9EE9C}"/>
              </a:ext>
            </a:extLst>
          </p:cNvPr>
          <p:cNvGrpSpPr/>
          <p:nvPr/>
        </p:nvGrpSpPr>
        <p:grpSpPr>
          <a:xfrm>
            <a:off x="1054633" y="2232086"/>
            <a:ext cx="286463" cy="267429"/>
            <a:chOff x="2101073" y="4443720"/>
            <a:chExt cx="488376" cy="488376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349863DF-E95F-AD72-9814-D641666F6EC4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30A6709F-D7A8-E469-4B07-98D623045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D7616B2-3AAF-3F08-D037-7A6767E9D81A}"/>
              </a:ext>
            </a:extLst>
          </p:cNvPr>
          <p:cNvGrpSpPr/>
          <p:nvPr/>
        </p:nvGrpSpPr>
        <p:grpSpPr>
          <a:xfrm>
            <a:off x="872269" y="2562498"/>
            <a:ext cx="286463" cy="267429"/>
            <a:chOff x="2101073" y="4443720"/>
            <a:chExt cx="488376" cy="488376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5731CA5A-DFFE-167C-C43E-1787D6A86AAE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97B54EEF-EC7E-381E-FB65-EF2C662B6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580DF0B-CF8B-9A40-A131-19DB9AF68F3C}"/>
              </a:ext>
            </a:extLst>
          </p:cNvPr>
          <p:cNvGrpSpPr/>
          <p:nvPr/>
        </p:nvGrpSpPr>
        <p:grpSpPr>
          <a:xfrm>
            <a:off x="1258614" y="2627162"/>
            <a:ext cx="286463" cy="267429"/>
            <a:chOff x="2101073" y="4443720"/>
            <a:chExt cx="488376" cy="488376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951C6838-DFEC-C2A4-4C07-F052EDC4FCA6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F328850B-9814-2F63-E9D0-97A15D798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94164F0-BC85-9266-44F1-2B9C661CCB27}"/>
              </a:ext>
            </a:extLst>
          </p:cNvPr>
          <p:cNvGrpSpPr/>
          <p:nvPr/>
        </p:nvGrpSpPr>
        <p:grpSpPr>
          <a:xfrm>
            <a:off x="1658602" y="2523446"/>
            <a:ext cx="286463" cy="267429"/>
            <a:chOff x="2101073" y="4443720"/>
            <a:chExt cx="488376" cy="488376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43CDAED0-79F0-53A7-FB33-F5DC42237C43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62DD3217-5583-7D43-D065-0B98FCDD0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150FF75-A72E-101A-1577-D410D95A8EA4}"/>
              </a:ext>
            </a:extLst>
          </p:cNvPr>
          <p:cNvGrpSpPr/>
          <p:nvPr/>
        </p:nvGrpSpPr>
        <p:grpSpPr>
          <a:xfrm>
            <a:off x="1888849" y="2186642"/>
            <a:ext cx="286463" cy="267429"/>
            <a:chOff x="2101073" y="4443720"/>
            <a:chExt cx="488376" cy="488376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FCE6C677-AB45-52B7-D1FC-30710FA85A2E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B6DCC17F-B03F-C2EC-0426-2E23B72AD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6FE154DC-EE8F-D3C1-6B97-4C9211A157A4}"/>
              </a:ext>
            </a:extLst>
          </p:cNvPr>
          <p:cNvGrpSpPr/>
          <p:nvPr/>
        </p:nvGrpSpPr>
        <p:grpSpPr>
          <a:xfrm>
            <a:off x="1786114" y="1835558"/>
            <a:ext cx="286463" cy="267429"/>
            <a:chOff x="2101073" y="4443720"/>
            <a:chExt cx="488376" cy="488376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265885EF-37D6-5760-C7F0-07DD4F7D94BE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643A94AA-8EF1-44D1-76B5-3C66C4FCD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57A63A4-306A-22FB-6F7A-28EDC5AF3D1C}"/>
              </a:ext>
            </a:extLst>
          </p:cNvPr>
          <p:cNvGrpSpPr/>
          <p:nvPr/>
        </p:nvGrpSpPr>
        <p:grpSpPr>
          <a:xfrm>
            <a:off x="751244" y="1881878"/>
            <a:ext cx="286463" cy="267429"/>
            <a:chOff x="2101073" y="4443720"/>
            <a:chExt cx="488376" cy="488376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35B007BE-F255-D12E-3268-FE7E65025401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3F50EE13-6A80-47AE-FA55-CD2C7CE606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F09CF73-6ED8-63A1-4E8B-FC91B7CA05B2}"/>
              </a:ext>
            </a:extLst>
          </p:cNvPr>
          <p:cNvGrpSpPr/>
          <p:nvPr/>
        </p:nvGrpSpPr>
        <p:grpSpPr>
          <a:xfrm>
            <a:off x="676613" y="2250528"/>
            <a:ext cx="286463" cy="267429"/>
            <a:chOff x="2101073" y="4443720"/>
            <a:chExt cx="488376" cy="488376"/>
          </a:xfrm>
        </p:grpSpPr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0AB87D1C-05EB-13F8-7777-F61417AF1513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solidFill>
              <a:srgbClr val="57A7B1">
                <a:alpha val="4941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 LT Pro" panose="020B0504020202020204" pitchFamily="34" charset="77"/>
              </a:endParaRPr>
            </a:p>
          </p:txBody>
        </p:sp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60A1BAAD-3C7F-76E5-7BDF-FDD743538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</p:spPr>
        </p:pic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id="{A90DDDE7-83BE-4915-B614-848ECEA00631}"/>
              </a:ext>
            </a:extLst>
          </p:cNvPr>
          <p:cNvSpPr txBox="1"/>
          <p:nvPr/>
        </p:nvSpPr>
        <p:spPr>
          <a:xfrm>
            <a:off x="359564" y="769418"/>
            <a:ext cx="20580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00" b="1">
                <a:solidFill>
                  <a:srgbClr val="79B8BE"/>
                </a:solidFill>
                <a:latin typeface="Avenir Next LT Pro" panose="020B0504020202020204" pitchFamily="34" charset="77"/>
              </a:rPr>
              <a:t>Rich pool of potential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D7F1369D-8DC7-3D7F-64B5-AC32B1CF1513}"/>
              </a:ext>
            </a:extLst>
          </p:cNvPr>
          <p:cNvSpPr txBox="1"/>
          <p:nvPr/>
        </p:nvSpPr>
        <p:spPr>
          <a:xfrm>
            <a:off x="6402999" y="764278"/>
            <a:ext cx="251388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00" b="1">
                <a:solidFill>
                  <a:srgbClr val="509AA4"/>
                </a:solidFill>
                <a:latin typeface="Avenir Next LT Pro" panose="020B0504020202020204" pitchFamily="34" charset="77"/>
              </a:rPr>
              <a:t>Health data scientists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078DDD85-07D0-E24B-4FBA-B3B323A3B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838" y="110752"/>
            <a:ext cx="5116214" cy="360098"/>
          </a:xfrm>
        </p:spPr>
        <p:txBody>
          <a:bodyPr>
            <a:normAutofit fontScale="90000"/>
          </a:bodyPr>
          <a:lstStyle/>
          <a:p>
            <a:r>
              <a:rPr lang="en-US" dirty="0"/>
              <a:t>Training bottlenecks in data scienc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526212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lèche : droite 18">
            <a:extLst>
              <a:ext uri="{FF2B5EF4-FFF2-40B4-BE49-F238E27FC236}">
                <a16:creationId xmlns:a16="http://schemas.microsoft.com/office/drawing/2014/main" id="{66427AC9-BAC6-D44F-A5E1-14D0C64F9A31}"/>
              </a:ext>
            </a:extLst>
          </p:cNvPr>
          <p:cNvSpPr/>
          <p:nvPr/>
        </p:nvSpPr>
        <p:spPr>
          <a:xfrm>
            <a:off x="3365203" y="1290418"/>
            <a:ext cx="3172385" cy="2183044"/>
          </a:xfrm>
          <a:prstGeom prst="rightArrow">
            <a:avLst/>
          </a:prstGeom>
          <a:solidFill>
            <a:srgbClr val="57A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>
                <a:latin typeface="Avenir Next" panose="020B0503020202020204" pitchFamily="34" charset="0"/>
              </a:rPr>
              <a:t>The GRAPH Course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0B95A4-9F26-BA46-B5AA-28F0CAF23867}"/>
              </a:ext>
            </a:extLst>
          </p:cNvPr>
          <p:cNvGrpSpPr/>
          <p:nvPr/>
        </p:nvGrpSpPr>
        <p:grpSpPr>
          <a:xfrm>
            <a:off x="7437955" y="1420452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B96E4C2-D59B-904E-8473-6F4684937FE8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AA8E87DB-042B-6143-84F5-D03E776AF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D819C95-3A3D-ED42-975A-87FEE8D237B3}"/>
              </a:ext>
            </a:extLst>
          </p:cNvPr>
          <p:cNvGrpSpPr/>
          <p:nvPr/>
        </p:nvGrpSpPr>
        <p:grpSpPr>
          <a:xfrm>
            <a:off x="7932677" y="1491190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3C06D9F2-57A1-C444-89BE-FB8AB9EEB250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D66CDCA3-8299-C04A-87C7-98C9FB688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C335034-6D6E-C044-B2D5-6C0EB6ACA6B5}"/>
              </a:ext>
            </a:extLst>
          </p:cNvPr>
          <p:cNvGrpSpPr/>
          <p:nvPr/>
        </p:nvGrpSpPr>
        <p:grpSpPr>
          <a:xfrm>
            <a:off x="7375096" y="2364047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2E3CF36-466A-784E-B5B1-F883A2D479EB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007E6905-6D26-9A42-8657-41B477628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3274609-86EA-354D-AEE8-7BC01A45C1D0}"/>
              </a:ext>
            </a:extLst>
          </p:cNvPr>
          <p:cNvGrpSpPr/>
          <p:nvPr/>
        </p:nvGrpSpPr>
        <p:grpSpPr>
          <a:xfrm>
            <a:off x="7202241" y="2910001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D8A0F6B0-5AE4-C549-93F4-553A5C4659F7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9C50AEE0-02ED-4549-B0C0-BE4D44B35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F775AD8-7737-BA40-9534-DCD9AAA5D64D}"/>
              </a:ext>
            </a:extLst>
          </p:cNvPr>
          <p:cNvGrpSpPr/>
          <p:nvPr/>
        </p:nvGrpSpPr>
        <p:grpSpPr>
          <a:xfrm>
            <a:off x="7706067" y="2941577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238EF94D-4189-854A-9DFF-EC04E790EA65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06B450D6-EC76-A444-8AAF-EB3CFC9EF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B696C26-1B6C-0946-AFF0-8E693FB440B8}"/>
              </a:ext>
            </a:extLst>
          </p:cNvPr>
          <p:cNvGrpSpPr/>
          <p:nvPr/>
        </p:nvGrpSpPr>
        <p:grpSpPr>
          <a:xfrm>
            <a:off x="8200651" y="2765662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E8AA205-CE53-934A-B461-A8B0548EF9BE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B6E481DE-A822-5940-967D-C0A3BA080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2C41F88-5D7B-FE48-8CE4-4EF9F673C252}"/>
              </a:ext>
            </a:extLst>
          </p:cNvPr>
          <p:cNvGrpSpPr/>
          <p:nvPr/>
        </p:nvGrpSpPr>
        <p:grpSpPr>
          <a:xfrm>
            <a:off x="8404675" y="2301936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2249CE4D-BEFF-B844-846F-7B3D0710E32D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3E46A83E-A53F-4E47-9563-171729278D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BC9075A-C402-4A41-B7E9-C420EBE12A25}"/>
              </a:ext>
            </a:extLst>
          </p:cNvPr>
          <p:cNvGrpSpPr/>
          <p:nvPr/>
        </p:nvGrpSpPr>
        <p:grpSpPr>
          <a:xfrm>
            <a:off x="8343994" y="1810131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9DF4F05-28ED-6446-BCF6-79E828F9E7B7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19A443BD-C9BF-CD4C-96D3-5863ED1A1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8B320627-1109-C240-83B9-814D019E9411}"/>
              </a:ext>
            </a:extLst>
          </p:cNvPr>
          <p:cNvGrpSpPr/>
          <p:nvPr/>
        </p:nvGrpSpPr>
        <p:grpSpPr>
          <a:xfrm>
            <a:off x="6838609" y="2530749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0969D117-BD60-624C-9D75-FBF6B1F4B61D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35EAAE77-3C69-1641-ADBA-5B9DE4E66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481588E-549F-0448-9551-0CE26848975C}"/>
              </a:ext>
            </a:extLst>
          </p:cNvPr>
          <p:cNvGrpSpPr/>
          <p:nvPr/>
        </p:nvGrpSpPr>
        <p:grpSpPr>
          <a:xfrm>
            <a:off x="7004422" y="1645329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11CB2FC4-D439-E34C-811A-54CC450D01FC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20614F6D-342B-4245-9821-16034E242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0400BA3-BC7E-634C-B147-5AAB7D57E527}"/>
              </a:ext>
            </a:extLst>
          </p:cNvPr>
          <p:cNvGrpSpPr/>
          <p:nvPr/>
        </p:nvGrpSpPr>
        <p:grpSpPr>
          <a:xfrm>
            <a:off x="6760330" y="2053368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2356A2C-2F66-1141-9798-BA74DBE0AF4B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CCE2F4F9-D8A5-CE4B-9970-4CA252B4B7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D0F3EAE7-A35D-9748-89E5-596EFDA3338D}"/>
              </a:ext>
            </a:extLst>
          </p:cNvPr>
          <p:cNvGrpSpPr/>
          <p:nvPr/>
        </p:nvGrpSpPr>
        <p:grpSpPr>
          <a:xfrm>
            <a:off x="7908776" y="2337143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B992F0D4-C482-6D4A-9009-26BD8945CB8C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A9EB7F54-E5CE-2D4D-8FCF-640275151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67534B54-C391-DF49-B593-67D3052EE932}"/>
              </a:ext>
            </a:extLst>
          </p:cNvPr>
          <p:cNvGrpSpPr/>
          <p:nvPr/>
        </p:nvGrpSpPr>
        <p:grpSpPr>
          <a:xfrm>
            <a:off x="7566301" y="1906927"/>
            <a:ext cx="453221" cy="486475"/>
            <a:chOff x="2101073" y="4443720"/>
            <a:chExt cx="488376" cy="488376"/>
          </a:xfrm>
          <a:solidFill>
            <a:srgbClr val="57A7B1"/>
          </a:solidFill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0B8DBB66-468C-654B-B8DF-9DA6E75D5755}"/>
                </a:ext>
              </a:extLst>
            </p:cNvPr>
            <p:cNvSpPr/>
            <p:nvPr/>
          </p:nvSpPr>
          <p:spPr>
            <a:xfrm>
              <a:off x="2101073" y="4443720"/>
              <a:ext cx="488376" cy="48837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50">
                <a:latin typeface="Avenir Next" panose="020B0503020202020204" pitchFamily="34" charset="0"/>
              </a:endParaRP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4B164AFC-3887-394F-B75F-F936B62BC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731" y="4493505"/>
              <a:ext cx="285262" cy="367275"/>
            </a:xfrm>
            <a:prstGeom prst="rect">
              <a:avLst/>
            </a:prstGeom>
            <a:grpFill/>
          </p:spPr>
        </p:pic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5708B18-3768-DBBD-9688-359DB41C6AA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1849B7A4-4B78-BE1A-01B9-8C72D065B8A0}"/>
              </a:ext>
            </a:extLst>
          </p:cNvPr>
          <p:cNvSpPr txBox="1"/>
          <p:nvPr/>
        </p:nvSpPr>
        <p:spPr>
          <a:xfrm>
            <a:off x="359564" y="769418"/>
            <a:ext cx="20580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00" b="1">
                <a:solidFill>
                  <a:srgbClr val="79B8BE"/>
                </a:solidFill>
                <a:latin typeface="Avenir Next LT Pro" panose="020B0504020202020204" pitchFamily="34" charset="77"/>
              </a:rPr>
              <a:t>Rich pool of potential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C1403B6-E54A-4598-FC8D-D5B481BE98CD}"/>
              </a:ext>
            </a:extLst>
          </p:cNvPr>
          <p:cNvSpPr txBox="1"/>
          <p:nvPr/>
        </p:nvSpPr>
        <p:spPr>
          <a:xfrm>
            <a:off x="6402999" y="764278"/>
            <a:ext cx="251388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100" b="1">
                <a:solidFill>
                  <a:srgbClr val="509AA4"/>
                </a:solidFill>
                <a:latin typeface="Avenir Next LT Pro" panose="020B0504020202020204" pitchFamily="34" charset="77"/>
              </a:rPr>
              <a:t>Health data scientists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4274DB52-DEB1-6887-2222-F0AD2089B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838" y="110752"/>
            <a:ext cx="5116214" cy="360098"/>
          </a:xfrm>
        </p:spPr>
        <p:txBody>
          <a:bodyPr>
            <a:normAutofit fontScale="90000"/>
          </a:bodyPr>
          <a:lstStyle/>
          <a:p>
            <a:r>
              <a:rPr lang="en-US" dirty="0"/>
              <a:t>Training bottlenecks in data scienc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2150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475358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>
                <a:latin typeface="Avenir Next" panose="020B0503020202020204" pitchFamily="34" charset="0"/>
              </a:rPr>
              <a:t>Essential featur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F83E1F6-B8D3-E141-B4C9-FB1FBEADDB73}"/>
              </a:ext>
            </a:extLst>
          </p:cNvPr>
          <p:cNvSpPr txBox="1"/>
          <p:nvPr/>
        </p:nvSpPr>
        <p:spPr>
          <a:xfrm>
            <a:off x="431121" y="3690344"/>
            <a:ext cx="162923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latin typeface="Avenir Next" panose="020B0503020202020204" pitchFamily="34" charset="0"/>
              </a:rPr>
              <a:t>Assessments &amp; Accredit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F500B49-C0CA-B04B-B4C3-ABB078E45100}"/>
              </a:ext>
            </a:extLst>
          </p:cNvPr>
          <p:cNvSpPr txBox="1"/>
          <p:nvPr/>
        </p:nvSpPr>
        <p:spPr>
          <a:xfrm>
            <a:off x="876237" y="2117481"/>
            <a:ext cx="12188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latin typeface="Avenir Next" panose="020B0503020202020204" pitchFamily="34" charset="0"/>
              </a:rPr>
              <a:t>Epi focu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88FE0CC-220C-FF40-9735-9383648C3A42}"/>
              </a:ext>
            </a:extLst>
          </p:cNvPr>
          <p:cNvSpPr txBox="1"/>
          <p:nvPr/>
        </p:nvSpPr>
        <p:spPr>
          <a:xfrm>
            <a:off x="53871" y="3223760"/>
            <a:ext cx="20264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latin typeface="Avenir Next" panose="020B0503020202020204" pitchFamily="34" charset="0"/>
              </a:rPr>
              <a:t>Learning communit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DC02583-5B96-8274-2FA3-3D440542B4BD}"/>
              </a:ext>
            </a:extLst>
          </p:cNvPr>
          <p:cNvGrpSpPr/>
          <p:nvPr/>
        </p:nvGrpSpPr>
        <p:grpSpPr>
          <a:xfrm>
            <a:off x="3261572" y="121165"/>
            <a:ext cx="4234397" cy="290393"/>
            <a:chOff x="4348763" y="161553"/>
            <a:chExt cx="5645862" cy="387190"/>
          </a:xfrm>
        </p:grpSpPr>
        <p:pic>
          <p:nvPicPr>
            <p:cNvPr id="83" name="Picture 82" descr="Icon&#10;&#10;Description automatically generated">
              <a:extLst>
                <a:ext uri="{FF2B5EF4-FFF2-40B4-BE49-F238E27FC236}">
                  <a16:creationId xmlns:a16="http://schemas.microsoft.com/office/drawing/2014/main" id="{7A10CD05-19C7-FE49-B4D8-AA5394E1D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48694" y="191106"/>
              <a:ext cx="321660" cy="321660"/>
            </a:xfrm>
            <a:prstGeom prst="rect">
              <a:avLst/>
            </a:prstGeom>
          </p:spPr>
        </p:pic>
        <p:pic>
          <p:nvPicPr>
            <p:cNvPr id="84" name="Picture 83" descr="Logo, icon&#10;&#10;Description automatically generated">
              <a:extLst>
                <a:ext uri="{FF2B5EF4-FFF2-40B4-BE49-F238E27FC236}">
                  <a16:creationId xmlns:a16="http://schemas.microsoft.com/office/drawing/2014/main" id="{01E9F37F-6B9E-A44F-A3B6-31CBB789B2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240" y="218899"/>
              <a:ext cx="273989" cy="273989"/>
            </a:xfrm>
            <a:prstGeom prst="rect">
              <a:avLst/>
            </a:prstGeom>
          </p:spPr>
        </p:pic>
        <p:pic>
          <p:nvPicPr>
            <p:cNvPr id="85" name="Picture 8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6A165F87-68CD-0C40-9803-4ACE9B8FE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8419986" y="161553"/>
              <a:ext cx="369333" cy="369333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4FFBD35-07AC-AC4C-99E4-DADED1099052}"/>
                </a:ext>
              </a:extLst>
            </p:cNvPr>
            <p:cNvSpPr txBox="1"/>
            <p:nvPr/>
          </p:nvSpPr>
          <p:spPr>
            <a:xfrm>
              <a:off x="5058088" y="171228"/>
              <a:ext cx="66514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H" sz="1050"/>
                <a:t>- Yes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A7E2170-BD67-574F-A968-1FE82E6ADDE5}"/>
                </a:ext>
              </a:extLst>
            </p:cNvPr>
            <p:cNvSpPr txBox="1"/>
            <p:nvPr/>
          </p:nvSpPr>
          <p:spPr>
            <a:xfrm>
              <a:off x="7006632" y="171228"/>
              <a:ext cx="5860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H" sz="1050"/>
                <a:t>- No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B34DD84-AA9B-5F4E-A42E-00E334178244}"/>
                </a:ext>
              </a:extLst>
            </p:cNvPr>
            <p:cNvSpPr txBox="1"/>
            <p:nvPr/>
          </p:nvSpPr>
          <p:spPr>
            <a:xfrm>
              <a:off x="8776246" y="171228"/>
              <a:ext cx="86604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H" sz="1050"/>
                <a:t>- Partial</a:t>
              </a:r>
            </a:p>
          </p:txBody>
        </p:sp>
        <p:sp>
          <p:nvSpPr>
            <p:cNvPr id="89" name="Rounded Rectangle 88">
              <a:extLst>
                <a:ext uri="{FF2B5EF4-FFF2-40B4-BE49-F238E27FC236}">
                  <a16:creationId xmlns:a16="http://schemas.microsoft.com/office/drawing/2014/main" id="{2E4B9250-5FB3-A948-ADC2-3243E5420BD0}"/>
                </a:ext>
              </a:extLst>
            </p:cNvPr>
            <p:cNvSpPr/>
            <p:nvPr/>
          </p:nvSpPr>
          <p:spPr>
            <a:xfrm>
              <a:off x="4348763" y="163045"/>
              <a:ext cx="5645862" cy="385698"/>
            </a:xfrm>
            <a:prstGeom prst="roundRect">
              <a:avLst/>
            </a:prstGeom>
            <a:solidFill>
              <a:srgbClr val="D6DCE5">
                <a:alpha val="3882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20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5D4D2C10-BB17-5344-B36E-505BEAEE6669}"/>
              </a:ext>
            </a:extLst>
          </p:cNvPr>
          <p:cNvSpPr txBox="1"/>
          <p:nvPr/>
        </p:nvSpPr>
        <p:spPr>
          <a:xfrm>
            <a:off x="208685" y="4381771"/>
            <a:ext cx="187520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latin typeface="Avenir Next" panose="020B0503020202020204" pitchFamily="34" charset="0"/>
              </a:rPr>
              <a:t>Affordable for LM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58D28B-09F1-009B-C84E-C540D886B5B1}"/>
              </a:ext>
            </a:extLst>
          </p:cNvPr>
          <p:cNvSpPr txBox="1"/>
          <p:nvPr/>
        </p:nvSpPr>
        <p:spPr>
          <a:xfrm>
            <a:off x="266608" y="2671298"/>
            <a:ext cx="18285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0" b="1" dirty="0">
                <a:latin typeface="Avenir Next" panose="020B0503020202020204" pitchFamily="34" charset="0"/>
              </a:rPr>
              <a:t>Rich video conten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8BF20AD-C871-04B6-A291-BBD4029373F4}"/>
              </a:ext>
            </a:extLst>
          </p:cNvPr>
          <p:cNvGrpSpPr/>
          <p:nvPr/>
        </p:nvGrpSpPr>
        <p:grpSpPr>
          <a:xfrm>
            <a:off x="690137" y="1984756"/>
            <a:ext cx="8049735" cy="2764904"/>
            <a:chOff x="920182" y="2646341"/>
            <a:chExt cx="10732980" cy="3686538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3CC7894-9FF1-184F-AC9F-00A8608FEE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6101" y="2646341"/>
              <a:ext cx="10697061" cy="0"/>
            </a:xfrm>
            <a:prstGeom prst="line">
              <a:avLst/>
            </a:prstGeom>
            <a:ln w="12700">
              <a:solidFill>
                <a:srgbClr val="D0578A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CAE64A97-8FB0-634A-B30B-4C5078FEA22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0182" y="6332879"/>
              <a:ext cx="10697061" cy="0"/>
            </a:xfrm>
            <a:prstGeom prst="line">
              <a:avLst/>
            </a:prstGeom>
            <a:ln w="12700">
              <a:solidFill>
                <a:srgbClr val="D0578A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55D898F-52E4-7A42-B7EE-4E6D419612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0182" y="5559818"/>
              <a:ext cx="10697061" cy="0"/>
            </a:xfrm>
            <a:prstGeom prst="line">
              <a:avLst/>
            </a:prstGeom>
            <a:ln w="12700">
              <a:solidFill>
                <a:srgbClr val="D0578A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B2DE437-F2BD-C34F-AEC7-C48CC5414E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20182" y="4836552"/>
              <a:ext cx="10697061" cy="0"/>
            </a:xfrm>
            <a:prstGeom prst="line">
              <a:avLst/>
            </a:prstGeom>
            <a:ln w="12700">
              <a:solidFill>
                <a:srgbClr val="D0578A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8F9BC10-210E-0E4E-902D-368FA81EFCF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6101" y="4097423"/>
              <a:ext cx="10697061" cy="0"/>
            </a:xfrm>
            <a:prstGeom prst="line">
              <a:avLst/>
            </a:prstGeom>
            <a:ln w="12700">
              <a:solidFill>
                <a:srgbClr val="D0578A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D543007-04A7-C5F4-F667-8DD70E08F3C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7171" y="3361813"/>
              <a:ext cx="10697061" cy="0"/>
            </a:xfrm>
            <a:prstGeom prst="line">
              <a:avLst/>
            </a:prstGeom>
            <a:ln w="12700">
              <a:solidFill>
                <a:srgbClr val="D0578A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F197827-93B1-3594-B5CC-83F0B31ADF0E}"/>
              </a:ext>
            </a:extLst>
          </p:cNvPr>
          <p:cNvGrpSpPr/>
          <p:nvPr/>
        </p:nvGrpSpPr>
        <p:grpSpPr>
          <a:xfrm>
            <a:off x="7290636" y="766286"/>
            <a:ext cx="1231815" cy="3884283"/>
            <a:chOff x="9720848" y="1021715"/>
            <a:chExt cx="1642420" cy="5179044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25869F0-86B0-EA4C-BF3E-8E779C9693AC}"/>
                </a:ext>
              </a:extLst>
            </p:cNvPr>
            <p:cNvSpPr txBox="1"/>
            <p:nvPr/>
          </p:nvSpPr>
          <p:spPr>
            <a:xfrm>
              <a:off x="9720848" y="1021715"/>
              <a:ext cx="1642420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 b="1">
                  <a:latin typeface="Avenir Next Condensed" panose="020B0506020202020204" pitchFamily="34" charset="0"/>
                </a:rPr>
                <a:t>Our solution</a:t>
              </a: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01B8939B-5403-964A-A934-CD1B7E9F3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2271" y="5719762"/>
              <a:ext cx="480997" cy="480997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45B8711-07E8-D948-B0C3-BFC8D4DA242E}"/>
                </a:ext>
              </a:extLst>
            </p:cNvPr>
            <p:cNvSpPr txBox="1"/>
            <p:nvPr/>
          </p:nvSpPr>
          <p:spPr>
            <a:xfrm>
              <a:off x="9994625" y="1697556"/>
              <a:ext cx="1368643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The GRAPH Courses</a:t>
              </a:r>
            </a:p>
          </p:txBody>
        </p:sp>
        <p:pic>
          <p:nvPicPr>
            <p:cNvPr id="95" name="Picture 94" descr="Icon&#10;&#10;Description automatically generated">
              <a:extLst>
                <a:ext uri="{FF2B5EF4-FFF2-40B4-BE49-F238E27FC236}">
                  <a16:creationId xmlns:a16="http://schemas.microsoft.com/office/drawing/2014/main" id="{B14A1900-6CCA-294E-A777-05B02B4299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2271" y="2684455"/>
              <a:ext cx="480997" cy="480997"/>
            </a:xfrm>
            <a:prstGeom prst="rect">
              <a:avLst/>
            </a:prstGeom>
          </p:spPr>
        </p:pic>
        <p:pic>
          <p:nvPicPr>
            <p:cNvPr id="96" name="Picture 95" descr="Icon&#10;&#10;Description automatically generated">
              <a:extLst>
                <a:ext uri="{FF2B5EF4-FFF2-40B4-BE49-F238E27FC236}">
                  <a16:creationId xmlns:a16="http://schemas.microsoft.com/office/drawing/2014/main" id="{9DB9E59B-F4A6-E547-B9B1-5A585347D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62533" y="4181165"/>
              <a:ext cx="480997" cy="480997"/>
            </a:xfrm>
            <a:prstGeom prst="rect">
              <a:avLst/>
            </a:prstGeom>
          </p:spPr>
        </p:pic>
        <p:pic>
          <p:nvPicPr>
            <p:cNvPr id="97" name="Picture 96" descr="Icon&#10;&#10;Description automatically generated">
              <a:extLst>
                <a:ext uri="{FF2B5EF4-FFF2-40B4-BE49-F238E27FC236}">
                  <a16:creationId xmlns:a16="http://schemas.microsoft.com/office/drawing/2014/main" id="{65513F01-6597-7A4E-AB34-1ECE6F33B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62533" y="4909848"/>
              <a:ext cx="480997" cy="480997"/>
            </a:xfrm>
            <a:prstGeom prst="rect">
              <a:avLst/>
            </a:prstGeom>
          </p:spPr>
        </p:pic>
        <p:pic>
          <p:nvPicPr>
            <p:cNvPr id="15" name="Picture 14" descr="Icon&#10;&#10;Description automatically generated">
              <a:extLst>
                <a:ext uri="{FF2B5EF4-FFF2-40B4-BE49-F238E27FC236}">
                  <a16:creationId xmlns:a16="http://schemas.microsoft.com/office/drawing/2014/main" id="{3ECCA7B6-E352-08C1-5C51-1F4E5679A9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73341" y="3399927"/>
              <a:ext cx="480997" cy="480997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FD5C6A7-236F-652F-BEB4-1E2EB6A7F2F1}"/>
              </a:ext>
            </a:extLst>
          </p:cNvPr>
          <p:cNvGrpSpPr/>
          <p:nvPr/>
        </p:nvGrpSpPr>
        <p:grpSpPr>
          <a:xfrm>
            <a:off x="2126597" y="813947"/>
            <a:ext cx="1199194" cy="3852503"/>
            <a:chOff x="2835462" y="1085262"/>
            <a:chExt cx="1598925" cy="5136671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611A35B-DF10-4C42-9785-09A5564CA495}"/>
                </a:ext>
              </a:extLst>
            </p:cNvPr>
            <p:cNvSpPr txBox="1"/>
            <p:nvPr/>
          </p:nvSpPr>
          <p:spPr>
            <a:xfrm>
              <a:off x="2835462" y="1733935"/>
              <a:ext cx="1598925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 dirty="0" err="1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Datacamp</a:t>
              </a:r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, Dataquest,</a:t>
              </a:r>
            </a:p>
            <a:p>
              <a:pPr algn="r"/>
              <a:r>
                <a:rPr lang="en-GB" sz="1050" dirty="0" err="1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Codeacademy</a:t>
              </a:r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,</a:t>
              </a:r>
            </a:p>
            <a:p>
              <a:pPr algn="r"/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etc.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47AEAE3C-C697-7E4A-91FE-F52BB1C5C381}"/>
                </a:ext>
              </a:extLst>
            </p:cNvPr>
            <p:cNvSpPr txBox="1"/>
            <p:nvPr/>
          </p:nvSpPr>
          <p:spPr>
            <a:xfrm>
              <a:off x="3147282" y="1085262"/>
              <a:ext cx="1287105" cy="553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050" b="1" dirty="0">
                  <a:latin typeface="Avenir Next Condensed" panose="020B0506020202020204" pitchFamily="34" charset="0"/>
                </a:rPr>
                <a:t>DATA SCIENCE </a:t>
              </a:r>
            </a:p>
            <a:p>
              <a:pPr algn="r"/>
              <a:r>
                <a:rPr lang="en-GB" sz="1050" b="1" dirty="0">
                  <a:latin typeface="Avenir Next Condensed" panose="020B0506020202020204" pitchFamily="34" charset="0"/>
                </a:rPr>
                <a:t>PLATFORMS</a:t>
              </a:r>
            </a:p>
          </p:txBody>
        </p:sp>
        <p:pic>
          <p:nvPicPr>
            <p:cNvPr id="72" name="Picture 71" descr="Logo, icon&#10;&#10;Description automatically generated">
              <a:extLst>
                <a:ext uri="{FF2B5EF4-FFF2-40B4-BE49-F238E27FC236}">
                  <a16:creationId xmlns:a16="http://schemas.microsoft.com/office/drawing/2014/main" id="{077F20B7-3C48-BF4B-AB39-3720383F6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73799" y="2758914"/>
              <a:ext cx="460588" cy="460588"/>
            </a:xfrm>
            <a:prstGeom prst="rect">
              <a:avLst/>
            </a:prstGeom>
          </p:spPr>
        </p:pic>
        <p:pic>
          <p:nvPicPr>
            <p:cNvPr id="47" name="Picture 4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15EEB40D-644F-DF42-B436-1B3A8B962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3954060" y="4204986"/>
              <a:ext cx="460589" cy="460589"/>
            </a:xfrm>
            <a:prstGeom prst="rect">
              <a:avLst/>
            </a:prstGeom>
          </p:spPr>
        </p:pic>
        <p:pic>
          <p:nvPicPr>
            <p:cNvPr id="48" name="Picture 47" descr="Icon&#10;&#10;Description automatically generated">
              <a:extLst>
                <a:ext uri="{FF2B5EF4-FFF2-40B4-BE49-F238E27FC236}">
                  <a16:creationId xmlns:a16="http://schemas.microsoft.com/office/drawing/2014/main" id="{6B5CDBC4-D851-5640-A895-2262B0F4DC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33652" y="4915910"/>
              <a:ext cx="480997" cy="480997"/>
            </a:xfrm>
            <a:prstGeom prst="rect">
              <a:avLst/>
            </a:prstGeom>
          </p:spPr>
        </p:pic>
        <p:pic>
          <p:nvPicPr>
            <p:cNvPr id="60" name="Picture 59" descr="Logo, icon&#10;&#10;Description automatically generated">
              <a:extLst>
                <a:ext uri="{FF2B5EF4-FFF2-40B4-BE49-F238E27FC236}">
                  <a16:creationId xmlns:a16="http://schemas.microsoft.com/office/drawing/2014/main" id="{0577F3C3-C38B-B648-A4C4-D3C44D949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73799" y="5761345"/>
              <a:ext cx="460588" cy="460588"/>
            </a:xfrm>
            <a:prstGeom prst="rect">
              <a:avLst/>
            </a:prstGeom>
          </p:spPr>
        </p:pic>
        <p:pic>
          <p:nvPicPr>
            <p:cNvPr id="16" name="Picture 15" descr="Icon&#10;&#10;Description automatically generated">
              <a:extLst>
                <a:ext uri="{FF2B5EF4-FFF2-40B4-BE49-F238E27FC236}">
                  <a16:creationId xmlns:a16="http://schemas.microsoft.com/office/drawing/2014/main" id="{F512B686-CD60-0922-E959-522ACDEED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33652" y="3498120"/>
              <a:ext cx="480997" cy="480997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C86846-E9A7-BE10-BA79-41BD4AF7AC1A}"/>
              </a:ext>
            </a:extLst>
          </p:cNvPr>
          <p:cNvGrpSpPr/>
          <p:nvPr/>
        </p:nvGrpSpPr>
        <p:grpSpPr>
          <a:xfrm>
            <a:off x="3456956" y="780595"/>
            <a:ext cx="1026484" cy="3887831"/>
            <a:chOff x="4609273" y="1040793"/>
            <a:chExt cx="1368645" cy="5183774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68418FE-062A-984F-A564-235CAA9E1A70}"/>
                </a:ext>
              </a:extLst>
            </p:cNvPr>
            <p:cNvSpPr txBox="1"/>
            <p:nvPr/>
          </p:nvSpPr>
          <p:spPr>
            <a:xfrm>
              <a:off x="4609273" y="1893749"/>
              <a:ext cx="136864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Coursera,</a:t>
              </a:r>
            </a:p>
            <a:p>
              <a:pPr algn="r"/>
              <a:r>
                <a:rPr lang="en-GB" sz="105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EdX,</a:t>
              </a:r>
            </a:p>
            <a:p>
              <a:pPr algn="r"/>
              <a:r>
                <a:rPr lang="en-GB" sz="105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etc.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26B55A3-DE26-A34F-B472-E608CE711D89}"/>
                </a:ext>
              </a:extLst>
            </p:cNvPr>
            <p:cNvSpPr txBox="1"/>
            <p:nvPr/>
          </p:nvSpPr>
          <p:spPr>
            <a:xfrm>
              <a:off x="4883173" y="1040793"/>
              <a:ext cx="1094745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050" b="1">
                  <a:latin typeface="Avenir Next Condensed" panose="020B0506020202020204" pitchFamily="34" charset="0"/>
                </a:rPr>
                <a:t>HIGHER-ED </a:t>
              </a:r>
            </a:p>
            <a:p>
              <a:pPr algn="r"/>
              <a:r>
                <a:rPr lang="en-GB" sz="1050" b="1">
                  <a:latin typeface="Avenir Next Condensed" panose="020B0506020202020204" pitchFamily="34" charset="0"/>
                </a:rPr>
                <a:t>MOOC </a:t>
              </a:r>
            </a:p>
            <a:p>
              <a:pPr algn="r"/>
              <a:r>
                <a:rPr lang="en-GB" sz="1050" b="1">
                  <a:latin typeface="Avenir Next Condensed" panose="020B0506020202020204" pitchFamily="34" charset="0"/>
                </a:rPr>
                <a:t>PLATFORMS</a:t>
              </a:r>
            </a:p>
          </p:txBody>
        </p:sp>
        <p:pic>
          <p:nvPicPr>
            <p:cNvPr id="54" name="Picture 5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A294542-4F93-4344-9053-70F739B09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5497590" y="4211274"/>
              <a:ext cx="460589" cy="460589"/>
            </a:xfrm>
            <a:prstGeom prst="rect">
              <a:avLst/>
            </a:prstGeom>
          </p:spPr>
        </p:pic>
        <p:pic>
          <p:nvPicPr>
            <p:cNvPr id="55" name="Picture 54" descr="Icon&#10;&#10;Description automatically generated">
              <a:extLst>
                <a:ext uri="{FF2B5EF4-FFF2-40B4-BE49-F238E27FC236}">
                  <a16:creationId xmlns:a16="http://schemas.microsoft.com/office/drawing/2014/main" id="{4152C545-6EC9-CF45-ADC1-D739541FD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77182" y="4925849"/>
              <a:ext cx="480997" cy="480997"/>
            </a:xfrm>
            <a:prstGeom prst="rect">
              <a:avLst/>
            </a:prstGeom>
          </p:spPr>
        </p:pic>
        <p:pic>
          <p:nvPicPr>
            <p:cNvPr id="56" name="Picture 5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676253B4-C8FE-6E4E-9F8B-00BAF66970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5517328" y="2730176"/>
              <a:ext cx="460589" cy="460589"/>
            </a:xfrm>
            <a:prstGeom prst="rect">
              <a:avLst/>
            </a:prstGeom>
          </p:spPr>
        </p:pic>
        <p:pic>
          <p:nvPicPr>
            <p:cNvPr id="57" name="Picture 56" descr="Icon&#10;&#10;Description automatically generated">
              <a:extLst>
                <a:ext uri="{FF2B5EF4-FFF2-40B4-BE49-F238E27FC236}">
                  <a16:creationId xmlns:a16="http://schemas.microsoft.com/office/drawing/2014/main" id="{585945BA-8EFD-074A-A228-2EF8DA99C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96920" y="5743570"/>
              <a:ext cx="480997" cy="480997"/>
            </a:xfrm>
            <a:prstGeom prst="rect">
              <a:avLst/>
            </a:prstGeom>
          </p:spPr>
        </p:pic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191079A4-AEC4-EA8F-EFA1-C214B45EA9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81098" y="3478023"/>
              <a:ext cx="480997" cy="4809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9B9A813-85A5-DB86-2AEA-D63E1DD94DB1}"/>
              </a:ext>
            </a:extLst>
          </p:cNvPr>
          <p:cNvGrpSpPr/>
          <p:nvPr/>
        </p:nvGrpSpPr>
        <p:grpSpPr>
          <a:xfrm>
            <a:off x="4653794" y="779865"/>
            <a:ext cx="1126461" cy="3892088"/>
            <a:chOff x="6205059" y="1039820"/>
            <a:chExt cx="1501948" cy="5189450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50FA824-9358-2E43-B3AB-51E328359F08}"/>
                </a:ext>
              </a:extLst>
            </p:cNvPr>
            <p:cNvSpPr txBox="1"/>
            <p:nvPr/>
          </p:nvSpPr>
          <p:spPr>
            <a:xfrm>
              <a:off x="6205059" y="1745091"/>
              <a:ext cx="1501948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R4Epi, </a:t>
              </a:r>
              <a:r>
                <a:rPr lang="en-GB" sz="1050" dirty="0" err="1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Epirhandbook</a:t>
              </a:r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,</a:t>
              </a:r>
              <a:b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</a:br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RMRWR,</a:t>
              </a:r>
            </a:p>
            <a:p>
              <a:pPr algn="r"/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etc.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063F726-013D-944D-9895-1A4AA58B5379}"/>
                </a:ext>
              </a:extLst>
            </p:cNvPr>
            <p:cNvSpPr txBox="1"/>
            <p:nvPr/>
          </p:nvSpPr>
          <p:spPr>
            <a:xfrm>
              <a:off x="6438070" y="1039820"/>
              <a:ext cx="1268937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 b="1" dirty="0">
                  <a:latin typeface="Avenir Next Condensed" panose="020B0506020202020204" pitchFamily="34" charset="0"/>
                </a:rPr>
                <a:t>R FOR EPI RESOURCES</a:t>
              </a:r>
            </a:p>
          </p:txBody>
        </p:sp>
        <p:pic>
          <p:nvPicPr>
            <p:cNvPr id="71" name="Picture 70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3765278-885F-2E48-824F-43440B746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7226680" y="4231697"/>
              <a:ext cx="460589" cy="460589"/>
            </a:xfrm>
            <a:prstGeom prst="rect">
              <a:avLst/>
            </a:prstGeom>
          </p:spPr>
        </p:pic>
        <p:pic>
          <p:nvPicPr>
            <p:cNvPr id="78" name="Picture 77" descr="Logo, icon&#10;&#10;Description automatically generated">
              <a:extLst>
                <a:ext uri="{FF2B5EF4-FFF2-40B4-BE49-F238E27FC236}">
                  <a16:creationId xmlns:a16="http://schemas.microsoft.com/office/drawing/2014/main" id="{4832E537-2547-7241-82C5-74718B9B1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26681" y="4954037"/>
              <a:ext cx="460588" cy="460588"/>
            </a:xfrm>
            <a:prstGeom prst="rect">
              <a:avLst/>
            </a:prstGeom>
          </p:spPr>
        </p:pic>
        <p:pic>
          <p:nvPicPr>
            <p:cNvPr id="79" name="Picture 78" descr="Icon&#10;&#10;Description automatically generated">
              <a:extLst>
                <a:ext uri="{FF2B5EF4-FFF2-40B4-BE49-F238E27FC236}">
                  <a16:creationId xmlns:a16="http://schemas.microsoft.com/office/drawing/2014/main" id="{A418DAF5-3665-8546-B4DA-796777730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26010" y="2737283"/>
              <a:ext cx="480997" cy="480997"/>
            </a:xfrm>
            <a:prstGeom prst="rect">
              <a:avLst/>
            </a:prstGeom>
          </p:spPr>
        </p:pic>
        <p:pic>
          <p:nvPicPr>
            <p:cNvPr id="74" name="Picture 73" descr="Icon&#10;&#10;Description automatically generated">
              <a:extLst>
                <a:ext uri="{FF2B5EF4-FFF2-40B4-BE49-F238E27FC236}">
                  <a16:creationId xmlns:a16="http://schemas.microsoft.com/office/drawing/2014/main" id="{4CD41338-E604-4545-A5EA-6C3977281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26010" y="5748273"/>
              <a:ext cx="480997" cy="480997"/>
            </a:xfrm>
            <a:prstGeom prst="rect">
              <a:avLst/>
            </a:prstGeom>
          </p:spPr>
        </p:pic>
        <p:pic>
          <p:nvPicPr>
            <p:cNvPr id="18" name="Picture 17" descr="Logo, icon&#10;&#10;Description automatically generated">
              <a:extLst>
                <a:ext uri="{FF2B5EF4-FFF2-40B4-BE49-F238E27FC236}">
                  <a16:creationId xmlns:a16="http://schemas.microsoft.com/office/drawing/2014/main" id="{F2F97E18-1D87-DD0F-AC83-D0FE02BA03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09368" y="3482395"/>
              <a:ext cx="460588" cy="460588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BF3C5FC-95D2-0102-8601-742BFEA62684}"/>
              </a:ext>
            </a:extLst>
          </p:cNvPr>
          <p:cNvGrpSpPr/>
          <p:nvPr/>
        </p:nvGrpSpPr>
        <p:grpSpPr>
          <a:xfrm>
            <a:off x="5951696" y="792412"/>
            <a:ext cx="1231815" cy="3888483"/>
            <a:chOff x="7935595" y="1056549"/>
            <a:chExt cx="1642420" cy="5184644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F277EF1-23DF-AE4C-A0CD-B315B68AF832}"/>
                </a:ext>
              </a:extLst>
            </p:cNvPr>
            <p:cNvSpPr txBox="1"/>
            <p:nvPr/>
          </p:nvSpPr>
          <p:spPr>
            <a:xfrm>
              <a:off x="7935595" y="1056549"/>
              <a:ext cx="1642420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 b="1">
                  <a:latin typeface="Avenir Next Condensed" panose="020B0506020202020204" pitchFamily="34" charset="0"/>
                </a:rPr>
                <a:t>OTHER DATA SCIENCE BOOKS</a:t>
              </a:r>
            </a:p>
          </p:txBody>
        </p:sp>
        <p:pic>
          <p:nvPicPr>
            <p:cNvPr id="62" name="Picture 6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7CD1150-BD63-6142-B42E-5F806780B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9117426" y="2699642"/>
              <a:ext cx="460589" cy="460589"/>
            </a:xfrm>
            <a:prstGeom prst="rect">
              <a:avLst/>
            </a:prstGeom>
          </p:spPr>
        </p:pic>
        <p:pic>
          <p:nvPicPr>
            <p:cNvPr id="67" name="Picture 66" descr="Logo, icon&#10;&#10;Description automatically generated">
              <a:extLst>
                <a:ext uri="{FF2B5EF4-FFF2-40B4-BE49-F238E27FC236}">
                  <a16:creationId xmlns:a16="http://schemas.microsoft.com/office/drawing/2014/main" id="{F24ADFC9-0EBF-564F-A4C7-E845B4A64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84989" y="4923115"/>
              <a:ext cx="460588" cy="460588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3006B837-D818-7740-84DC-BAC541F719B5}"/>
                </a:ext>
              </a:extLst>
            </p:cNvPr>
            <p:cNvSpPr txBox="1"/>
            <p:nvPr/>
          </p:nvSpPr>
          <p:spPr>
            <a:xfrm>
              <a:off x="8076067" y="1732390"/>
              <a:ext cx="1501948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R4DS,</a:t>
              </a:r>
            </a:p>
            <a:p>
              <a:pPr algn="r"/>
              <a:r>
                <a:rPr lang="en-GB" sz="1050" dirty="0" err="1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Datacarpentry</a:t>
              </a:r>
              <a:endParaRPr lang="en-GB" sz="1050" dirty="0">
                <a:solidFill>
                  <a:schemeClr val="bg2">
                    <a:lumMod val="50000"/>
                  </a:schemeClr>
                </a:solidFill>
                <a:latin typeface="Avenir Next Medium" panose="020B0503020202020204" pitchFamily="34" charset="0"/>
              </a:endParaRPr>
            </a:p>
            <a:p>
              <a:pPr algn="r"/>
              <a:r>
                <a:rPr lang="en-GB" sz="1050" dirty="0" err="1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Psyteachr</a:t>
              </a:r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., </a:t>
              </a:r>
            </a:p>
            <a:p>
              <a:pPr algn="r"/>
              <a:r>
                <a:rPr lang="en-GB" sz="1050" dirty="0">
                  <a:solidFill>
                    <a:schemeClr val="bg2">
                      <a:lumMod val="50000"/>
                    </a:schemeClr>
                  </a:solidFill>
                  <a:latin typeface="Avenir Next Medium" panose="020B0503020202020204" pitchFamily="34" charset="0"/>
                </a:rPr>
                <a:t>etc.</a:t>
              </a:r>
            </a:p>
          </p:txBody>
        </p:sp>
        <p:pic>
          <p:nvPicPr>
            <p:cNvPr id="64" name="Picture 63" descr="Icon&#10;&#10;Description automatically generated">
              <a:extLst>
                <a:ext uri="{FF2B5EF4-FFF2-40B4-BE49-F238E27FC236}">
                  <a16:creationId xmlns:a16="http://schemas.microsoft.com/office/drawing/2014/main" id="{99C725B7-4941-C043-A8BF-6DDF0EEEF0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97018" y="5760196"/>
              <a:ext cx="480997" cy="480997"/>
            </a:xfrm>
            <a:prstGeom prst="rect">
              <a:avLst/>
            </a:prstGeom>
          </p:spPr>
        </p:pic>
        <p:pic>
          <p:nvPicPr>
            <p:cNvPr id="14" name="Picture 1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B61EE20-1335-A7D3-5D2E-797C825B5C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70000"/>
            </a:blip>
            <a:stretch>
              <a:fillRect/>
            </a:stretch>
          </p:blipFill>
          <p:spPr>
            <a:xfrm>
              <a:off x="9108496" y="3435210"/>
              <a:ext cx="460589" cy="460589"/>
            </a:xfrm>
            <a:prstGeom prst="rect">
              <a:avLst/>
            </a:prstGeom>
          </p:spPr>
        </p:pic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B71DFAC6-9A4B-D657-96CB-9BA13CBF35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77280" y="4226445"/>
              <a:ext cx="480997" cy="4809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495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2" grpId="0"/>
      <p:bldP spid="41" grpId="0"/>
      <p:bldP spid="31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38398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Delivery models</a:t>
            </a:r>
          </a:p>
        </p:txBody>
      </p:sp>
      <p:grpSp>
        <p:nvGrpSpPr>
          <p:cNvPr id="1090" name="Group 1089">
            <a:extLst>
              <a:ext uri="{FF2B5EF4-FFF2-40B4-BE49-F238E27FC236}">
                <a16:creationId xmlns:a16="http://schemas.microsoft.com/office/drawing/2014/main" id="{98A029EC-7791-30C9-7F66-4CCB82D0889A}"/>
              </a:ext>
            </a:extLst>
          </p:cNvPr>
          <p:cNvGrpSpPr/>
          <p:nvPr/>
        </p:nvGrpSpPr>
        <p:grpSpPr>
          <a:xfrm>
            <a:off x="3176304" y="3553625"/>
            <a:ext cx="684140" cy="717555"/>
            <a:chOff x="3737134" y="4462704"/>
            <a:chExt cx="987302" cy="1026714"/>
          </a:xfrm>
        </p:grpSpPr>
        <p:sp>
          <p:nvSpPr>
            <p:cNvPr id="1091" name="Free Form 1362">
              <a:extLst>
                <a:ext uri="{FF2B5EF4-FFF2-40B4-BE49-F238E27FC236}">
                  <a16:creationId xmlns:a16="http://schemas.microsoft.com/office/drawing/2014/main" id="{532AAE92-0603-1982-229B-80E0AD54C3A5}"/>
                </a:ext>
              </a:extLst>
            </p:cNvPr>
            <p:cNvSpPr/>
            <p:nvPr/>
          </p:nvSpPr>
          <p:spPr>
            <a:xfrm>
              <a:off x="3762538" y="4462704"/>
              <a:ext cx="935169" cy="342211"/>
            </a:xfrm>
            <a:custGeom>
              <a:avLst/>
              <a:gdLst/>
              <a:ahLst/>
              <a:cxnLst/>
              <a:rect l="0" t="0" r="0" b="0"/>
              <a:pathLst>
                <a:path w="741684" h="248968">
                  <a:moveTo>
                    <a:pt x="121271" y="188326"/>
                  </a:moveTo>
                  <a:cubicBezTo>
                    <a:pt x="102246" y="188300"/>
                    <a:pt x="83196" y="189380"/>
                    <a:pt x="64782" y="182370"/>
                  </a:cubicBezTo>
                  <a:cubicBezTo>
                    <a:pt x="25260" y="167333"/>
                    <a:pt x="0" y="128649"/>
                    <a:pt x="3835" y="86193"/>
                  </a:cubicBezTo>
                  <a:cubicBezTo>
                    <a:pt x="7848" y="41846"/>
                    <a:pt x="40842" y="7518"/>
                    <a:pt x="83273" y="1346"/>
                  </a:cubicBezTo>
                  <a:cubicBezTo>
                    <a:pt x="88467" y="584"/>
                    <a:pt x="93598" y="12"/>
                    <a:pt x="98843" y="12"/>
                  </a:cubicBezTo>
                  <a:cubicBezTo>
                    <a:pt x="277987" y="25"/>
                    <a:pt x="457144" y="0"/>
                    <a:pt x="636288" y="50"/>
                  </a:cubicBezTo>
                  <a:cubicBezTo>
                    <a:pt x="681525" y="63"/>
                    <a:pt x="718621" y="29400"/>
                    <a:pt x="729086" y="73138"/>
                  </a:cubicBezTo>
                  <a:cubicBezTo>
                    <a:pt x="741684" y="125741"/>
                    <a:pt x="705223" y="179461"/>
                    <a:pt x="652099" y="186992"/>
                  </a:cubicBezTo>
                  <a:cubicBezTo>
                    <a:pt x="634878" y="189443"/>
                    <a:pt x="617657" y="187932"/>
                    <a:pt x="600436" y="188199"/>
                  </a:cubicBezTo>
                  <a:cubicBezTo>
                    <a:pt x="594975" y="188275"/>
                    <a:pt x="593286" y="189723"/>
                    <a:pt x="593388" y="195247"/>
                  </a:cubicBezTo>
                  <a:cubicBezTo>
                    <a:pt x="593718" y="212900"/>
                    <a:pt x="593515" y="230553"/>
                    <a:pt x="592029" y="248637"/>
                  </a:cubicBezTo>
                  <a:cubicBezTo>
                    <a:pt x="583609" y="234655"/>
                    <a:pt x="574008" y="221244"/>
                    <a:pt x="567112" y="206563"/>
                  </a:cubicBezTo>
                  <a:cubicBezTo>
                    <a:pt x="560140" y="191704"/>
                    <a:pt x="550551" y="187259"/>
                    <a:pt x="534334" y="187907"/>
                  </a:cubicBezTo>
                  <a:cubicBezTo>
                    <a:pt x="498558" y="189329"/>
                    <a:pt x="462694" y="188605"/>
                    <a:pt x="426867" y="188135"/>
                  </a:cubicBezTo>
                  <a:cubicBezTo>
                    <a:pt x="418981" y="188034"/>
                    <a:pt x="417342" y="190459"/>
                    <a:pt x="417584" y="197787"/>
                  </a:cubicBezTo>
                  <a:cubicBezTo>
                    <a:pt x="418130" y="214500"/>
                    <a:pt x="417762" y="231251"/>
                    <a:pt x="417762" y="248968"/>
                  </a:cubicBezTo>
                  <a:cubicBezTo>
                    <a:pt x="413405" y="245920"/>
                    <a:pt x="412097" y="241627"/>
                    <a:pt x="409951" y="238122"/>
                  </a:cubicBezTo>
                  <a:cubicBezTo>
                    <a:pt x="401214" y="223860"/>
                    <a:pt x="392514" y="209573"/>
                    <a:pt x="384272" y="195031"/>
                  </a:cubicBezTo>
                  <a:cubicBezTo>
                    <a:pt x="381288" y="189774"/>
                    <a:pt x="377732" y="187945"/>
                    <a:pt x="371750" y="188199"/>
                  </a:cubicBezTo>
                  <a:cubicBezTo>
                    <a:pt x="360536" y="188656"/>
                    <a:pt x="349271" y="188224"/>
                    <a:pt x="338032" y="188161"/>
                  </a:cubicBezTo>
                  <a:cubicBezTo>
                    <a:pt x="335873" y="183132"/>
                    <a:pt x="338248" y="178433"/>
                    <a:pt x="339403" y="173759"/>
                  </a:cubicBezTo>
                  <a:cubicBezTo>
                    <a:pt x="340877" y="167803"/>
                    <a:pt x="339251" y="164247"/>
                    <a:pt x="333180" y="162609"/>
                  </a:cubicBezTo>
                  <a:cubicBezTo>
                    <a:pt x="324379" y="160234"/>
                    <a:pt x="315591" y="157821"/>
                    <a:pt x="306765" y="155547"/>
                  </a:cubicBezTo>
                  <a:cubicBezTo>
                    <a:pt x="301177" y="154100"/>
                    <a:pt x="297900" y="155674"/>
                    <a:pt x="296059" y="161313"/>
                  </a:cubicBezTo>
                  <a:cubicBezTo>
                    <a:pt x="293392" y="169517"/>
                    <a:pt x="293150" y="169505"/>
                    <a:pt x="285188" y="166330"/>
                  </a:cubicBezTo>
                  <a:cubicBezTo>
                    <a:pt x="281835" y="164996"/>
                    <a:pt x="278431" y="163967"/>
                    <a:pt x="276031" y="167435"/>
                  </a:cubicBezTo>
                  <a:cubicBezTo>
                    <a:pt x="273402" y="171244"/>
                    <a:pt x="276641" y="173657"/>
                    <a:pt x="278990" y="176032"/>
                  </a:cubicBezTo>
                  <a:cubicBezTo>
                    <a:pt x="281378" y="178420"/>
                    <a:pt x="284527" y="180007"/>
                    <a:pt x="286572" y="182751"/>
                  </a:cubicBezTo>
                  <a:cubicBezTo>
                    <a:pt x="288706" y="185633"/>
                    <a:pt x="289569" y="188453"/>
                    <a:pt x="285086" y="190116"/>
                  </a:cubicBezTo>
                  <a:cubicBezTo>
                    <a:pt x="282000" y="190942"/>
                    <a:pt x="278876" y="190866"/>
                    <a:pt x="275752" y="190866"/>
                  </a:cubicBezTo>
                  <a:cubicBezTo>
                    <a:pt x="240116" y="190891"/>
                    <a:pt x="204480" y="190891"/>
                    <a:pt x="168844" y="190853"/>
                  </a:cubicBezTo>
                  <a:cubicBezTo>
                    <a:pt x="164983" y="190853"/>
                    <a:pt x="161008" y="191247"/>
                    <a:pt x="157440" y="189088"/>
                  </a:cubicBezTo>
                  <a:cubicBezTo>
                    <a:pt x="152906" y="181163"/>
                    <a:pt x="154849" y="172807"/>
                    <a:pt x="155814" y="164526"/>
                  </a:cubicBezTo>
                  <a:cubicBezTo>
                    <a:pt x="157021" y="161618"/>
                    <a:pt x="159853" y="160665"/>
                    <a:pt x="162291" y="159243"/>
                  </a:cubicBezTo>
                  <a:cubicBezTo>
                    <a:pt x="165060" y="157618"/>
                    <a:pt x="167244" y="155509"/>
                    <a:pt x="168362" y="152411"/>
                  </a:cubicBezTo>
                  <a:cubicBezTo>
                    <a:pt x="171765" y="143013"/>
                    <a:pt x="168895" y="138758"/>
                    <a:pt x="159040" y="138733"/>
                  </a:cubicBezTo>
                  <a:cubicBezTo>
                    <a:pt x="151776" y="138720"/>
                    <a:pt x="144486" y="138492"/>
                    <a:pt x="137234" y="138822"/>
                  </a:cubicBezTo>
                  <a:cubicBezTo>
                    <a:pt x="124191" y="139419"/>
                    <a:pt x="117791" y="145832"/>
                    <a:pt x="117156" y="158799"/>
                  </a:cubicBezTo>
                  <a:cubicBezTo>
                    <a:pt x="116927" y="163472"/>
                    <a:pt x="116978" y="168146"/>
                    <a:pt x="117334" y="172807"/>
                  </a:cubicBezTo>
                  <a:cubicBezTo>
                    <a:pt x="115632" y="178737"/>
                    <a:pt x="120902" y="182916"/>
                    <a:pt x="121271" y="188326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2" name="Free Form 1363">
              <a:extLst>
                <a:ext uri="{FF2B5EF4-FFF2-40B4-BE49-F238E27FC236}">
                  <a16:creationId xmlns:a16="http://schemas.microsoft.com/office/drawing/2014/main" id="{D34778DD-BADC-E36C-56FB-D10ADE39AD2E}"/>
                </a:ext>
              </a:extLst>
            </p:cNvPr>
            <p:cNvSpPr/>
            <p:nvPr/>
          </p:nvSpPr>
          <p:spPr>
            <a:xfrm>
              <a:off x="3766950" y="5010398"/>
              <a:ext cx="269705" cy="471753"/>
            </a:xfrm>
            <a:custGeom>
              <a:avLst/>
              <a:gdLst/>
              <a:ahLst/>
              <a:cxnLst/>
              <a:rect l="0" t="0" r="0" b="0"/>
              <a:pathLst>
                <a:path w="213903" h="343213">
                  <a:moveTo>
                    <a:pt x="188046" y="3314"/>
                  </a:moveTo>
                  <a:cubicBezTo>
                    <a:pt x="188135" y="17690"/>
                    <a:pt x="188275" y="32067"/>
                    <a:pt x="188288" y="46443"/>
                  </a:cubicBezTo>
                  <a:cubicBezTo>
                    <a:pt x="188313" y="134034"/>
                    <a:pt x="188351" y="221625"/>
                    <a:pt x="188161" y="309216"/>
                  </a:cubicBezTo>
                  <a:cubicBezTo>
                    <a:pt x="188148" y="314969"/>
                    <a:pt x="189697" y="319045"/>
                    <a:pt x="193939" y="322830"/>
                  </a:cubicBezTo>
                  <a:cubicBezTo>
                    <a:pt x="200314" y="328532"/>
                    <a:pt x="206233" y="334755"/>
                    <a:pt x="213903" y="342286"/>
                  </a:cubicBezTo>
                  <a:lnTo>
                    <a:pt x="205306" y="342286"/>
                  </a:lnTo>
                  <a:cubicBezTo>
                    <a:pt x="181252" y="342286"/>
                    <a:pt x="157198" y="342083"/>
                    <a:pt x="133145" y="342439"/>
                  </a:cubicBezTo>
                  <a:cubicBezTo>
                    <a:pt x="127049" y="342528"/>
                    <a:pt x="125360" y="340965"/>
                    <a:pt x="125385" y="334730"/>
                  </a:cubicBezTo>
                  <a:cubicBezTo>
                    <a:pt x="125601" y="252371"/>
                    <a:pt x="125398" y="170013"/>
                    <a:pt x="125728" y="87654"/>
                  </a:cubicBezTo>
                  <a:cubicBezTo>
                    <a:pt x="125766" y="79844"/>
                    <a:pt x="123595" y="77926"/>
                    <a:pt x="116229" y="78408"/>
                  </a:cubicBezTo>
                  <a:cubicBezTo>
                    <a:pt x="111428" y="78726"/>
                    <a:pt x="110679" y="80885"/>
                    <a:pt x="110425" y="84593"/>
                  </a:cubicBezTo>
                  <a:cubicBezTo>
                    <a:pt x="109447" y="98931"/>
                    <a:pt x="107669" y="113257"/>
                    <a:pt x="107580" y="127595"/>
                  </a:cubicBezTo>
                  <a:cubicBezTo>
                    <a:pt x="107364" y="165212"/>
                    <a:pt x="95871" y="200607"/>
                    <a:pt x="87184" y="236560"/>
                  </a:cubicBezTo>
                  <a:cubicBezTo>
                    <a:pt x="81164" y="261426"/>
                    <a:pt x="75030" y="286254"/>
                    <a:pt x="68515" y="310981"/>
                  </a:cubicBezTo>
                  <a:cubicBezTo>
                    <a:pt x="67245" y="315794"/>
                    <a:pt x="68096" y="318741"/>
                    <a:pt x="71576" y="321916"/>
                  </a:cubicBezTo>
                  <a:cubicBezTo>
                    <a:pt x="78129" y="327897"/>
                    <a:pt x="84390" y="334222"/>
                    <a:pt x="90486" y="340140"/>
                  </a:cubicBezTo>
                  <a:cubicBezTo>
                    <a:pt x="89686" y="343213"/>
                    <a:pt x="87768" y="342235"/>
                    <a:pt x="86473" y="342235"/>
                  </a:cubicBezTo>
                  <a:cubicBezTo>
                    <a:pt x="59803" y="342299"/>
                    <a:pt x="33133" y="342185"/>
                    <a:pt x="6476" y="342375"/>
                  </a:cubicBezTo>
                  <a:cubicBezTo>
                    <a:pt x="1396" y="342413"/>
                    <a:pt x="0" y="341689"/>
                    <a:pt x="1168" y="335987"/>
                  </a:cubicBezTo>
                  <a:cubicBezTo>
                    <a:pt x="13258" y="276666"/>
                    <a:pt x="25247" y="217320"/>
                    <a:pt x="36613" y="157859"/>
                  </a:cubicBezTo>
                  <a:cubicBezTo>
                    <a:pt x="39153" y="144587"/>
                    <a:pt x="39369" y="130859"/>
                    <a:pt x="40309" y="117321"/>
                  </a:cubicBezTo>
                  <a:cubicBezTo>
                    <a:pt x="42303" y="88645"/>
                    <a:pt x="44055" y="59956"/>
                    <a:pt x="45910" y="31267"/>
                  </a:cubicBezTo>
                  <a:cubicBezTo>
                    <a:pt x="46837" y="26657"/>
                    <a:pt x="48945" y="28447"/>
                    <a:pt x="51218" y="30200"/>
                  </a:cubicBezTo>
                  <a:cubicBezTo>
                    <a:pt x="59117" y="36283"/>
                    <a:pt x="65670" y="43763"/>
                    <a:pt x="72732" y="50710"/>
                  </a:cubicBezTo>
                  <a:cubicBezTo>
                    <a:pt x="85444" y="63207"/>
                    <a:pt x="83387" y="63766"/>
                    <a:pt x="96760" y="50774"/>
                  </a:cubicBezTo>
                  <a:cubicBezTo>
                    <a:pt x="104367" y="43370"/>
                    <a:pt x="110819" y="34670"/>
                    <a:pt x="120102" y="29044"/>
                  </a:cubicBezTo>
                  <a:cubicBezTo>
                    <a:pt x="125106" y="29019"/>
                    <a:pt x="126160" y="34200"/>
                    <a:pt x="129678" y="36588"/>
                  </a:cubicBezTo>
                  <a:cubicBezTo>
                    <a:pt x="136625" y="28714"/>
                    <a:pt x="142390" y="20738"/>
                    <a:pt x="140930" y="9512"/>
                  </a:cubicBezTo>
                  <a:cubicBezTo>
                    <a:pt x="140536" y="6515"/>
                    <a:pt x="140917" y="3124"/>
                    <a:pt x="144676" y="1714"/>
                  </a:cubicBezTo>
                  <a:cubicBezTo>
                    <a:pt x="157249" y="0"/>
                    <a:pt x="169860" y="1015"/>
                    <a:pt x="182458" y="1079"/>
                  </a:cubicBezTo>
                  <a:cubicBezTo>
                    <a:pt x="184529" y="1092"/>
                    <a:pt x="186522" y="1714"/>
                    <a:pt x="188046" y="3314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3" name="Free Form 1364">
              <a:extLst>
                <a:ext uri="{FF2B5EF4-FFF2-40B4-BE49-F238E27FC236}">
                  <a16:creationId xmlns:a16="http://schemas.microsoft.com/office/drawing/2014/main" id="{B3D27AE9-87C4-17F0-71CC-6A539DA2C630}"/>
                </a:ext>
              </a:extLst>
            </p:cNvPr>
            <p:cNvSpPr/>
            <p:nvPr/>
          </p:nvSpPr>
          <p:spPr>
            <a:xfrm>
              <a:off x="3931835" y="4737768"/>
              <a:ext cx="250072" cy="277291"/>
            </a:xfrm>
            <a:custGeom>
              <a:avLst/>
              <a:gdLst/>
              <a:ahLst/>
              <a:cxnLst/>
              <a:rect l="0" t="0" r="0" b="0"/>
              <a:pathLst>
                <a:path w="198333" h="201737">
                  <a:moveTo>
                    <a:pt x="57276" y="201661"/>
                  </a:moveTo>
                  <a:cubicBezTo>
                    <a:pt x="42176" y="201686"/>
                    <a:pt x="27088" y="201711"/>
                    <a:pt x="11988" y="201737"/>
                  </a:cubicBezTo>
                  <a:cubicBezTo>
                    <a:pt x="6946" y="200314"/>
                    <a:pt x="8318" y="195946"/>
                    <a:pt x="8216" y="192656"/>
                  </a:cubicBezTo>
                  <a:cubicBezTo>
                    <a:pt x="7797" y="177785"/>
                    <a:pt x="7251" y="162888"/>
                    <a:pt x="6972" y="148042"/>
                  </a:cubicBezTo>
                  <a:cubicBezTo>
                    <a:pt x="6527" y="124268"/>
                    <a:pt x="4254" y="100557"/>
                    <a:pt x="4952" y="76770"/>
                  </a:cubicBezTo>
                  <a:cubicBezTo>
                    <a:pt x="5118" y="71525"/>
                    <a:pt x="4584" y="66331"/>
                    <a:pt x="3835" y="61149"/>
                  </a:cubicBezTo>
                  <a:cubicBezTo>
                    <a:pt x="3098" y="56158"/>
                    <a:pt x="3251" y="51116"/>
                    <a:pt x="5587" y="46557"/>
                  </a:cubicBezTo>
                  <a:cubicBezTo>
                    <a:pt x="8280" y="41287"/>
                    <a:pt x="8140" y="36702"/>
                    <a:pt x="3873" y="32270"/>
                  </a:cubicBezTo>
                  <a:cubicBezTo>
                    <a:pt x="1892" y="30225"/>
                    <a:pt x="368" y="27698"/>
                    <a:pt x="0" y="24713"/>
                  </a:cubicBezTo>
                  <a:cubicBezTo>
                    <a:pt x="1562" y="17906"/>
                    <a:pt x="6819" y="14731"/>
                    <a:pt x="12522" y="11975"/>
                  </a:cubicBezTo>
                  <a:cubicBezTo>
                    <a:pt x="34137" y="10477"/>
                    <a:pt x="55803" y="10642"/>
                    <a:pt x="77405" y="11798"/>
                  </a:cubicBezTo>
                  <a:cubicBezTo>
                    <a:pt x="89419" y="12445"/>
                    <a:pt x="98233" y="19329"/>
                    <a:pt x="103681" y="30263"/>
                  </a:cubicBezTo>
                  <a:cubicBezTo>
                    <a:pt x="112063" y="47052"/>
                    <a:pt x="120420" y="63854"/>
                    <a:pt x="128929" y="80682"/>
                  </a:cubicBezTo>
                  <a:cubicBezTo>
                    <a:pt x="131710" y="79374"/>
                    <a:pt x="131202" y="76961"/>
                    <a:pt x="131621" y="75132"/>
                  </a:cubicBezTo>
                  <a:cubicBezTo>
                    <a:pt x="136675" y="53263"/>
                    <a:pt x="141616" y="31381"/>
                    <a:pt x="146658" y="9499"/>
                  </a:cubicBezTo>
                  <a:cubicBezTo>
                    <a:pt x="147458" y="6045"/>
                    <a:pt x="147420" y="2082"/>
                    <a:pt x="151204" y="0"/>
                  </a:cubicBezTo>
                  <a:cubicBezTo>
                    <a:pt x="167257" y="3340"/>
                    <a:pt x="183678" y="5422"/>
                    <a:pt x="198333" y="13588"/>
                  </a:cubicBezTo>
                  <a:cubicBezTo>
                    <a:pt x="193723" y="35572"/>
                    <a:pt x="189100" y="57555"/>
                    <a:pt x="184490" y="79539"/>
                  </a:cubicBezTo>
                  <a:cubicBezTo>
                    <a:pt x="181569" y="84923"/>
                    <a:pt x="175867" y="84822"/>
                    <a:pt x="171016" y="86117"/>
                  </a:cubicBezTo>
                  <a:cubicBezTo>
                    <a:pt x="155395" y="90308"/>
                    <a:pt x="153985" y="91959"/>
                    <a:pt x="153947" y="107999"/>
                  </a:cubicBezTo>
                  <a:cubicBezTo>
                    <a:pt x="153922" y="117346"/>
                    <a:pt x="154023" y="126681"/>
                    <a:pt x="153896" y="136028"/>
                  </a:cubicBezTo>
                  <a:cubicBezTo>
                    <a:pt x="153858" y="139330"/>
                    <a:pt x="154417" y="142860"/>
                    <a:pt x="151598" y="145527"/>
                  </a:cubicBezTo>
                  <a:cubicBezTo>
                    <a:pt x="122261" y="159091"/>
                    <a:pt x="93674" y="148182"/>
                    <a:pt x="80948" y="118553"/>
                  </a:cubicBezTo>
                  <a:cubicBezTo>
                    <a:pt x="77164" y="109739"/>
                    <a:pt x="73519" y="100862"/>
                    <a:pt x="69798" y="92023"/>
                  </a:cubicBezTo>
                  <a:cubicBezTo>
                    <a:pt x="67537" y="89978"/>
                    <a:pt x="67893" y="92747"/>
                    <a:pt x="67144" y="93471"/>
                  </a:cubicBezTo>
                  <a:cubicBezTo>
                    <a:pt x="63854" y="129525"/>
                    <a:pt x="60565" y="165593"/>
                    <a:pt x="57276" y="201661"/>
                  </a:cubicBezTo>
                  <a:close/>
                </a:path>
              </a:pathLst>
            </a:custGeom>
            <a:solidFill>
              <a:srgbClr val="2FAAA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4" name="Free Form 1365">
              <a:extLst>
                <a:ext uri="{FF2B5EF4-FFF2-40B4-BE49-F238E27FC236}">
                  <a16:creationId xmlns:a16="http://schemas.microsoft.com/office/drawing/2014/main" id="{59522BB1-5716-F367-B93B-77D5DC6CD33B}"/>
                </a:ext>
              </a:extLst>
            </p:cNvPr>
            <p:cNvSpPr/>
            <p:nvPr/>
          </p:nvSpPr>
          <p:spPr>
            <a:xfrm>
              <a:off x="4401815" y="5121882"/>
              <a:ext cx="252395" cy="359179"/>
            </a:xfrm>
            <a:custGeom>
              <a:avLst/>
              <a:gdLst/>
              <a:ahLst/>
              <a:cxnLst/>
              <a:rect l="0" t="0" r="0" b="0"/>
              <a:pathLst>
                <a:path w="200175" h="261312">
                  <a:moveTo>
                    <a:pt x="198956" y="19875"/>
                  </a:moveTo>
                  <a:cubicBezTo>
                    <a:pt x="199095" y="30301"/>
                    <a:pt x="200175" y="40817"/>
                    <a:pt x="199159" y="51116"/>
                  </a:cubicBezTo>
                  <a:cubicBezTo>
                    <a:pt x="197343" y="69557"/>
                    <a:pt x="185989" y="80352"/>
                    <a:pt x="168489" y="85152"/>
                  </a:cubicBezTo>
                  <a:cubicBezTo>
                    <a:pt x="165466" y="88543"/>
                    <a:pt x="161351" y="87819"/>
                    <a:pt x="157554" y="87844"/>
                  </a:cubicBezTo>
                  <a:cubicBezTo>
                    <a:pt x="138072" y="87959"/>
                    <a:pt x="118591" y="87819"/>
                    <a:pt x="99109" y="87921"/>
                  </a:cubicBezTo>
                  <a:cubicBezTo>
                    <a:pt x="89686" y="87971"/>
                    <a:pt x="89114" y="88683"/>
                    <a:pt x="88987" y="98258"/>
                  </a:cubicBezTo>
                  <a:cubicBezTo>
                    <a:pt x="88924" y="102411"/>
                    <a:pt x="89089" y="106564"/>
                    <a:pt x="88822" y="110717"/>
                  </a:cubicBezTo>
                  <a:cubicBezTo>
                    <a:pt x="89127" y="141819"/>
                    <a:pt x="89216" y="172908"/>
                    <a:pt x="88810" y="203997"/>
                  </a:cubicBezTo>
                  <a:cubicBezTo>
                    <a:pt x="88708" y="208506"/>
                    <a:pt x="89775" y="213205"/>
                    <a:pt x="86740" y="217256"/>
                  </a:cubicBezTo>
                  <a:cubicBezTo>
                    <a:pt x="86663" y="230032"/>
                    <a:pt x="86486" y="242821"/>
                    <a:pt x="86549" y="255610"/>
                  </a:cubicBezTo>
                  <a:cubicBezTo>
                    <a:pt x="86574" y="259242"/>
                    <a:pt x="86168" y="261312"/>
                    <a:pt x="81609" y="261274"/>
                  </a:cubicBezTo>
                  <a:cubicBezTo>
                    <a:pt x="54482" y="260982"/>
                    <a:pt x="27342" y="260982"/>
                    <a:pt x="203" y="260880"/>
                  </a:cubicBezTo>
                  <a:cubicBezTo>
                    <a:pt x="0" y="255648"/>
                    <a:pt x="3975" y="252778"/>
                    <a:pt x="7289" y="250250"/>
                  </a:cubicBezTo>
                  <a:cubicBezTo>
                    <a:pt x="18998" y="241310"/>
                    <a:pt x="22008" y="229905"/>
                    <a:pt x="21742" y="215402"/>
                  </a:cubicBezTo>
                  <a:cubicBezTo>
                    <a:pt x="20891" y="168628"/>
                    <a:pt x="21399" y="121829"/>
                    <a:pt x="21437" y="75043"/>
                  </a:cubicBezTo>
                  <a:cubicBezTo>
                    <a:pt x="21450" y="45465"/>
                    <a:pt x="34149" y="28917"/>
                    <a:pt x="62673" y="21132"/>
                  </a:cubicBezTo>
                  <a:cubicBezTo>
                    <a:pt x="64502" y="20599"/>
                    <a:pt x="66369" y="20535"/>
                    <a:pt x="68249" y="20446"/>
                  </a:cubicBezTo>
                  <a:cubicBezTo>
                    <a:pt x="80250" y="20027"/>
                    <a:pt x="92251" y="20408"/>
                    <a:pt x="104253" y="20243"/>
                  </a:cubicBezTo>
                  <a:cubicBezTo>
                    <a:pt x="113143" y="20116"/>
                    <a:pt x="113282" y="19964"/>
                    <a:pt x="113968" y="11074"/>
                  </a:cubicBezTo>
                  <a:cubicBezTo>
                    <a:pt x="114171" y="8470"/>
                    <a:pt x="114184" y="5829"/>
                    <a:pt x="115848" y="3594"/>
                  </a:cubicBezTo>
                  <a:cubicBezTo>
                    <a:pt x="121232" y="0"/>
                    <a:pt x="127227" y="2044"/>
                    <a:pt x="132980" y="1752"/>
                  </a:cubicBezTo>
                  <a:cubicBezTo>
                    <a:pt x="136510" y="2184"/>
                    <a:pt x="139558" y="3403"/>
                    <a:pt x="141222" y="6845"/>
                  </a:cubicBezTo>
                  <a:cubicBezTo>
                    <a:pt x="143622" y="20319"/>
                    <a:pt x="143622" y="20332"/>
                    <a:pt x="158189" y="20319"/>
                  </a:cubicBezTo>
                  <a:cubicBezTo>
                    <a:pt x="163891" y="20307"/>
                    <a:pt x="169593" y="20586"/>
                    <a:pt x="175308" y="20408"/>
                  </a:cubicBezTo>
                  <a:cubicBezTo>
                    <a:pt x="183208" y="21246"/>
                    <a:pt x="191056" y="19049"/>
                    <a:pt x="198956" y="19875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5" name="Free Form 1366">
              <a:extLst>
                <a:ext uri="{FF2B5EF4-FFF2-40B4-BE49-F238E27FC236}">
                  <a16:creationId xmlns:a16="http://schemas.microsoft.com/office/drawing/2014/main" id="{DBC15A63-3E3C-D133-41E1-0F1743A0AD2D}"/>
                </a:ext>
              </a:extLst>
            </p:cNvPr>
            <p:cNvSpPr/>
            <p:nvPr/>
          </p:nvSpPr>
          <p:spPr>
            <a:xfrm>
              <a:off x="3737134" y="4755892"/>
              <a:ext cx="195598" cy="288516"/>
            </a:xfrm>
            <a:custGeom>
              <a:avLst/>
              <a:gdLst/>
              <a:ahLst/>
              <a:cxnLst/>
              <a:rect l="0" t="0" r="0" b="0"/>
              <a:pathLst>
                <a:path w="155128" h="209903">
                  <a:moveTo>
                    <a:pt x="67461" y="209331"/>
                  </a:moveTo>
                  <a:cubicBezTo>
                    <a:pt x="48284" y="192009"/>
                    <a:pt x="29730" y="173988"/>
                    <a:pt x="12737" y="154570"/>
                  </a:cubicBezTo>
                  <a:cubicBezTo>
                    <a:pt x="1866" y="142136"/>
                    <a:pt x="0" y="126554"/>
                    <a:pt x="5410" y="110996"/>
                  </a:cubicBezTo>
                  <a:cubicBezTo>
                    <a:pt x="15417" y="82193"/>
                    <a:pt x="25818" y="53517"/>
                    <a:pt x="36664" y="25018"/>
                  </a:cubicBezTo>
                  <a:cubicBezTo>
                    <a:pt x="42862" y="8750"/>
                    <a:pt x="55460" y="368"/>
                    <a:pt x="72948" y="215"/>
                  </a:cubicBezTo>
                  <a:cubicBezTo>
                    <a:pt x="96188" y="0"/>
                    <a:pt x="119442" y="152"/>
                    <a:pt x="142682" y="139"/>
                  </a:cubicBezTo>
                  <a:cubicBezTo>
                    <a:pt x="148105" y="2514"/>
                    <a:pt x="153642" y="4762"/>
                    <a:pt x="154570" y="11760"/>
                  </a:cubicBezTo>
                  <a:cubicBezTo>
                    <a:pt x="154150" y="12712"/>
                    <a:pt x="155128" y="11798"/>
                    <a:pt x="154430" y="12509"/>
                  </a:cubicBezTo>
                  <a:cubicBezTo>
                    <a:pt x="146137" y="20967"/>
                    <a:pt x="147166" y="30682"/>
                    <a:pt x="147801" y="41769"/>
                  </a:cubicBezTo>
                  <a:cubicBezTo>
                    <a:pt x="149248" y="67029"/>
                    <a:pt x="147039" y="92391"/>
                    <a:pt x="145553" y="117689"/>
                  </a:cubicBezTo>
                  <a:cubicBezTo>
                    <a:pt x="145007" y="127100"/>
                    <a:pt x="145286" y="136510"/>
                    <a:pt x="145261" y="145921"/>
                  </a:cubicBezTo>
                  <a:cubicBezTo>
                    <a:pt x="145210" y="157427"/>
                    <a:pt x="143533" y="168819"/>
                    <a:pt x="142886" y="180274"/>
                  </a:cubicBezTo>
                  <a:cubicBezTo>
                    <a:pt x="137526" y="185481"/>
                    <a:pt x="130541" y="187564"/>
                    <a:pt x="123722" y="189786"/>
                  </a:cubicBezTo>
                  <a:cubicBezTo>
                    <a:pt x="120496" y="190840"/>
                    <a:pt x="117651" y="188719"/>
                    <a:pt x="115403" y="186395"/>
                  </a:cubicBezTo>
                  <a:cubicBezTo>
                    <a:pt x="112000" y="182865"/>
                    <a:pt x="107694" y="180058"/>
                    <a:pt x="105904" y="175156"/>
                  </a:cubicBezTo>
                  <a:cubicBezTo>
                    <a:pt x="108012" y="169632"/>
                    <a:pt x="106081" y="165568"/>
                    <a:pt x="101852" y="161720"/>
                  </a:cubicBezTo>
                  <a:cubicBezTo>
                    <a:pt x="93686" y="154277"/>
                    <a:pt x="86524" y="145616"/>
                    <a:pt x="75729" y="141578"/>
                  </a:cubicBezTo>
                  <a:cubicBezTo>
                    <a:pt x="74802" y="141235"/>
                    <a:pt x="74383" y="140054"/>
                    <a:pt x="73887" y="139114"/>
                  </a:cubicBezTo>
                  <a:cubicBezTo>
                    <a:pt x="71766" y="126604"/>
                    <a:pt x="75081" y="114286"/>
                    <a:pt x="75208" y="101852"/>
                  </a:cubicBezTo>
                  <a:cubicBezTo>
                    <a:pt x="75272" y="95439"/>
                    <a:pt x="75945" y="88899"/>
                    <a:pt x="76656" y="82460"/>
                  </a:cubicBezTo>
                  <a:cubicBezTo>
                    <a:pt x="77469" y="79107"/>
                    <a:pt x="78332" y="75754"/>
                    <a:pt x="78574" y="72274"/>
                  </a:cubicBezTo>
                  <a:cubicBezTo>
                    <a:pt x="78612" y="71779"/>
                    <a:pt x="78650" y="71284"/>
                    <a:pt x="78764" y="70814"/>
                  </a:cubicBezTo>
                  <a:cubicBezTo>
                    <a:pt x="78358" y="71093"/>
                    <a:pt x="78637" y="71525"/>
                    <a:pt x="78497" y="71932"/>
                  </a:cubicBezTo>
                  <a:cubicBezTo>
                    <a:pt x="74814" y="86879"/>
                    <a:pt x="68757" y="100989"/>
                    <a:pt x="63677" y="115403"/>
                  </a:cubicBezTo>
                  <a:cubicBezTo>
                    <a:pt x="60959" y="123112"/>
                    <a:pt x="61429" y="128763"/>
                    <a:pt x="68109" y="133754"/>
                  </a:cubicBezTo>
                  <a:cubicBezTo>
                    <a:pt x="70789" y="135748"/>
                    <a:pt x="73049" y="138339"/>
                    <a:pt x="75068" y="141057"/>
                  </a:cubicBezTo>
                  <a:cubicBezTo>
                    <a:pt x="75526" y="152322"/>
                    <a:pt x="84314" y="157795"/>
                    <a:pt x="91439" y="164336"/>
                  </a:cubicBezTo>
                  <a:cubicBezTo>
                    <a:pt x="95642" y="168197"/>
                    <a:pt x="100544" y="171283"/>
                    <a:pt x="104100" y="175855"/>
                  </a:cubicBezTo>
                  <a:cubicBezTo>
                    <a:pt x="103072" y="180630"/>
                    <a:pt x="98512" y="182420"/>
                    <a:pt x="95693" y="185684"/>
                  </a:cubicBezTo>
                  <a:cubicBezTo>
                    <a:pt x="88860" y="193571"/>
                    <a:pt x="79945" y="199248"/>
                    <a:pt x="72859" y="206893"/>
                  </a:cubicBezTo>
                  <a:cubicBezTo>
                    <a:pt x="71474" y="208379"/>
                    <a:pt x="69887" y="209903"/>
                    <a:pt x="67461" y="209331"/>
                  </a:cubicBezTo>
                  <a:close/>
                </a:path>
              </a:pathLst>
            </a:custGeom>
            <a:solidFill>
              <a:srgbClr val="2FAAA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6" name="Free Form 1367">
              <a:extLst>
                <a:ext uri="{FF2B5EF4-FFF2-40B4-BE49-F238E27FC236}">
                  <a16:creationId xmlns:a16="http://schemas.microsoft.com/office/drawing/2014/main" id="{BC2D80FB-38D7-909B-8018-97DA33F62A4C}"/>
                </a:ext>
              </a:extLst>
            </p:cNvPr>
            <p:cNvSpPr/>
            <p:nvPr/>
          </p:nvSpPr>
          <p:spPr>
            <a:xfrm>
              <a:off x="4163821" y="5148567"/>
              <a:ext cx="233516" cy="332418"/>
            </a:xfrm>
            <a:custGeom>
              <a:avLst/>
              <a:gdLst/>
              <a:ahLst/>
              <a:cxnLst/>
              <a:rect l="0" t="0" r="0" b="0"/>
              <a:pathLst>
                <a:path w="185202" h="241843">
                  <a:moveTo>
                    <a:pt x="87171" y="197838"/>
                  </a:moveTo>
                  <a:cubicBezTo>
                    <a:pt x="87095" y="210639"/>
                    <a:pt x="86994" y="223428"/>
                    <a:pt x="86968" y="236230"/>
                  </a:cubicBezTo>
                  <a:cubicBezTo>
                    <a:pt x="86955" y="239240"/>
                    <a:pt x="87159" y="241843"/>
                    <a:pt x="82714" y="241818"/>
                  </a:cubicBezTo>
                  <a:cubicBezTo>
                    <a:pt x="55650" y="241691"/>
                    <a:pt x="28574" y="241754"/>
                    <a:pt x="1511" y="241754"/>
                  </a:cubicBezTo>
                  <a:cubicBezTo>
                    <a:pt x="1015" y="241043"/>
                    <a:pt x="507" y="240319"/>
                    <a:pt x="0" y="239608"/>
                  </a:cubicBezTo>
                  <a:cubicBezTo>
                    <a:pt x="6769" y="233309"/>
                    <a:pt x="13474" y="226959"/>
                    <a:pt x="20307" y="220736"/>
                  </a:cubicBezTo>
                  <a:cubicBezTo>
                    <a:pt x="22974" y="218310"/>
                    <a:pt x="24269" y="215681"/>
                    <a:pt x="24256" y="211897"/>
                  </a:cubicBezTo>
                  <a:cubicBezTo>
                    <a:pt x="24142" y="165669"/>
                    <a:pt x="24180" y="119429"/>
                    <a:pt x="24167" y="73189"/>
                  </a:cubicBezTo>
                  <a:cubicBezTo>
                    <a:pt x="24167" y="71411"/>
                    <a:pt x="24586" y="69480"/>
                    <a:pt x="22872" y="68109"/>
                  </a:cubicBezTo>
                  <a:cubicBezTo>
                    <a:pt x="18160" y="36893"/>
                    <a:pt x="29362" y="8508"/>
                    <a:pt x="64248" y="1574"/>
                  </a:cubicBezTo>
                  <a:cubicBezTo>
                    <a:pt x="67956" y="800"/>
                    <a:pt x="71703" y="927"/>
                    <a:pt x="75462" y="952"/>
                  </a:cubicBezTo>
                  <a:cubicBezTo>
                    <a:pt x="110082" y="876"/>
                    <a:pt x="144702" y="0"/>
                    <a:pt x="179309" y="1371"/>
                  </a:cubicBezTo>
                  <a:cubicBezTo>
                    <a:pt x="181188" y="1828"/>
                    <a:pt x="182852" y="2654"/>
                    <a:pt x="184135" y="4140"/>
                  </a:cubicBezTo>
                  <a:cubicBezTo>
                    <a:pt x="185202" y="7658"/>
                    <a:pt x="182128" y="7861"/>
                    <a:pt x="180223" y="8661"/>
                  </a:cubicBezTo>
                  <a:cubicBezTo>
                    <a:pt x="160310" y="17081"/>
                    <a:pt x="152207" y="32841"/>
                    <a:pt x="151763" y="53618"/>
                  </a:cubicBezTo>
                  <a:cubicBezTo>
                    <a:pt x="151661" y="58305"/>
                    <a:pt x="153401" y="63626"/>
                    <a:pt x="148588" y="67309"/>
                  </a:cubicBezTo>
                  <a:cubicBezTo>
                    <a:pt x="134821" y="69671"/>
                    <a:pt x="120966" y="68109"/>
                    <a:pt x="107148" y="68363"/>
                  </a:cubicBezTo>
                  <a:cubicBezTo>
                    <a:pt x="87349" y="68731"/>
                    <a:pt x="89508" y="66813"/>
                    <a:pt x="89407" y="86066"/>
                  </a:cubicBezTo>
                  <a:cubicBezTo>
                    <a:pt x="89394" y="87895"/>
                    <a:pt x="89229" y="89724"/>
                    <a:pt x="89267" y="91553"/>
                  </a:cubicBezTo>
                  <a:cubicBezTo>
                    <a:pt x="89584" y="122579"/>
                    <a:pt x="89648" y="153592"/>
                    <a:pt x="89254" y="184592"/>
                  </a:cubicBezTo>
                  <a:cubicBezTo>
                    <a:pt x="89165" y="189100"/>
                    <a:pt x="90219" y="193799"/>
                    <a:pt x="87171" y="197838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7" name="Free Form 1368">
              <a:extLst>
                <a:ext uri="{FF2B5EF4-FFF2-40B4-BE49-F238E27FC236}">
                  <a16:creationId xmlns:a16="http://schemas.microsoft.com/office/drawing/2014/main" id="{159423ED-4B41-D768-6B6D-0B676D91F9CB}"/>
                </a:ext>
              </a:extLst>
            </p:cNvPr>
            <p:cNvSpPr/>
            <p:nvPr/>
          </p:nvSpPr>
          <p:spPr>
            <a:xfrm>
              <a:off x="4199546" y="4941228"/>
              <a:ext cx="259841" cy="172171"/>
            </a:xfrm>
            <a:custGeom>
              <a:avLst/>
              <a:gdLst/>
              <a:ahLst/>
              <a:cxnLst/>
              <a:rect l="0" t="0" r="0" b="0"/>
              <a:pathLst>
                <a:path w="206080" h="125258">
                  <a:moveTo>
                    <a:pt x="0" y="58406"/>
                  </a:moveTo>
                  <a:cubicBezTo>
                    <a:pt x="5067" y="48132"/>
                    <a:pt x="9613" y="37566"/>
                    <a:pt x="15316" y="27660"/>
                  </a:cubicBezTo>
                  <a:cubicBezTo>
                    <a:pt x="24129" y="12331"/>
                    <a:pt x="37782" y="4190"/>
                    <a:pt x="55574" y="3454"/>
                  </a:cubicBezTo>
                  <a:cubicBezTo>
                    <a:pt x="61302" y="3213"/>
                    <a:pt x="67042" y="3276"/>
                    <a:pt x="72770" y="3200"/>
                  </a:cubicBezTo>
                  <a:cubicBezTo>
                    <a:pt x="76084" y="787"/>
                    <a:pt x="79590" y="939"/>
                    <a:pt x="83184" y="2438"/>
                  </a:cubicBezTo>
                  <a:cubicBezTo>
                    <a:pt x="87451" y="6769"/>
                    <a:pt x="85368" y="12318"/>
                    <a:pt x="85952" y="17335"/>
                  </a:cubicBezTo>
                  <a:cubicBezTo>
                    <a:pt x="87171" y="27749"/>
                    <a:pt x="93699" y="35750"/>
                    <a:pt x="103364" y="38175"/>
                  </a:cubicBezTo>
                  <a:cubicBezTo>
                    <a:pt x="112431" y="40449"/>
                    <a:pt x="121905" y="36867"/>
                    <a:pt x="127519" y="29057"/>
                  </a:cubicBezTo>
                  <a:cubicBezTo>
                    <a:pt x="130884" y="24396"/>
                    <a:pt x="131697" y="19062"/>
                    <a:pt x="131862" y="13474"/>
                  </a:cubicBezTo>
                  <a:cubicBezTo>
                    <a:pt x="131964" y="9677"/>
                    <a:pt x="130961" y="5511"/>
                    <a:pt x="134440" y="2451"/>
                  </a:cubicBezTo>
                  <a:cubicBezTo>
                    <a:pt x="150988" y="0"/>
                    <a:pt x="167663" y="38"/>
                    <a:pt x="184084" y="2273"/>
                  </a:cubicBezTo>
                  <a:cubicBezTo>
                    <a:pt x="195374" y="3797"/>
                    <a:pt x="201864" y="12268"/>
                    <a:pt x="204772" y="23228"/>
                  </a:cubicBezTo>
                  <a:cubicBezTo>
                    <a:pt x="206080" y="44220"/>
                    <a:pt x="205598" y="65239"/>
                    <a:pt x="205039" y="86244"/>
                  </a:cubicBezTo>
                  <a:cubicBezTo>
                    <a:pt x="204988" y="88086"/>
                    <a:pt x="204544" y="89838"/>
                    <a:pt x="203337" y="91324"/>
                  </a:cubicBezTo>
                  <a:cubicBezTo>
                    <a:pt x="202372" y="92239"/>
                    <a:pt x="201229" y="93026"/>
                    <a:pt x="199921" y="93102"/>
                  </a:cubicBezTo>
                  <a:cubicBezTo>
                    <a:pt x="185608" y="93864"/>
                    <a:pt x="171283" y="94969"/>
                    <a:pt x="157033" y="92480"/>
                  </a:cubicBezTo>
                  <a:cubicBezTo>
                    <a:pt x="155293" y="91604"/>
                    <a:pt x="155344" y="90054"/>
                    <a:pt x="155636" y="88467"/>
                  </a:cubicBezTo>
                  <a:cubicBezTo>
                    <a:pt x="157910" y="75780"/>
                    <a:pt x="156309" y="62978"/>
                    <a:pt x="156729" y="50240"/>
                  </a:cubicBezTo>
                  <a:cubicBezTo>
                    <a:pt x="156779" y="48678"/>
                    <a:pt x="156652" y="47116"/>
                    <a:pt x="156284" y="45579"/>
                  </a:cubicBezTo>
                  <a:cubicBezTo>
                    <a:pt x="155852" y="43725"/>
                    <a:pt x="155128" y="41871"/>
                    <a:pt x="153007" y="41731"/>
                  </a:cubicBezTo>
                  <a:cubicBezTo>
                    <a:pt x="150328" y="41541"/>
                    <a:pt x="149350" y="43738"/>
                    <a:pt x="149223" y="45846"/>
                  </a:cubicBezTo>
                  <a:cubicBezTo>
                    <a:pt x="148486" y="58584"/>
                    <a:pt x="148334" y="71347"/>
                    <a:pt x="149312" y="84085"/>
                  </a:cubicBezTo>
                  <a:cubicBezTo>
                    <a:pt x="149553" y="87375"/>
                    <a:pt x="152741" y="89229"/>
                    <a:pt x="154074" y="92061"/>
                  </a:cubicBezTo>
                  <a:cubicBezTo>
                    <a:pt x="155370" y="102500"/>
                    <a:pt x="157071" y="112952"/>
                    <a:pt x="152969" y="123201"/>
                  </a:cubicBezTo>
                  <a:cubicBezTo>
                    <a:pt x="150264" y="125144"/>
                    <a:pt x="147102" y="125169"/>
                    <a:pt x="143991" y="125182"/>
                  </a:cubicBezTo>
                  <a:cubicBezTo>
                    <a:pt x="114362" y="125258"/>
                    <a:pt x="84733" y="125258"/>
                    <a:pt x="55117" y="125182"/>
                  </a:cubicBezTo>
                  <a:cubicBezTo>
                    <a:pt x="52513" y="125182"/>
                    <a:pt x="49910" y="125080"/>
                    <a:pt x="47459" y="124115"/>
                  </a:cubicBezTo>
                  <a:cubicBezTo>
                    <a:pt x="43179" y="121728"/>
                    <a:pt x="43941" y="117473"/>
                    <a:pt x="43903" y="113689"/>
                  </a:cubicBezTo>
                  <a:cubicBezTo>
                    <a:pt x="43763" y="101560"/>
                    <a:pt x="43789" y="89419"/>
                    <a:pt x="43903" y="76046"/>
                  </a:cubicBezTo>
                  <a:cubicBezTo>
                    <a:pt x="42836" y="78510"/>
                    <a:pt x="42023" y="79513"/>
                    <a:pt x="41033" y="80390"/>
                  </a:cubicBezTo>
                  <a:cubicBezTo>
                    <a:pt x="38302" y="82371"/>
                    <a:pt x="35635" y="81596"/>
                    <a:pt x="33019" y="80186"/>
                  </a:cubicBezTo>
                  <a:cubicBezTo>
                    <a:pt x="23228" y="74903"/>
                    <a:pt x="13690" y="69150"/>
                    <a:pt x="3975" y="63715"/>
                  </a:cubicBezTo>
                  <a:cubicBezTo>
                    <a:pt x="1892" y="62546"/>
                    <a:pt x="76" y="61111"/>
                    <a:pt x="0" y="58406"/>
                  </a:cubicBezTo>
                  <a:close/>
                </a:path>
              </a:pathLst>
            </a:custGeom>
            <a:solidFill>
              <a:srgbClr val="E78C4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8" name="Free Form 1369">
              <a:extLst>
                <a:ext uri="{FF2B5EF4-FFF2-40B4-BE49-F238E27FC236}">
                  <a16:creationId xmlns:a16="http://schemas.microsoft.com/office/drawing/2014/main" id="{11FC60AE-01E7-CE0F-A88A-FDA374CD31CD}"/>
                </a:ext>
              </a:extLst>
            </p:cNvPr>
            <p:cNvSpPr/>
            <p:nvPr/>
          </p:nvSpPr>
          <p:spPr>
            <a:xfrm>
              <a:off x="4320210" y="5146691"/>
              <a:ext cx="160945" cy="333779"/>
            </a:xfrm>
            <a:custGeom>
              <a:avLst/>
              <a:gdLst/>
              <a:ahLst/>
              <a:cxnLst/>
              <a:rect l="0" t="0" r="0" b="0"/>
              <a:pathLst>
                <a:path w="127646" h="242834">
                  <a:moveTo>
                    <a:pt x="25552" y="67461"/>
                  </a:moveTo>
                  <a:cubicBezTo>
                    <a:pt x="25742" y="59930"/>
                    <a:pt x="25056" y="52247"/>
                    <a:pt x="26301" y="44881"/>
                  </a:cubicBezTo>
                  <a:cubicBezTo>
                    <a:pt x="29603" y="25285"/>
                    <a:pt x="40957" y="12217"/>
                    <a:pt x="60222" y="6388"/>
                  </a:cubicBezTo>
                  <a:cubicBezTo>
                    <a:pt x="63258" y="2273"/>
                    <a:pt x="67842" y="2298"/>
                    <a:pt x="72198" y="2235"/>
                  </a:cubicBezTo>
                  <a:cubicBezTo>
                    <a:pt x="83857" y="2070"/>
                    <a:pt x="95528" y="1955"/>
                    <a:pt x="107186" y="2285"/>
                  </a:cubicBezTo>
                  <a:cubicBezTo>
                    <a:pt x="114044" y="2870"/>
                    <a:pt x="121334" y="0"/>
                    <a:pt x="127646" y="4864"/>
                  </a:cubicBezTo>
                  <a:cubicBezTo>
                    <a:pt x="106945" y="10172"/>
                    <a:pt x="93229" y="22389"/>
                    <a:pt x="89216" y="44030"/>
                  </a:cubicBezTo>
                  <a:cubicBezTo>
                    <a:pt x="88645" y="47078"/>
                    <a:pt x="88479" y="50227"/>
                    <a:pt x="88479" y="53326"/>
                  </a:cubicBezTo>
                  <a:cubicBezTo>
                    <a:pt x="88441" y="106043"/>
                    <a:pt x="88391" y="158761"/>
                    <a:pt x="88543" y="211465"/>
                  </a:cubicBezTo>
                  <a:cubicBezTo>
                    <a:pt x="88568" y="216558"/>
                    <a:pt x="87298" y="220329"/>
                    <a:pt x="83527" y="223860"/>
                  </a:cubicBezTo>
                  <a:cubicBezTo>
                    <a:pt x="77075" y="229918"/>
                    <a:pt x="71093" y="236484"/>
                    <a:pt x="64921" y="242834"/>
                  </a:cubicBezTo>
                  <a:lnTo>
                    <a:pt x="0" y="242834"/>
                  </a:lnTo>
                  <a:cubicBezTo>
                    <a:pt x="6197" y="236954"/>
                    <a:pt x="10718" y="231582"/>
                    <a:pt x="16255" y="227645"/>
                  </a:cubicBezTo>
                  <a:cubicBezTo>
                    <a:pt x="26682" y="220241"/>
                    <a:pt x="26580" y="210030"/>
                    <a:pt x="25437" y="199210"/>
                  </a:cubicBezTo>
                  <a:cubicBezTo>
                    <a:pt x="22440" y="195171"/>
                    <a:pt x="23507" y="190510"/>
                    <a:pt x="23393" y="186014"/>
                  </a:cubicBezTo>
                  <a:cubicBezTo>
                    <a:pt x="23012" y="154963"/>
                    <a:pt x="23012" y="123912"/>
                    <a:pt x="23367" y="92848"/>
                  </a:cubicBezTo>
                  <a:cubicBezTo>
                    <a:pt x="23913" y="84377"/>
                    <a:pt x="21157" y="75614"/>
                    <a:pt x="25552" y="67461"/>
                  </a:cubicBezTo>
                  <a:close/>
                </a:path>
              </a:pathLst>
            </a:custGeom>
            <a:solidFill>
              <a:srgbClr val="314486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9" name="Free Form 1370">
              <a:extLst>
                <a:ext uri="{FF2B5EF4-FFF2-40B4-BE49-F238E27FC236}">
                  <a16:creationId xmlns:a16="http://schemas.microsoft.com/office/drawing/2014/main" id="{95603A65-887B-813D-06EB-5E0586581A52}"/>
                </a:ext>
              </a:extLst>
            </p:cNvPr>
            <p:cNvSpPr/>
            <p:nvPr/>
          </p:nvSpPr>
          <p:spPr>
            <a:xfrm>
              <a:off x="4121788" y="4846528"/>
              <a:ext cx="127798" cy="267534"/>
            </a:xfrm>
            <a:custGeom>
              <a:avLst/>
              <a:gdLst/>
              <a:ahLst/>
              <a:cxnLst/>
              <a:rect l="0" t="0" r="0" b="0"/>
              <a:pathLst>
                <a:path w="101357" h="194638">
                  <a:moveTo>
                    <a:pt x="61670" y="127303"/>
                  </a:moveTo>
                  <a:cubicBezTo>
                    <a:pt x="74433" y="135494"/>
                    <a:pt x="87159" y="143787"/>
                    <a:pt x="101357" y="149401"/>
                  </a:cubicBezTo>
                  <a:cubicBezTo>
                    <a:pt x="100582" y="159599"/>
                    <a:pt x="94461" y="167498"/>
                    <a:pt x="89559" y="175804"/>
                  </a:cubicBezTo>
                  <a:cubicBezTo>
                    <a:pt x="85089" y="183386"/>
                    <a:pt x="79513" y="190269"/>
                    <a:pt x="70700" y="193457"/>
                  </a:cubicBezTo>
                  <a:cubicBezTo>
                    <a:pt x="57136" y="194638"/>
                    <a:pt x="43573" y="193914"/>
                    <a:pt x="30022" y="193914"/>
                  </a:cubicBezTo>
                  <a:cubicBezTo>
                    <a:pt x="27431" y="193914"/>
                    <a:pt x="24752" y="193685"/>
                    <a:pt x="22923" y="191361"/>
                  </a:cubicBezTo>
                  <a:cubicBezTo>
                    <a:pt x="5829" y="178775"/>
                    <a:pt x="0" y="161732"/>
                    <a:pt x="800" y="140866"/>
                  </a:cubicBezTo>
                  <a:cubicBezTo>
                    <a:pt x="1739" y="116076"/>
                    <a:pt x="977" y="91223"/>
                    <a:pt x="939" y="66407"/>
                  </a:cubicBezTo>
                  <a:cubicBezTo>
                    <a:pt x="965" y="51599"/>
                    <a:pt x="952" y="36804"/>
                    <a:pt x="1041" y="21996"/>
                  </a:cubicBezTo>
                  <a:cubicBezTo>
                    <a:pt x="1104" y="12649"/>
                    <a:pt x="4127" y="8940"/>
                    <a:pt x="13042" y="6476"/>
                  </a:cubicBezTo>
                  <a:cubicBezTo>
                    <a:pt x="20002" y="4546"/>
                    <a:pt x="27355" y="3975"/>
                    <a:pt x="33832" y="406"/>
                  </a:cubicBezTo>
                  <a:cubicBezTo>
                    <a:pt x="46202" y="0"/>
                    <a:pt x="50583" y="3911"/>
                    <a:pt x="51142" y="16649"/>
                  </a:cubicBezTo>
                  <a:cubicBezTo>
                    <a:pt x="51332" y="21043"/>
                    <a:pt x="52450" y="22339"/>
                    <a:pt x="56628" y="20548"/>
                  </a:cubicBezTo>
                  <a:cubicBezTo>
                    <a:pt x="58508" y="19735"/>
                    <a:pt x="60591" y="19278"/>
                    <a:pt x="62635" y="18986"/>
                  </a:cubicBezTo>
                  <a:cubicBezTo>
                    <a:pt x="65518" y="18554"/>
                    <a:pt x="67753" y="19900"/>
                    <a:pt x="69176" y="22351"/>
                  </a:cubicBezTo>
                  <a:cubicBezTo>
                    <a:pt x="70662" y="24917"/>
                    <a:pt x="70179" y="27368"/>
                    <a:pt x="68185" y="29514"/>
                  </a:cubicBezTo>
                  <a:cubicBezTo>
                    <a:pt x="67296" y="30466"/>
                    <a:pt x="66483" y="31571"/>
                    <a:pt x="65417" y="32283"/>
                  </a:cubicBezTo>
                  <a:cubicBezTo>
                    <a:pt x="52729" y="40652"/>
                    <a:pt x="50266" y="52488"/>
                    <a:pt x="50913" y="67093"/>
                  </a:cubicBezTo>
                  <a:cubicBezTo>
                    <a:pt x="52069" y="92810"/>
                    <a:pt x="51243" y="118616"/>
                    <a:pt x="52399" y="144803"/>
                  </a:cubicBezTo>
                  <a:cubicBezTo>
                    <a:pt x="55485" y="138961"/>
                    <a:pt x="58584" y="133132"/>
                    <a:pt x="61670" y="127303"/>
                  </a:cubicBezTo>
                  <a:close/>
                </a:path>
              </a:pathLst>
            </a:custGeom>
            <a:solidFill>
              <a:srgbClr val="FBB197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0" name="Free Form 1371">
              <a:extLst>
                <a:ext uri="{FF2B5EF4-FFF2-40B4-BE49-F238E27FC236}">
                  <a16:creationId xmlns:a16="http://schemas.microsoft.com/office/drawing/2014/main" id="{0D98A84D-A8E2-F79E-8BFF-E525439C891A}"/>
                </a:ext>
              </a:extLst>
            </p:cNvPr>
            <p:cNvSpPr/>
            <p:nvPr/>
          </p:nvSpPr>
          <p:spPr>
            <a:xfrm>
              <a:off x="4087435" y="5148733"/>
              <a:ext cx="156270" cy="296248"/>
            </a:xfrm>
            <a:custGeom>
              <a:avLst/>
              <a:gdLst/>
              <a:ahLst/>
              <a:cxnLst/>
              <a:rect l="0" t="0" r="0" b="0"/>
              <a:pathLst>
                <a:path w="123937" h="215529">
                  <a:moveTo>
                    <a:pt x="123937" y="3378"/>
                  </a:moveTo>
                  <a:cubicBezTo>
                    <a:pt x="102843" y="8686"/>
                    <a:pt x="89381" y="21424"/>
                    <a:pt x="85241" y="43217"/>
                  </a:cubicBezTo>
                  <a:cubicBezTo>
                    <a:pt x="83692" y="51409"/>
                    <a:pt x="86244" y="59892"/>
                    <a:pt x="83463" y="67995"/>
                  </a:cubicBezTo>
                  <a:cubicBezTo>
                    <a:pt x="69061" y="102665"/>
                    <a:pt x="54685" y="137336"/>
                    <a:pt x="40271" y="172006"/>
                  </a:cubicBezTo>
                  <a:cubicBezTo>
                    <a:pt x="34962" y="184757"/>
                    <a:pt x="29400" y="197419"/>
                    <a:pt x="24282" y="210258"/>
                  </a:cubicBezTo>
                  <a:cubicBezTo>
                    <a:pt x="22656" y="214335"/>
                    <a:pt x="21018" y="215529"/>
                    <a:pt x="16916" y="213268"/>
                  </a:cubicBezTo>
                  <a:cubicBezTo>
                    <a:pt x="12598" y="210893"/>
                    <a:pt x="7937" y="209154"/>
                    <a:pt x="3428" y="207134"/>
                  </a:cubicBezTo>
                  <a:cubicBezTo>
                    <a:pt x="1079" y="205344"/>
                    <a:pt x="787" y="202677"/>
                    <a:pt x="787" y="200086"/>
                  </a:cubicBezTo>
                  <a:cubicBezTo>
                    <a:pt x="812" y="168120"/>
                    <a:pt x="0" y="136129"/>
                    <a:pt x="1168" y="104176"/>
                  </a:cubicBezTo>
                  <a:cubicBezTo>
                    <a:pt x="10299" y="79780"/>
                    <a:pt x="19760" y="55409"/>
                    <a:pt x="32016" y="32410"/>
                  </a:cubicBezTo>
                  <a:cubicBezTo>
                    <a:pt x="42341" y="13030"/>
                    <a:pt x="60311" y="3581"/>
                    <a:pt x="81660" y="1282"/>
                  </a:cubicBezTo>
                  <a:cubicBezTo>
                    <a:pt x="93534" y="0"/>
                    <a:pt x="105624" y="914"/>
                    <a:pt x="117613" y="1066"/>
                  </a:cubicBezTo>
                  <a:cubicBezTo>
                    <a:pt x="119937" y="1092"/>
                    <a:pt x="122363" y="1142"/>
                    <a:pt x="123937" y="3378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1" name="Free Form 1372">
              <a:extLst>
                <a:ext uri="{FF2B5EF4-FFF2-40B4-BE49-F238E27FC236}">
                  <a16:creationId xmlns:a16="http://schemas.microsoft.com/office/drawing/2014/main" id="{D2684F10-5728-04C7-E1C7-F0950B816B62}"/>
                </a:ext>
              </a:extLst>
            </p:cNvPr>
            <p:cNvSpPr/>
            <p:nvPr/>
          </p:nvSpPr>
          <p:spPr>
            <a:xfrm>
              <a:off x="4455739" y="5001796"/>
              <a:ext cx="231066" cy="152724"/>
            </a:xfrm>
            <a:custGeom>
              <a:avLst/>
              <a:gdLst/>
              <a:ahLst/>
              <a:cxnLst/>
              <a:rect l="0" t="0" r="0" b="0"/>
              <a:pathLst>
                <a:path w="183259" h="111111">
                  <a:moveTo>
                    <a:pt x="97204" y="94131"/>
                  </a:moveTo>
                  <a:cubicBezTo>
                    <a:pt x="95337" y="92328"/>
                    <a:pt x="92975" y="91540"/>
                    <a:pt x="90550" y="90905"/>
                  </a:cubicBezTo>
                  <a:cubicBezTo>
                    <a:pt x="80847" y="88924"/>
                    <a:pt x="72389" y="83920"/>
                    <a:pt x="63575" y="79793"/>
                  </a:cubicBezTo>
                  <a:cubicBezTo>
                    <a:pt x="50367" y="72909"/>
                    <a:pt x="36715" y="66991"/>
                    <a:pt x="23151" y="60857"/>
                  </a:cubicBezTo>
                  <a:cubicBezTo>
                    <a:pt x="18579" y="57797"/>
                    <a:pt x="13499" y="55752"/>
                    <a:pt x="8470" y="53618"/>
                  </a:cubicBezTo>
                  <a:cubicBezTo>
                    <a:pt x="5575" y="52399"/>
                    <a:pt x="2832" y="50837"/>
                    <a:pt x="1460" y="47726"/>
                  </a:cubicBezTo>
                  <a:cubicBezTo>
                    <a:pt x="0" y="44005"/>
                    <a:pt x="1079" y="40499"/>
                    <a:pt x="2641" y="37185"/>
                  </a:cubicBezTo>
                  <a:cubicBezTo>
                    <a:pt x="5880" y="30352"/>
                    <a:pt x="9131" y="23520"/>
                    <a:pt x="12839" y="16928"/>
                  </a:cubicBezTo>
                  <a:cubicBezTo>
                    <a:pt x="16725" y="10007"/>
                    <a:pt x="20294" y="8699"/>
                    <a:pt x="27660" y="12026"/>
                  </a:cubicBezTo>
                  <a:cubicBezTo>
                    <a:pt x="32460" y="14198"/>
                    <a:pt x="35127" y="14427"/>
                    <a:pt x="36156" y="8178"/>
                  </a:cubicBezTo>
                  <a:cubicBezTo>
                    <a:pt x="36918" y="3670"/>
                    <a:pt x="40626" y="1117"/>
                    <a:pt x="45097" y="584"/>
                  </a:cubicBezTo>
                  <a:cubicBezTo>
                    <a:pt x="50075" y="0"/>
                    <a:pt x="53529" y="2768"/>
                    <a:pt x="55854" y="6921"/>
                  </a:cubicBezTo>
                  <a:cubicBezTo>
                    <a:pt x="57530" y="9905"/>
                    <a:pt x="58597" y="13258"/>
                    <a:pt x="58851" y="16586"/>
                  </a:cubicBezTo>
                  <a:cubicBezTo>
                    <a:pt x="59460" y="24599"/>
                    <a:pt x="63550" y="29489"/>
                    <a:pt x="71017" y="31990"/>
                  </a:cubicBezTo>
                  <a:cubicBezTo>
                    <a:pt x="72973" y="32638"/>
                    <a:pt x="74789" y="33756"/>
                    <a:pt x="76630" y="34721"/>
                  </a:cubicBezTo>
                  <a:cubicBezTo>
                    <a:pt x="81977" y="37667"/>
                    <a:pt x="87387" y="40449"/>
                    <a:pt x="93026" y="42798"/>
                  </a:cubicBezTo>
                  <a:cubicBezTo>
                    <a:pt x="105180" y="48005"/>
                    <a:pt x="116953" y="54063"/>
                    <a:pt x="129017" y="59486"/>
                  </a:cubicBezTo>
                  <a:cubicBezTo>
                    <a:pt x="135685" y="62483"/>
                    <a:pt x="135583" y="62584"/>
                    <a:pt x="135913" y="55536"/>
                  </a:cubicBezTo>
                  <a:cubicBezTo>
                    <a:pt x="136066" y="52247"/>
                    <a:pt x="135329" y="48665"/>
                    <a:pt x="138504" y="46176"/>
                  </a:cubicBezTo>
                  <a:cubicBezTo>
                    <a:pt x="139711" y="45516"/>
                    <a:pt x="140993" y="45211"/>
                    <a:pt x="142365" y="45135"/>
                  </a:cubicBezTo>
                  <a:cubicBezTo>
                    <a:pt x="152779" y="44474"/>
                    <a:pt x="163180" y="44830"/>
                    <a:pt x="173594" y="44855"/>
                  </a:cubicBezTo>
                  <a:cubicBezTo>
                    <a:pt x="176451" y="44868"/>
                    <a:pt x="179360" y="44982"/>
                    <a:pt x="181608" y="47205"/>
                  </a:cubicBezTo>
                  <a:cubicBezTo>
                    <a:pt x="181366" y="57657"/>
                    <a:pt x="183259" y="68198"/>
                    <a:pt x="180388" y="78548"/>
                  </a:cubicBezTo>
                  <a:cubicBezTo>
                    <a:pt x="182903" y="84263"/>
                    <a:pt x="180071" y="87933"/>
                    <a:pt x="175613" y="90969"/>
                  </a:cubicBezTo>
                  <a:cubicBezTo>
                    <a:pt x="170597" y="98131"/>
                    <a:pt x="164234" y="103694"/>
                    <a:pt x="156182" y="107237"/>
                  </a:cubicBezTo>
                  <a:cubicBezTo>
                    <a:pt x="148905" y="111111"/>
                    <a:pt x="141044" y="109815"/>
                    <a:pt x="133335" y="109790"/>
                  </a:cubicBezTo>
                  <a:cubicBezTo>
                    <a:pt x="120064" y="107390"/>
                    <a:pt x="107910" y="102437"/>
                    <a:pt x="97204" y="94131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2" name="Free Form 1373">
              <a:extLst>
                <a:ext uri="{FF2B5EF4-FFF2-40B4-BE49-F238E27FC236}">
                  <a16:creationId xmlns:a16="http://schemas.microsoft.com/office/drawing/2014/main" id="{D7CC0552-CDC8-C404-4C1A-A9678A1AF97F}"/>
                </a:ext>
              </a:extLst>
            </p:cNvPr>
            <p:cNvSpPr/>
            <p:nvPr/>
          </p:nvSpPr>
          <p:spPr>
            <a:xfrm>
              <a:off x="4043944" y="5104074"/>
              <a:ext cx="525960" cy="385344"/>
            </a:xfrm>
            <a:custGeom>
              <a:avLst/>
              <a:gdLst/>
              <a:ahLst/>
              <a:cxnLst/>
              <a:rect l="0" t="0" r="0" b="0"/>
              <a:pathLst>
                <a:path w="417139" h="280349">
                  <a:moveTo>
                    <a:pt x="390558" y="3975"/>
                  </a:moveTo>
                  <a:cubicBezTo>
                    <a:pt x="399702" y="7556"/>
                    <a:pt x="408630" y="11594"/>
                    <a:pt x="417139" y="16497"/>
                  </a:cubicBezTo>
                  <a:cubicBezTo>
                    <a:pt x="411551" y="16674"/>
                    <a:pt x="405951" y="16865"/>
                    <a:pt x="400350" y="17043"/>
                  </a:cubicBezTo>
                  <a:cubicBezTo>
                    <a:pt x="397708" y="19049"/>
                    <a:pt x="394597" y="19240"/>
                    <a:pt x="391473" y="19240"/>
                  </a:cubicBezTo>
                  <a:cubicBezTo>
                    <a:pt x="378265" y="19202"/>
                    <a:pt x="365057" y="19519"/>
                    <a:pt x="351849" y="19087"/>
                  </a:cubicBezTo>
                  <a:cubicBezTo>
                    <a:pt x="343315" y="19316"/>
                    <a:pt x="334781" y="19341"/>
                    <a:pt x="326234" y="19075"/>
                  </a:cubicBezTo>
                  <a:cubicBezTo>
                    <a:pt x="309508" y="19392"/>
                    <a:pt x="292782" y="19392"/>
                    <a:pt x="276056" y="19100"/>
                  </a:cubicBezTo>
                  <a:cubicBezTo>
                    <a:pt x="240573" y="19430"/>
                    <a:pt x="205102" y="19468"/>
                    <a:pt x="169632" y="19100"/>
                  </a:cubicBezTo>
                  <a:cubicBezTo>
                    <a:pt x="131532" y="19532"/>
                    <a:pt x="93432" y="19176"/>
                    <a:pt x="55333" y="19291"/>
                  </a:cubicBezTo>
                  <a:cubicBezTo>
                    <a:pt x="52983" y="19303"/>
                    <a:pt x="50621" y="19456"/>
                    <a:pt x="48284" y="19291"/>
                  </a:cubicBezTo>
                  <a:cubicBezTo>
                    <a:pt x="41426" y="18821"/>
                    <a:pt x="40106" y="22681"/>
                    <a:pt x="40131" y="28549"/>
                  </a:cubicBezTo>
                  <a:cubicBezTo>
                    <a:pt x="40258" y="55955"/>
                    <a:pt x="40118" y="83361"/>
                    <a:pt x="40233" y="110768"/>
                  </a:cubicBezTo>
                  <a:cubicBezTo>
                    <a:pt x="40271" y="118629"/>
                    <a:pt x="39953" y="126389"/>
                    <a:pt x="37921" y="134021"/>
                  </a:cubicBezTo>
                  <a:cubicBezTo>
                    <a:pt x="37921" y="169225"/>
                    <a:pt x="37921" y="204429"/>
                    <a:pt x="37921" y="239633"/>
                  </a:cubicBezTo>
                  <a:cubicBezTo>
                    <a:pt x="37832" y="250327"/>
                    <a:pt x="37680" y="261033"/>
                    <a:pt x="37680" y="271739"/>
                  </a:cubicBezTo>
                  <a:cubicBezTo>
                    <a:pt x="37693" y="276120"/>
                    <a:pt x="36588" y="280006"/>
                    <a:pt x="31673" y="280159"/>
                  </a:cubicBezTo>
                  <a:cubicBezTo>
                    <a:pt x="26212" y="280349"/>
                    <a:pt x="25069" y="276285"/>
                    <a:pt x="25069" y="271561"/>
                  </a:cubicBezTo>
                  <a:cubicBezTo>
                    <a:pt x="25082" y="258772"/>
                    <a:pt x="24929" y="245983"/>
                    <a:pt x="24840" y="233194"/>
                  </a:cubicBezTo>
                  <a:cubicBezTo>
                    <a:pt x="24104" y="231531"/>
                    <a:pt x="22948" y="229943"/>
                    <a:pt x="22961" y="228102"/>
                  </a:cubicBezTo>
                  <a:cubicBezTo>
                    <a:pt x="23075" y="207871"/>
                    <a:pt x="20561" y="187564"/>
                    <a:pt x="24840" y="167473"/>
                  </a:cubicBezTo>
                  <a:cubicBezTo>
                    <a:pt x="24929" y="118908"/>
                    <a:pt x="24967" y="70344"/>
                    <a:pt x="25183" y="21780"/>
                  </a:cubicBezTo>
                  <a:cubicBezTo>
                    <a:pt x="25209" y="17386"/>
                    <a:pt x="23456" y="16484"/>
                    <a:pt x="19646" y="16713"/>
                  </a:cubicBezTo>
                  <a:cubicBezTo>
                    <a:pt x="15747" y="16954"/>
                    <a:pt x="11810" y="16700"/>
                    <a:pt x="7899" y="16776"/>
                  </a:cubicBezTo>
                  <a:cubicBezTo>
                    <a:pt x="3708" y="16852"/>
                    <a:pt x="419" y="15379"/>
                    <a:pt x="228" y="10871"/>
                  </a:cubicBezTo>
                  <a:cubicBezTo>
                    <a:pt x="0" y="5905"/>
                    <a:pt x="3314" y="4190"/>
                    <a:pt x="7912" y="4203"/>
                  </a:cubicBezTo>
                  <a:cubicBezTo>
                    <a:pt x="24879" y="4241"/>
                    <a:pt x="41846" y="4241"/>
                    <a:pt x="58825" y="4203"/>
                  </a:cubicBezTo>
                  <a:cubicBezTo>
                    <a:pt x="67436" y="4178"/>
                    <a:pt x="76046" y="4063"/>
                    <a:pt x="84657" y="3987"/>
                  </a:cubicBezTo>
                  <a:cubicBezTo>
                    <a:pt x="101433" y="4000"/>
                    <a:pt x="118197" y="4025"/>
                    <a:pt x="134974" y="4038"/>
                  </a:cubicBezTo>
                  <a:cubicBezTo>
                    <a:pt x="146404" y="609"/>
                    <a:pt x="157833" y="139"/>
                    <a:pt x="169263" y="4089"/>
                  </a:cubicBezTo>
                  <a:cubicBezTo>
                    <a:pt x="204950" y="4089"/>
                    <a:pt x="240649" y="4089"/>
                    <a:pt x="276336" y="4089"/>
                  </a:cubicBezTo>
                  <a:cubicBezTo>
                    <a:pt x="278838" y="1752"/>
                    <a:pt x="282000" y="1765"/>
                    <a:pt x="285073" y="1765"/>
                  </a:cubicBezTo>
                  <a:cubicBezTo>
                    <a:pt x="298738" y="1765"/>
                    <a:pt x="312403" y="1473"/>
                    <a:pt x="326069" y="1904"/>
                  </a:cubicBezTo>
                  <a:cubicBezTo>
                    <a:pt x="334565" y="1676"/>
                    <a:pt x="343061" y="1650"/>
                    <a:pt x="351557" y="1904"/>
                  </a:cubicBezTo>
                  <a:cubicBezTo>
                    <a:pt x="364587" y="2222"/>
                    <a:pt x="377732" y="0"/>
                    <a:pt x="390558" y="3975"/>
                  </a:cubicBezTo>
                  <a:close/>
                </a:path>
              </a:pathLst>
            </a:custGeom>
            <a:solidFill>
              <a:srgbClr val="D8632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3" name="Free Form 1374">
              <a:extLst>
                <a:ext uri="{FF2B5EF4-FFF2-40B4-BE49-F238E27FC236}">
                  <a16:creationId xmlns:a16="http://schemas.microsoft.com/office/drawing/2014/main" id="{40199B68-B934-AF78-9257-8BA11EA34E1A}"/>
                </a:ext>
              </a:extLst>
            </p:cNvPr>
            <p:cNvSpPr/>
            <p:nvPr/>
          </p:nvSpPr>
          <p:spPr>
            <a:xfrm>
              <a:off x="4564703" y="4945780"/>
              <a:ext cx="120288" cy="146736"/>
            </a:xfrm>
            <a:custGeom>
              <a:avLst/>
              <a:gdLst/>
              <a:ahLst/>
              <a:cxnLst/>
              <a:rect l="0" t="0" r="0" b="0"/>
              <a:pathLst>
                <a:path w="95401" h="106755">
                  <a:moveTo>
                    <a:pt x="51624" y="88111"/>
                  </a:moveTo>
                  <a:lnTo>
                    <a:pt x="51624" y="106755"/>
                  </a:lnTo>
                  <a:cubicBezTo>
                    <a:pt x="35724" y="99198"/>
                    <a:pt x="20853" y="92137"/>
                    <a:pt x="5968" y="85063"/>
                  </a:cubicBezTo>
                  <a:cubicBezTo>
                    <a:pt x="4914" y="71424"/>
                    <a:pt x="5689" y="57682"/>
                    <a:pt x="3949" y="44055"/>
                  </a:cubicBezTo>
                  <a:cubicBezTo>
                    <a:pt x="3555" y="40969"/>
                    <a:pt x="4292" y="37743"/>
                    <a:pt x="5905" y="35051"/>
                  </a:cubicBezTo>
                  <a:cubicBezTo>
                    <a:pt x="9435" y="29184"/>
                    <a:pt x="8420" y="24358"/>
                    <a:pt x="3352" y="19964"/>
                  </a:cubicBezTo>
                  <a:cubicBezTo>
                    <a:pt x="1600" y="18452"/>
                    <a:pt x="279" y="16459"/>
                    <a:pt x="0" y="13995"/>
                  </a:cubicBezTo>
                  <a:cubicBezTo>
                    <a:pt x="1422" y="6984"/>
                    <a:pt x="6540" y="3187"/>
                    <a:pt x="12318" y="0"/>
                  </a:cubicBezTo>
                  <a:cubicBezTo>
                    <a:pt x="31914" y="38"/>
                    <a:pt x="51497" y="25"/>
                    <a:pt x="71081" y="126"/>
                  </a:cubicBezTo>
                  <a:cubicBezTo>
                    <a:pt x="86435" y="190"/>
                    <a:pt x="95350" y="9093"/>
                    <a:pt x="95375" y="24485"/>
                  </a:cubicBezTo>
                  <a:cubicBezTo>
                    <a:pt x="95401" y="45643"/>
                    <a:pt x="95261" y="66801"/>
                    <a:pt x="95198" y="87959"/>
                  </a:cubicBezTo>
                  <a:cubicBezTo>
                    <a:pt x="81647" y="87870"/>
                    <a:pt x="68109" y="87794"/>
                    <a:pt x="54571" y="87717"/>
                  </a:cubicBezTo>
                  <a:cubicBezTo>
                    <a:pt x="55955" y="73443"/>
                    <a:pt x="55358" y="59117"/>
                    <a:pt x="55460" y="44817"/>
                  </a:cubicBezTo>
                  <a:cubicBezTo>
                    <a:pt x="55473" y="42735"/>
                    <a:pt x="55600" y="40626"/>
                    <a:pt x="55320" y="38569"/>
                  </a:cubicBezTo>
                  <a:cubicBezTo>
                    <a:pt x="54965" y="35800"/>
                    <a:pt x="55104" y="32079"/>
                    <a:pt x="51205" y="32194"/>
                  </a:cubicBezTo>
                  <a:cubicBezTo>
                    <a:pt x="47891" y="32283"/>
                    <a:pt x="47675" y="35673"/>
                    <a:pt x="47624" y="38239"/>
                  </a:cubicBezTo>
                  <a:cubicBezTo>
                    <a:pt x="47332" y="51523"/>
                    <a:pt x="47459" y="64832"/>
                    <a:pt x="47535" y="78129"/>
                  </a:cubicBezTo>
                  <a:cubicBezTo>
                    <a:pt x="47560" y="82091"/>
                    <a:pt x="50291" y="84771"/>
                    <a:pt x="51624" y="88111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4" name="Free Form 1375">
              <a:extLst>
                <a:ext uri="{FF2B5EF4-FFF2-40B4-BE49-F238E27FC236}">
                  <a16:creationId xmlns:a16="http://schemas.microsoft.com/office/drawing/2014/main" id="{F0BAE588-E569-8B53-E9F1-8E114092D7ED}"/>
                </a:ext>
              </a:extLst>
            </p:cNvPr>
            <p:cNvSpPr/>
            <p:nvPr/>
          </p:nvSpPr>
          <p:spPr>
            <a:xfrm>
              <a:off x="4287460" y="4824544"/>
              <a:ext cx="176174" cy="147715"/>
            </a:xfrm>
            <a:custGeom>
              <a:avLst/>
              <a:gdLst/>
              <a:ahLst/>
              <a:cxnLst/>
              <a:rect l="0" t="0" r="0" b="0"/>
              <a:pathLst>
                <a:path w="139723" h="107466">
                  <a:moveTo>
                    <a:pt x="133107" y="107466"/>
                  </a:moveTo>
                  <a:cubicBezTo>
                    <a:pt x="127595" y="93369"/>
                    <a:pt x="117359" y="87336"/>
                    <a:pt x="102233" y="88175"/>
                  </a:cubicBezTo>
                  <a:cubicBezTo>
                    <a:pt x="89584" y="88886"/>
                    <a:pt x="76872" y="88479"/>
                    <a:pt x="64185" y="88568"/>
                  </a:cubicBezTo>
                  <a:cubicBezTo>
                    <a:pt x="53618" y="92480"/>
                    <a:pt x="49592" y="90143"/>
                    <a:pt x="49631" y="79513"/>
                  </a:cubicBezTo>
                  <a:cubicBezTo>
                    <a:pt x="49669" y="70763"/>
                    <a:pt x="48348" y="61962"/>
                    <a:pt x="53009" y="53479"/>
                  </a:cubicBezTo>
                  <a:cubicBezTo>
                    <a:pt x="56069" y="47903"/>
                    <a:pt x="51815" y="42836"/>
                    <a:pt x="45262" y="44132"/>
                  </a:cubicBezTo>
                  <a:cubicBezTo>
                    <a:pt x="38861" y="45389"/>
                    <a:pt x="35775" y="43243"/>
                    <a:pt x="34518" y="37388"/>
                  </a:cubicBezTo>
                  <a:cubicBezTo>
                    <a:pt x="33616" y="33197"/>
                    <a:pt x="31597" y="32651"/>
                    <a:pt x="27749" y="34276"/>
                  </a:cubicBezTo>
                  <a:cubicBezTo>
                    <a:pt x="16547" y="39001"/>
                    <a:pt x="13614" y="55422"/>
                    <a:pt x="22377" y="65544"/>
                  </a:cubicBezTo>
                  <a:cubicBezTo>
                    <a:pt x="24244" y="67702"/>
                    <a:pt x="26872" y="69188"/>
                    <a:pt x="27977" y="72020"/>
                  </a:cubicBezTo>
                  <a:cubicBezTo>
                    <a:pt x="29069" y="77697"/>
                    <a:pt x="29717" y="83323"/>
                    <a:pt x="26860" y="88733"/>
                  </a:cubicBezTo>
                  <a:cubicBezTo>
                    <a:pt x="22542" y="91172"/>
                    <a:pt x="18262" y="91337"/>
                    <a:pt x="14020" y="88568"/>
                  </a:cubicBezTo>
                  <a:cubicBezTo>
                    <a:pt x="10363" y="88403"/>
                    <a:pt x="6705" y="88251"/>
                    <a:pt x="3047" y="88086"/>
                  </a:cubicBezTo>
                  <a:cubicBezTo>
                    <a:pt x="0" y="70725"/>
                    <a:pt x="977" y="53187"/>
                    <a:pt x="1879" y="35800"/>
                  </a:cubicBezTo>
                  <a:cubicBezTo>
                    <a:pt x="2781" y="18465"/>
                    <a:pt x="17589" y="4444"/>
                    <a:pt x="34886" y="2222"/>
                  </a:cubicBezTo>
                  <a:cubicBezTo>
                    <a:pt x="52171" y="0"/>
                    <a:pt x="71297" y="9880"/>
                    <a:pt x="75856" y="26822"/>
                  </a:cubicBezTo>
                  <a:cubicBezTo>
                    <a:pt x="81596" y="48145"/>
                    <a:pt x="95350" y="58889"/>
                    <a:pt x="115022" y="65061"/>
                  </a:cubicBezTo>
                  <a:cubicBezTo>
                    <a:pt x="129195" y="69519"/>
                    <a:pt x="137615" y="79450"/>
                    <a:pt x="139685" y="94410"/>
                  </a:cubicBezTo>
                  <a:cubicBezTo>
                    <a:pt x="139723" y="99884"/>
                    <a:pt x="136625" y="103783"/>
                    <a:pt x="133107" y="107466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5" name="Free Form 1376">
              <a:extLst>
                <a:ext uri="{FF2B5EF4-FFF2-40B4-BE49-F238E27FC236}">
                  <a16:creationId xmlns:a16="http://schemas.microsoft.com/office/drawing/2014/main" id="{BF245511-FA91-2C10-AE06-FCB61EE78FEF}"/>
                </a:ext>
              </a:extLst>
            </p:cNvPr>
            <p:cNvSpPr/>
            <p:nvPr/>
          </p:nvSpPr>
          <p:spPr>
            <a:xfrm>
              <a:off x="4455291" y="4945551"/>
              <a:ext cx="109657" cy="122402"/>
            </a:xfrm>
            <a:custGeom>
              <a:avLst/>
              <a:gdLst/>
              <a:ahLst/>
              <a:cxnLst/>
              <a:rect l="0" t="0" r="0" b="0"/>
              <a:pathLst>
                <a:path w="86968" h="89051">
                  <a:moveTo>
                    <a:pt x="0" y="19430"/>
                  </a:moveTo>
                  <a:cubicBezTo>
                    <a:pt x="1193" y="14579"/>
                    <a:pt x="3505" y="10286"/>
                    <a:pt x="6578" y="6375"/>
                  </a:cubicBezTo>
                  <a:cubicBezTo>
                    <a:pt x="12509" y="1689"/>
                    <a:pt x="19164" y="0"/>
                    <a:pt x="26784" y="152"/>
                  </a:cubicBezTo>
                  <a:cubicBezTo>
                    <a:pt x="43065" y="495"/>
                    <a:pt x="59371" y="177"/>
                    <a:pt x="75665" y="126"/>
                  </a:cubicBezTo>
                  <a:cubicBezTo>
                    <a:pt x="82422" y="2311"/>
                    <a:pt x="85825" y="7213"/>
                    <a:pt x="86968" y="13982"/>
                  </a:cubicBezTo>
                  <a:cubicBezTo>
                    <a:pt x="82358" y="22567"/>
                    <a:pt x="80313" y="33464"/>
                    <a:pt x="80593" y="43573"/>
                  </a:cubicBezTo>
                  <a:cubicBezTo>
                    <a:pt x="80898" y="54952"/>
                    <a:pt x="80644" y="66344"/>
                    <a:pt x="76897" y="77316"/>
                  </a:cubicBezTo>
                  <a:cubicBezTo>
                    <a:pt x="72147" y="75233"/>
                    <a:pt x="67474" y="72973"/>
                    <a:pt x="62635" y="71119"/>
                  </a:cubicBezTo>
                  <a:cubicBezTo>
                    <a:pt x="59219" y="69823"/>
                    <a:pt x="59194" y="66788"/>
                    <a:pt x="58495" y="64172"/>
                  </a:cubicBezTo>
                  <a:cubicBezTo>
                    <a:pt x="57212" y="59422"/>
                    <a:pt x="56438" y="54533"/>
                    <a:pt x="55155" y="49783"/>
                  </a:cubicBezTo>
                  <a:cubicBezTo>
                    <a:pt x="53898" y="45160"/>
                    <a:pt x="50354" y="42671"/>
                    <a:pt x="45846" y="43116"/>
                  </a:cubicBezTo>
                  <a:cubicBezTo>
                    <a:pt x="41465" y="43560"/>
                    <a:pt x="37794" y="46265"/>
                    <a:pt x="37870" y="51231"/>
                  </a:cubicBezTo>
                  <a:cubicBezTo>
                    <a:pt x="37997" y="59448"/>
                    <a:pt x="34022" y="57733"/>
                    <a:pt x="29158" y="55460"/>
                  </a:cubicBezTo>
                  <a:cubicBezTo>
                    <a:pt x="19418" y="50939"/>
                    <a:pt x="18618" y="51307"/>
                    <a:pt x="13741" y="61010"/>
                  </a:cubicBezTo>
                  <a:cubicBezTo>
                    <a:pt x="10578" y="67271"/>
                    <a:pt x="7454" y="73557"/>
                    <a:pt x="4317" y="79844"/>
                  </a:cubicBezTo>
                  <a:cubicBezTo>
                    <a:pt x="3047" y="82384"/>
                    <a:pt x="1320" y="84847"/>
                    <a:pt x="3047" y="87857"/>
                  </a:cubicBezTo>
                  <a:cubicBezTo>
                    <a:pt x="2692" y="89051"/>
                    <a:pt x="1816" y="88987"/>
                    <a:pt x="876" y="88759"/>
                  </a:cubicBezTo>
                  <a:cubicBezTo>
                    <a:pt x="647" y="88556"/>
                    <a:pt x="431" y="88340"/>
                    <a:pt x="203" y="88124"/>
                  </a:cubicBezTo>
                  <a:cubicBezTo>
                    <a:pt x="126" y="65226"/>
                    <a:pt x="63" y="42328"/>
                    <a:pt x="0" y="19430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6" name="Free Form 1377">
              <a:extLst>
                <a:ext uri="{FF2B5EF4-FFF2-40B4-BE49-F238E27FC236}">
                  <a16:creationId xmlns:a16="http://schemas.microsoft.com/office/drawing/2014/main" id="{F4BE07E8-B01A-7E03-52A4-9E2BAA719B2A}"/>
                </a:ext>
              </a:extLst>
            </p:cNvPr>
            <p:cNvSpPr/>
            <p:nvPr/>
          </p:nvSpPr>
          <p:spPr>
            <a:xfrm>
              <a:off x="4677166" y="5109767"/>
              <a:ext cx="47270" cy="379322"/>
            </a:xfrm>
            <a:custGeom>
              <a:avLst/>
              <a:gdLst/>
              <a:ahLst/>
              <a:cxnLst/>
              <a:rect l="0" t="0" r="0" b="0"/>
              <a:pathLst>
                <a:path w="37490" h="275968">
                  <a:moveTo>
                    <a:pt x="0" y="12420"/>
                  </a:moveTo>
                  <a:cubicBezTo>
                    <a:pt x="1816" y="8369"/>
                    <a:pt x="4571" y="4673"/>
                    <a:pt x="4775" y="0"/>
                  </a:cubicBezTo>
                  <a:cubicBezTo>
                    <a:pt x="13398" y="25"/>
                    <a:pt x="22021" y="38"/>
                    <a:pt x="30644" y="101"/>
                  </a:cubicBezTo>
                  <a:cubicBezTo>
                    <a:pt x="34645" y="126"/>
                    <a:pt x="37261" y="2146"/>
                    <a:pt x="37375" y="6159"/>
                  </a:cubicBezTo>
                  <a:cubicBezTo>
                    <a:pt x="37490" y="10185"/>
                    <a:pt x="34975" y="12877"/>
                    <a:pt x="31025" y="12471"/>
                  </a:cubicBezTo>
                  <a:cubicBezTo>
                    <a:pt x="24307" y="11760"/>
                    <a:pt x="25006" y="15887"/>
                    <a:pt x="25006" y="20192"/>
                  </a:cubicBezTo>
                  <a:cubicBezTo>
                    <a:pt x="25044" y="101217"/>
                    <a:pt x="25056" y="182255"/>
                    <a:pt x="24993" y="263280"/>
                  </a:cubicBezTo>
                  <a:cubicBezTo>
                    <a:pt x="24980" y="268449"/>
                    <a:pt x="26872" y="275968"/>
                    <a:pt x="18656" y="275866"/>
                  </a:cubicBezTo>
                  <a:cubicBezTo>
                    <a:pt x="10464" y="275752"/>
                    <a:pt x="12547" y="268208"/>
                    <a:pt x="12534" y="263090"/>
                  </a:cubicBezTo>
                  <a:cubicBezTo>
                    <a:pt x="12458" y="183881"/>
                    <a:pt x="12483" y="104684"/>
                    <a:pt x="12483" y="25488"/>
                  </a:cubicBezTo>
                  <a:cubicBezTo>
                    <a:pt x="12483" y="12941"/>
                    <a:pt x="12483" y="12941"/>
                    <a:pt x="0" y="12420"/>
                  </a:cubicBezTo>
                  <a:close/>
                </a:path>
              </a:pathLst>
            </a:custGeom>
            <a:solidFill>
              <a:srgbClr val="D8632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7" name="Free Form 1378">
              <a:extLst>
                <a:ext uri="{FF2B5EF4-FFF2-40B4-BE49-F238E27FC236}">
                  <a16:creationId xmlns:a16="http://schemas.microsoft.com/office/drawing/2014/main" id="{F03C8553-7C2C-846C-613C-BC074C6E3C02}"/>
                </a:ext>
              </a:extLst>
            </p:cNvPr>
            <p:cNvSpPr/>
            <p:nvPr/>
          </p:nvSpPr>
          <p:spPr>
            <a:xfrm>
              <a:off x="3822195" y="4994420"/>
              <a:ext cx="99840" cy="104929"/>
            </a:xfrm>
            <a:custGeom>
              <a:avLst/>
              <a:gdLst/>
              <a:ahLst/>
              <a:cxnLst/>
              <a:rect l="0" t="0" r="0" b="0"/>
              <a:pathLst>
                <a:path w="79183" h="76338">
                  <a:moveTo>
                    <a:pt x="39356" y="825"/>
                  </a:moveTo>
                  <a:cubicBezTo>
                    <a:pt x="40080" y="1574"/>
                    <a:pt x="40906" y="2235"/>
                    <a:pt x="41503" y="3060"/>
                  </a:cubicBezTo>
                  <a:cubicBezTo>
                    <a:pt x="48830" y="13360"/>
                    <a:pt x="57289" y="18021"/>
                    <a:pt x="68744" y="8762"/>
                  </a:cubicBezTo>
                  <a:cubicBezTo>
                    <a:pt x="70204" y="7569"/>
                    <a:pt x="72020" y="7416"/>
                    <a:pt x="73684" y="8712"/>
                  </a:cubicBezTo>
                  <a:cubicBezTo>
                    <a:pt x="79183" y="13195"/>
                    <a:pt x="77024" y="17881"/>
                    <a:pt x="74078" y="22593"/>
                  </a:cubicBezTo>
                  <a:cubicBezTo>
                    <a:pt x="72617" y="24663"/>
                    <a:pt x="70369" y="25971"/>
                    <a:pt x="68706" y="27990"/>
                  </a:cubicBezTo>
                  <a:cubicBezTo>
                    <a:pt x="69798" y="30390"/>
                    <a:pt x="72274" y="31482"/>
                    <a:pt x="73798" y="33438"/>
                  </a:cubicBezTo>
                  <a:cubicBezTo>
                    <a:pt x="75818" y="35864"/>
                    <a:pt x="77812" y="38290"/>
                    <a:pt x="75741" y="41668"/>
                  </a:cubicBezTo>
                  <a:cubicBezTo>
                    <a:pt x="66826" y="52971"/>
                    <a:pt x="55803" y="62242"/>
                    <a:pt x="45821" y="72516"/>
                  </a:cubicBezTo>
                  <a:cubicBezTo>
                    <a:pt x="42125" y="76338"/>
                    <a:pt x="38455" y="75106"/>
                    <a:pt x="34988" y="71627"/>
                  </a:cubicBezTo>
                  <a:cubicBezTo>
                    <a:pt x="25590" y="62203"/>
                    <a:pt x="16103" y="52869"/>
                    <a:pt x="6616" y="43535"/>
                  </a:cubicBezTo>
                  <a:cubicBezTo>
                    <a:pt x="5321" y="42265"/>
                    <a:pt x="4089" y="39598"/>
                    <a:pt x="2095" y="42900"/>
                  </a:cubicBezTo>
                  <a:cubicBezTo>
                    <a:pt x="1396" y="40525"/>
                    <a:pt x="698" y="38163"/>
                    <a:pt x="0" y="35800"/>
                  </a:cubicBezTo>
                  <a:cubicBezTo>
                    <a:pt x="12001" y="24625"/>
                    <a:pt x="23990" y="13461"/>
                    <a:pt x="35991" y="2298"/>
                  </a:cubicBezTo>
                  <a:cubicBezTo>
                    <a:pt x="36740" y="939"/>
                    <a:pt x="37655" y="0"/>
                    <a:pt x="39356" y="825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8" name="Free Form 1379">
              <a:extLst>
                <a:ext uri="{FF2B5EF4-FFF2-40B4-BE49-F238E27FC236}">
                  <a16:creationId xmlns:a16="http://schemas.microsoft.com/office/drawing/2014/main" id="{FAB7B9A0-5304-1D7D-9B03-BE925B278E88}"/>
                </a:ext>
              </a:extLst>
            </p:cNvPr>
            <p:cNvSpPr/>
            <p:nvPr/>
          </p:nvSpPr>
          <p:spPr>
            <a:xfrm>
              <a:off x="4102905" y="4670138"/>
              <a:ext cx="93292" cy="86303"/>
            </a:xfrm>
            <a:custGeom>
              <a:avLst/>
              <a:gdLst/>
              <a:ahLst/>
              <a:cxnLst/>
              <a:rect l="0" t="0" r="0" b="0"/>
              <a:pathLst>
                <a:path w="73989" h="62788">
                  <a:moveTo>
                    <a:pt x="62661" y="62788"/>
                  </a:moveTo>
                  <a:cubicBezTo>
                    <a:pt x="47078" y="58559"/>
                    <a:pt x="31495" y="54330"/>
                    <a:pt x="15912" y="50100"/>
                  </a:cubicBezTo>
                  <a:cubicBezTo>
                    <a:pt x="12623" y="45402"/>
                    <a:pt x="14338" y="41338"/>
                    <a:pt x="17538" y="37477"/>
                  </a:cubicBezTo>
                  <a:cubicBezTo>
                    <a:pt x="16497" y="30924"/>
                    <a:pt x="9969" y="29412"/>
                    <a:pt x="6197" y="25374"/>
                  </a:cubicBezTo>
                  <a:cubicBezTo>
                    <a:pt x="3149" y="22135"/>
                    <a:pt x="0" y="19532"/>
                    <a:pt x="3809" y="14973"/>
                  </a:cubicBezTo>
                  <a:cubicBezTo>
                    <a:pt x="7238" y="10883"/>
                    <a:pt x="11848" y="10337"/>
                    <a:pt x="15633" y="13258"/>
                  </a:cubicBezTo>
                  <a:cubicBezTo>
                    <a:pt x="22021" y="18186"/>
                    <a:pt x="23418" y="16052"/>
                    <a:pt x="24383" y="9194"/>
                  </a:cubicBezTo>
                  <a:cubicBezTo>
                    <a:pt x="25183" y="3416"/>
                    <a:pt x="28523" y="0"/>
                    <a:pt x="35496" y="2158"/>
                  </a:cubicBezTo>
                  <a:cubicBezTo>
                    <a:pt x="44906" y="5079"/>
                    <a:pt x="54533" y="7340"/>
                    <a:pt x="64108" y="9715"/>
                  </a:cubicBezTo>
                  <a:cubicBezTo>
                    <a:pt x="70852" y="11391"/>
                    <a:pt x="73989" y="14769"/>
                    <a:pt x="71601" y="22110"/>
                  </a:cubicBezTo>
                  <a:cubicBezTo>
                    <a:pt x="70001" y="27012"/>
                    <a:pt x="69226" y="32194"/>
                    <a:pt x="68083" y="37248"/>
                  </a:cubicBezTo>
                  <a:cubicBezTo>
                    <a:pt x="66280" y="45770"/>
                    <a:pt x="64464" y="54279"/>
                    <a:pt x="62661" y="62788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9" name="Free Form 1380">
              <a:extLst>
                <a:ext uri="{FF2B5EF4-FFF2-40B4-BE49-F238E27FC236}">
                  <a16:creationId xmlns:a16="http://schemas.microsoft.com/office/drawing/2014/main" id="{D4F11BED-2EA8-153E-DAE3-7C0BF5B4CFC3}"/>
                </a:ext>
              </a:extLst>
            </p:cNvPr>
            <p:cNvSpPr/>
            <p:nvPr/>
          </p:nvSpPr>
          <p:spPr>
            <a:xfrm>
              <a:off x="4511187" y="5269031"/>
              <a:ext cx="150056" cy="180863"/>
            </a:xfrm>
            <a:custGeom>
              <a:avLst/>
              <a:gdLst/>
              <a:ahLst/>
              <a:cxnLst/>
              <a:rect l="0" t="0" r="0" b="0"/>
              <a:pathLst>
                <a:path w="119010" h="131583">
                  <a:moveTo>
                    <a:pt x="0" y="110196"/>
                  </a:moveTo>
                  <a:cubicBezTo>
                    <a:pt x="0" y="106005"/>
                    <a:pt x="0" y="101814"/>
                    <a:pt x="0" y="97611"/>
                  </a:cubicBezTo>
                  <a:cubicBezTo>
                    <a:pt x="1993" y="95579"/>
                    <a:pt x="4610" y="95490"/>
                    <a:pt x="7213" y="95210"/>
                  </a:cubicBezTo>
                  <a:cubicBezTo>
                    <a:pt x="15747" y="94296"/>
                    <a:pt x="16039" y="94093"/>
                    <a:pt x="16078" y="85114"/>
                  </a:cubicBezTo>
                  <a:cubicBezTo>
                    <a:pt x="16179" y="61721"/>
                    <a:pt x="16065" y="38315"/>
                    <a:pt x="16154" y="14922"/>
                  </a:cubicBezTo>
                  <a:cubicBezTo>
                    <a:pt x="16166" y="10832"/>
                    <a:pt x="15544" y="6527"/>
                    <a:pt x="18414" y="2920"/>
                  </a:cubicBezTo>
                  <a:cubicBezTo>
                    <a:pt x="23024" y="622"/>
                    <a:pt x="27507" y="0"/>
                    <a:pt x="31686" y="3848"/>
                  </a:cubicBezTo>
                  <a:cubicBezTo>
                    <a:pt x="31521" y="32613"/>
                    <a:pt x="31571" y="61378"/>
                    <a:pt x="31025" y="90130"/>
                  </a:cubicBezTo>
                  <a:cubicBezTo>
                    <a:pt x="30911" y="96544"/>
                    <a:pt x="32918" y="97915"/>
                    <a:pt x="38874" y="97763"/>
                  </a:cubicBezTo>
                  <a:cubicBezTo>
                    <a:pt x="54291" y="97369"/>
                    <a:pt x="69734" y="97585"/>
                    <a:pt x="85165" y="97636"/>
                  </a:cubicBezTo>
                  <a:cubicBezTo>
                    <a:pt x="105688" y="97712"/>
                    <a:pt x="118337" y="110057"/>
                    <a:pt x="119010" y="130592"/>
                  </a:cubicBezTo>
                  <a:cubicBezTo>
                    <a:pt x="114832" y="131583"/>
                    <a:pt x="110641" y="131583"/>
                    <a:pt x="106462" y="130580"/>
                  </a:cubicBezTo>
                  <a:cubicBezTo>
                    <a:pt x="105472" y="116800"/>
                    <a:pt x="98728" y="110247"/>
                    <a:pt x="85101" y="110209"/>
                  </a:cubicBezTo>
                  <a:cubicBezTo>
                    <a:pt x="56730" y="110133"/>
                    <a:pt x="28371" y="110196"/>
                    <a:pt x="0" y="110196"/>
                  </a:cubicBezTo>
                  <a:close/>
                </a:path>
              </a:pathLst>
            </a:custGeom>
            <a:solidFill>
              <a:srgbClr val="58584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0" name="Free Form 1381">
              <a:extLst>
                <a:ext uri="{FF2B5EF4-FFF2-40B4-BE49-F238E27FC236}">
                  <a16:creationId xmlns:a16="http://schemas.microsoft.com/office/drawing/2014/main" id="{DC777A5F-19BC-E591-616F-F972B8AAB2C1}"/>
                </a:ext>
              </a:extLst>
            </p:cNvPr>
            <p:cNvSpPr/>
            <p:nvPr/>
          </p:nvSpPr>
          <p:spPr>
            <a:xfrm>
              <a:off x="4506975" y="5234581"/>
              <a:ext cx="147814" cy="44163"/>
            </a:xfrm>
            <a:custGeom>
              <a:avLst/>
              <a:gdLst/>
              <a:ahLst/>
              <a:cxnLst/>
              <a:rect l="0" t="0" r="0" b="0"/>
              <a:pathLst>
                <a:path w="117232" h="32130">
                  <a:moveTo>
                    <a:pt x="35026" y="28904"/>
                  </a:moveTo>
                  <a:cubicBezTo>
                    <a:pt x="30657" y="28777"/>
                    <a:pt x="26301" y="28650"/>
                    <a:pt x="21932" y="28536"/>
                  </a:cubicBezTo>
                  <a:cubicBezTo>
                    <a:pt x="15735" y="31978"/>
                    <a:pt x="9537" y="32130"/>
                    <a:pt x="3340" y="28536"/>
                  </a:cubicBezTo>
                  <a:cubicBezTo>
                    <a:pt x="3149" y="20535"/>
                    <a:pt x="0" y="10426"/>
                    <a:pt x="4381" y="5130"/>
                  </a:cubicBezTo>
                  <a:cubicBezTo>
                    <a:pt x="8635" y="0"/>
                    <a:pt x="19011" y="3632"/>
                    <a:pt x="26682" y="3505"/>
                  </a:cubicBezTo>
                  <a:cubicBezTo>
                    <a:pt x="46151" y="3174"/>
                    <a:pt x="65620" y="3238"/>
                    <a:pt x="85089" y="3149"/>
                  </a:cubicBezTo>
                  <a:cubicBezTo>
                    <a:pt x="90308" y="3263"/>
                    <a:pt x="95566" y="3047"/>
                    <a:pt x="100760" y="3517"/>
                  </a:cubicBezTo>
                  <a:cubicBezTo>
                    <a:pt x="114476" y="4762"/>
                    <a:pt x="117232" y="15697"/>
                    <a:pt x="115962" y="26301"/>
                  </a:cubicBezTo>
                  <a:cubicBezTo>
                    <a:pt x="115517" y="30022"/>
                    <a:pt x="112279" y="28447"/>
                    <a:pt x="110311" y="28460"/>
                  </a:cubicBezTo>
                  <a:cubicBezTo>
                    <a:pt x="88086" y="28574"/>
                    <a:pt x="65861" y="28523"/>
                    <a:pt x="43624" y="28549"/>
                  </a:cubicBezTo>
                  <a:cubicBezTo>
                    <a:pt x="40766" y="28549"/>
                    <a:pt x="37896" y="28777"/>
                    <a:pt x="35026" y="28904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1" name="Free Form 1382">
              <a:extLst>
                <a:ext uri="{FF2B5EF4-FFF2-40B4-BE49-F238E27FC236}">
                  <a16:creationId xmlns:a16="http://schemas.microsoft.com/office/drawing/2014/main" id="{466A7610-6C5A-E50F-1983-B447DD89DDF5}"/>
                </a:ext>
              </a:extLst>
            </p:cNvPr>
            <p:cNvSpPr/>
            <p:nvPr/>
          </p:nvSpPr>
          <p:spPr>
            <a:xfrm>
              <a:off x="4273724" y="5269612"/>
              <a:ext cx="78560" cy="150890"/>
            </a:xfrm>
            <a:custGeom>
              <a:avLst/>
              <a:gdLst/>
              <a:ahLst/>
              <a:cxnLst/>
              <a:rect l="0" t="0" r="0" b="0"/>
              <a:pathLst>
                <a:path w="62305" h="109777">
                  <a:moveTo>
                    <a:pt x="62305" y="97192"/>
                  </a:moveTo>
                  <a:cubicBezTo>
                    <a:pt x="62305" y="101383"/>
                    <a:pt x="62305" y="105586"/>
                    <a:pt x="62305" y="109777"/>
                  </a:cubicBezTo>
                  <a:cubicBezTo>
                    <a:pt x="41541" y="109777"/>
                    <a:pt x="20776" y="109777"/>
                    <a:pt x="12" y="109777"/>
                  </a:cubicBezTo>
                  <a:cubicBezTo>
                    <a:pt x="12" y="105586"/>
                    <a:pt x="0" y="101383"/>
                    <a:pt x="0" y="97192"/>
                  </a:cubicBezTo>
                  <a:cubicBezTo>
                    <a:pt x="3771" y="93890"/>
                    <a:pt x="8381" y="94817"/>
                    <a:pt x="12725" y="94766"/>
                  </a:cubicBezTo>
                  <a:cubicBezTo>
                    <a:pt x="29425" y="94563"/>
                    <a:pt x="28676" y="96188"/>
                    <a:pt x="28688" y="78396"/>
                  </a:cubicBezTo>
                  <a:cubicBezTo>
                    <a:pt x="28701" y="56996"/>
                    <a:pt x="28650" y="35597"/>
                    <a:pt x="28714" y="14211"/>
                  </a:cubicBezTo>
                  <a:cubicBezTo>
                    <a:pt x="28727" y="10337"/>
                    <a:pt x="28295" y="6324"/>
                    <a:pt x="30708" y="2832"/>
                  </a:cubicBezTo>
                  <a:cubicBezTo>
                    <a:pt x="35064" y="0"/>
                    <a:pt x="39483" y="101"/>
                    <a:pt x="43954" y="2552"/>
                  </a:cubicBezTo>
                  <a:cubicBezTo>
                    <a:pt x="46760" y="6159"/>
                    <a:pt x="46138" y="10451"/>
                    <a:pt x="46164" y="14554"/>
                  </a:cubicBezTo>
                  <a:cubicBezTo>
                    <a:pt x="46240" y="37413"/>
                    <a:pt x="46189" y="60286"/>
                    <a:pt x="46202" y="83146"/>
                  </a:cubicBezTo>
                  <a:cubicBezTo>
                    <a:pt x="46202" y="92645"/>
                    <a:pt x="46456" y="95464"/>
                    <a:pt x="56654" y="94969"/>
                  </a:cubicBezTo>
                  <a:cubicBezTo>
                    <a:pt x="58736" y="94880"/>
                    <a:pt x="60768" y="95579"/>
                    <a:pt x="62305" y="97192"/>
                  </a:cubicBezTo>
                  <a:close/>
                </a:path>
              </a:pathLst>
            </a:custGeom>
            <a:solidFill>
              <a:srgbClr val="58584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2" name="Free Form 1383">
              <a:extLst>
                <a:ext uri="{FF2B5EF4-FFF2-40B4-BE49-F238E27FC236}">
                  <a16:creationId xmlns:a16="http://schemas.microsoft.com/office/drawing/2014/main" id="{B9F7981E-65E2-B2EC-D771-956884E00F54}"/>
                </a:ext>
              </a:extLst>
            </p:cNvPr>
            <p:cNvSpPr/>
            <p:nvPr/>
          </p:nvSpPr>
          <p:spPr>
            <a:xfrm>
              <a:off x="4536510" y="4858391"/>
              <a:ext cx="57215" cy="105802"/>
            </a:xfrm>
            <a:custGeom>
              <a:avLst/>
              <a:gdLst/>
              <a:ahLst/>
              <a:cxnLst/>
              <a:rect l="0" t="0" r="0" b="0"/>
              <a:pathLst>
                <a:path w="45376" h="76973">
                  <a:moveTo>
                    <a:pt x="22135" y="76173"/>
                  </a:moveTo>
                  <a:cubicBezTo>
                    <a:pt x="18503" y="71957"/>
                    <a:pt x="14871" y="67753"/>
                    <a:pt x="11252" y="63537"/>
                  </a:cubicBezTo>
                  <a:cubicBezTo>
                    <a:pt x="11175" y="59651"/>
                    <a:pt x="10985" y="55765"/>
                    <a:pt x="11061" y="51878"/>
                  </a:cubicBezTo>
                  <a:cubicBezTo>
                    <a:pt x="11125" y="49084"/>
                    <a:pt x="10629" y="46938"/>
                    <a:pt x="7746" y="45605"/>
                  </a:cubicBezTo>
                  <a:cubicBezTo>
                    <a:pt x="1765" y="42849"/>
                    <a:pt x="126" y="37528"/>
                    <a:pt x="63" y="31482"/>
                  </a:cubicBezTo>
                  <a:cubicBezTo>
                    <a:pt x="0" y="24485"/>
                    <a:pt x="38" y="17487"/>
                    <a:pt x="25" y="10477"/>
                  </a:cubicBezTo>
                  <a:cubicBezTo>
                    <a:pt x="1765" y="7226"/>
                    <a:pt x="5181" y="6311"/>
                    <a:pt x="8127" y="4813"/>
                  </a:cubicBezTo>
                  <a:cubicBezTo>
                    <a:pt x="17640" y="0"/>
                    <a:pt x="18046" y="88"/>
                    <a:pt x="22351" y="9410"/>
                  </a:cubicBezTo>
                  <a:cubicBezTo>
                    <a:pt x="24078" y="13169"/>
                    <a:pt x="26377" y="15100"/>
                    <a:pt x="30682" y="14808"/>
                  </a:cubicBezTo>
                  <a:cubicBezTo>
                    <a:pt x="33959" y="14579"/>
                    <a:pt x="37286" y="14960"/>
                    <a:pt x="39471" y="18656"/>
                  </a:cubicBezTo>
                  <a:cubicBezTo>
                    <a:pt x="39331" y="12737"/>
                    <a:pt x="36893" y="7353"/>
                    <a:pt x="41325" y="2755"/>
                  </a:cubicBezTo>
                  <a:cubicBezTo>
                    <a:pt x="42227" y="13703"/>
                    <a:pt x="45376" y="25056"/>
                    <a:pt x="35851" y="34188"/>
                  </a:cubicBezTo>
                  <a:cubicBezTo>
                    <a:pt x="34061" y="35889"/>
                    <a:pt x="34657" y="38086"/>
                    <a:pt x="34645" y="40093"/>
                  </a:cubicBezTo>
                  <a:cubicBezTo>
                    <a:pt x="34581" y="47916"/>
                    <a:pt x="34657" y="55752"/>
                    <a:pt x="34683" y="63575"/>
                  </a:cubicBezTo>
                  <a:cubicBezTo>
                    <a:pt x="30936" y="67753"/>
                    <a:pt x="27190" y="71932"/>
                    <a:pt x="23456" y="76097"/>
                  </a:cubicBezTo>
                  <a:cubicBezTo>
                    <a:pt x="23062" y="76973"/>
                    <a:pt x="22618" y="76948"/>
                    <a:pt x="22135" y="76173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3" name="Free Form 1384">
              <a:extLst>
                <a:ext uri="{FF2B5EF4-FFF2-40B4-BE49-F238E27FC236}">
                  <a16:creationId xmlns:a16="http://schemas.microsoft.com/office/drawing/2014/main" id="{EF26E76A-4D30-A6C8-FDF1-7F1FC0DEFA21}"/>
                </a:ext>
              </a:extLst>
            </p:cNvPr>
            <p:cNvSpPr/>
            <p:nvPr/>
          </p:nvSpPr>
          <p:spPr>
            <a:xfrm>
              <a:off x="3905068" y="4672718"/>
              <a:ext cx="55660" cy="97283"/>
            </a:xfrm>
            <a:custGeom>
              <a:avLst/>
              <a:gdLst/>
              <a:ahLst/>
              <a:cxnLst/>
              <a:rect l="0" t="0" r="0" b="0"/>
              <a:pathLst>
                <a:path w="44144" h="70776">
                  <a:moveTo>
                    <a:pt x="21157" y="70776"/>
                  </a:moveTo>
                  <a:cubicBezTo>
                    <a:pt x="17271" y="67398"/>
                    <a:pt x="13385" y="64032"/>
                    <a:pt x="9499" y="60654"/>
                  </a:cubicBezTo>
                  <a:cubicBezTo>
                    <a:pt x="9042" y="52285"/>
                    <a:pt x="11048" y="43789"/>
                    <a:pt x="8229" y="35534"/>
                  </a:cubicBezTo>
                  <a:cubicBezTo>
                    <a:pt x="5524" y="31305"/>
                    <a:pt x="0" y="28092"/>
                    <a:pt x="3187" y="21716"/>
                  </a:cubicBezTo>
                  <a:cubicBezTo>
                    <a:pt x="3314" y="15392"/>
                    <a:pt x="7937" y="14757"/>
                    <a:pt x="12445" y="15023"/>
                  </a:cubicBezTo>
                  <a:cubicBezTo>
                    <a:pt x="17919" y="15354"/>
                    <a:pt x="20459" y="13118"/>
                    <a:pt x="21932" y="8000"/>
                  </a:cubicBezTo>
                  <a:cubicBezTo>
                    <a:pt x="23964" y="990"/>
                    <a:pt x="26530" y="0"/>
                    <a:pt x="32740" y="3670"/>
                  </a:cubicBezTo>
                  <a:cubicBezTo>
                    <a:pt x="36512" y="5905"/>
                    <a:pt x="41033" y="6997"/>
                    <a:pt x="43941" y="10617"/>
                  </a:cubicBezTo>
                  <a:cubicBezTo>
                    <a:pt x="44017" y="18922"/>
                    <a:pt x="44081" y="27228"/>
                    <a:pt x="44144" y="35534"/>
                  </a:cubicBezTo>
                  <a:cubicBezTo>
                    <a:pt x="43725" y="43598"/>
                    <a:pt x="37655" y="48551"/>
                    <a:pt x="33641" y="54634"/>
                  </a:cubicBezTo>
                  <a:cubicBezTo>
                    <a:pt x="31533" y="52856"/>
                    <a:pt x="30289" y="49846"/>
                    <a:pt x="25399" y="49935"/>
                  </a:cubicBezTo>
                  <a:cubicBezTo>
                    <a:pt x="29158" y="51751"/>
                    <a:pt x="32117" y="52691"/>
                    <a:pt x="33972" y="55130"/>
                  </a:cubicBezTo>
                  <a:cubicBezTo>
                    <a:pt x="35064" y="57111"/>
                    <a:pt x="34696" y="58927"/>
                    <a:pt x="33362" y="60629"/>
                  </a:cubicBezTo>
                  <a:cubicBezTo>
                    <a:pt x="29476" y="63994"/>
                    <a:pt x="25602" y="67360"/>
                    <a:pt x="21716" y="70725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4" name="Free Form 1385">
              <a:extLst>
                <a:ext uri="{FF2B5EF4-FFF2-40B4-BE49-F238E27FC236}">
                  <a16:creationId xmlns:a16="http://schemas.microsoft.com/office/drawing/2014/main" id="{076E3112-1A7A-857A-F544-85B8BBA04B53}"/>
                </a:ext>
              </a:extLst>
            </p:cNvPr>
            <p:cNvSpPr/>
            <p:nvPr/>
          </p:nvSpPr>
          <p:spPr>
            <a:xfrm>
              <a:off x="4516947" y="4835695"/>
              <a:ext cx="71674" cy="52315"/>
            </a:xfrm>
            <a:custGeom>
              <a:avLst/>
              <a:gdLst/>
              <a:ahLst/>
              <a:cxnLst/>
              <a:rect l="0" t="0" r="0" b="0"/>
              <a:pathLst>
                <a:path w="56844" h="38061">
                  <a:moveTo>
                    <a:pt x="56844" y="19265"/>
                  </a:moveTo>
                  <a:lnTo>
                    <a:pt x="56844" y="38061"/>
                  </a:lnTo>
                  <a:cubicBezTo>
                    <a:pt x="52031" y="32892"/>
                    <a:pt x="47687" y="31609"/>
                    <a:pt x="42887" y="33667"/>
                  </a:cubicBezTo>
                  <a:cubicBezTo>
                    <a:pt x="39483" y="35127"/>
                    <a:pt x="38785" y="32435"/>
                    <a:pt x="37667" y="30606"/>
                  </a:cubicBezTo>
                  <a:cubicBezTo>
                    <a:pt x="35597" y="27241"/>
                    <a:pt x="34530" y="23469"/>
                    <a:pt x="34238" y="18960"/>
                  </a:cubicBezTo>
                  <a:cubicBezTo>
                    <a:pt x="27292" y="20776"/>
                    <a:pt x="22199" y="25831"/>
                    <a:pt x="15544" y="26999"/>
                  </a:cubicBezTo>
                  <a:cubicBezTo>
                    <a:pt x="11061" y="26339"/>
                    <a:pt x="6934" y="25018"/>
                    <a:pt x="3949" y="21284"/>
                  </a:cubicBezTo>
                  <a:cubicBezTo>
                    <a:pt x="736" y="17271"/>
                    <a:pt x="0" y="12699"/>
                    <a:pt x="1676" y="8039"/>
                  </a:cubicBezTo>
                  <a:cubicBezTo>
                    <a:pt x="3403" y="3200"/>
                    <a:pt x="7378" y="520"/>
                    <a:pt x="12471" y="393"/>
                  </a:cubicBezTo>
                  <a:cubicBezTo>
                    <a:pt x="21056" y="190"/>
                    <a:pt x="29679" y="0"/>
                    <a:pt x="38239" y="584"/>
                  </a:cubicBezTo>
                  <a:cubicBezTo>
                    <a:pt x="48818" y="1308"/>
                    <a:pt x="54825" y="7746"/>
                    <a:pt x="56844" y="19265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5" name="Free Form 1386">
              <a:extLst>
                <a:ext uri="{FF2B5EF4-FFF2-40B4-BE49-F238E27FC236}">
                  <a16:creationId xmlns:a16="http://schemas.microsoft.com/office/drawing/2014/main" id="{967994ED-0A02-5DED-CC3F-121CE6921845}"/>
                </a:ext>
              </a:extLst>
            </p:cNvPr>
            <p:cNvSpPr/>
            <p:nvPr/>
          </p:nvSpPr>
          <p:spPr>
            <a:xfrm>
              <a:off x="4016471" y="5334261"/>
              <a:ext cx="58799" cy="90336"/>
            </a:xfrm>
            <a:custGeom>
              <a:avLst/>
              <a:gdLst/>
              <a:ahLst/>
              <a:cxnLst/>
              <a:rect l="0" t="0" r="0" b="0"/>
              <a:pathLst>
                <a:path w="46633" h="65721">
                  <a:moveTo>
                    <a:pt x="46633" y="0"/>
                  </a:moveTo>
                  <a:lnTo>
                    <a:pt x="46633" y="65721"/>
                  </a:lnTo>
                  <a:cubicBezTo>
                    <a:pt x="31597" y="58838"/>
                    <a:pt x="16547" y="51942"/>
                    <a:pt x="0" y="44360"/>
                  </a:cubicBezTo>
                  <a:cubicBezTo>
                    <a:pt x="9740" y="40512"/>
                    <a:pt x="17830" y="37032"/>
                    <a:pt x="26123" y="34162"/>
                  </a:cubicBezTo>
                  <a:cubicBezTo>
                    <a:pt x="30974" y="32498"/>
                    <a:pt x="33883" y="29781"/>
                    <a:pt x="35750" y="24955"/>
                  </a:cubicBezTo>
                  <a:cubicBezTo>
                    <a:pt x="39026" y="16497"/>
                    <a:pt x="42963" y="8305"/>
                    <a:pt x="46633" y="0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6" name="Free Form 1387">
              <a:extLst>
                <a:ext uri="{FF2B5EF4-FFF2-40B4-BE49-F238E27FC236}">
                  <a16:creationId xmlns:a16="http://schemas.microsoft.com/office/drawing/2014/main" id="{5EACE171-BD5D-D865-F1AE-E16A7C25B554}"/>
                </a:ext>
              </a:extLst>
            </p:cNvPr>
            <p:cNvSpPr/>
            <p:nvPr/>
          </p:nvSpPr>
          <p:spPr>
            <a:xfrm>
              <a:off x="4635784" y="5445504"/>
              <a:ext cx="35372" cy="35244"/>
            </a:xfrm>
            <a:custGeom>
              <a:avLst/>
              <a:gdLst/>
              <a:ahLst/>
              <a:cxnLst/>
              <a:rect l="0" t="0" r="0" b="0"/>
              <a:pathLst>
                <a:path w="28054" h="25641">
                  <a:moveTo>
                    <a:pt x="7645" y="2197"/>
                  </a:moveTo>
                  <a:cubicBezTo>
                    <a:pt x="11823" y="0"/>
                    <a:pt x="16014" y="0"/>
                    <a:pt x="20192" y="2197"/>
                  </a:cubicBezTo>
                  <a:cubicBezTo>
                    <a:pt x="25526" y="6197"/>
                    <a:pt x="28054" y="11213"/>
                    <a:pt x="25412" y="17805"/>
                  </a:cubicBezTo>
                  <a:cubicBezTo>
                    <a:pt x="23367" y="22923"/>
                    <a:pt x="19367" y="25641"/>
                    <a:pt x="13906" y="25628"/>
                  </a:cubicBezTo>
                  <a:cubicBezTo>
                    <a:pt x="8077" y="25615"/>
                    <a:pt x="3962" y="22567"/>
                    <a:pt x="2108" y="17081"/>
                  </a:cubicBezTo>
                  <a:cubicBezTo>
                    <a:pt x="0" y="10782"/>
                    <a:pt x="2501" y="5930"/>
                    <a:pt x="7645" y="2197"/>
                  </a:cubicBezTo>
                  <a:close/>
                </a:path>
              </a:pathLst>
            </a:custGeom>
            <a:solidFill>
              <a:srgbClr val="3B3A3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7" name="Free Form 1388">
              <a:extLst>
                <a:ext uri="{FF2B5EF4-FFF2-40B4-BE49-F238E27FC236}">
                  <a16:creationId xmlns:a16="http://schemas.microsoft.com/office/drawing/2014/main" id="{B08115AC-2E6F-9324-C90E-6B64E8732CF0}"/>
                </a:ext>
              </a:extLst>
            </p:cNvPr>
            <p:cNvSpPr/>
            <p:nvPr/>
          </p:nvSpPr>
          <p:spPr>
            <a:xfrm>
              <a:off x="4015199" y="4859132"/>
              <a:ext cx="4644" cy="7105"/>
            </a:xfrm>
            <a:custGeom>
              <a:avLst/>
              <a:gdLst/>
              <a:ahLst/>
              <a:cxnLst/>
              <a:rect l="0" t="0" r="0" b="0"/>
              <a:pathLst>
                <a:path w="3682" h="5168">
                  <a:moveTo>
                    <a:pt x="1028" y="5168"/>
                  </a:moveTo>
                  <a:cubicBezTo>
                    <a:pt x="761" y="3505"/>
                    <a:pt x="0" y="1168"/>
                    <a:pt x="1536" y="507"/>
                  </a:cubicBezTo>
                  <a:cubicBezTo>
                    <a:pt x="2755" y="0"/>
                    <a:pt x="3428" y="2260"/>
                    <a:pt x="3682" y="3733"/>
                  </a:cubicBezTo>
                  <a:cubicBezTo>
                    <a:pt x="2793" y="4203"/>
                    <a:pt x="1917" y="4686"/>
                    <a:pt x="1028" y="5168"/>
                  </a:cubicBezTo>
                  <a:close/>
                </a:path>
              </a:pathLst>
            </a:custGeom>
            <a:solidFill>
              <a:srgbClr val="93CCB6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8" name="Free Form 1389">
              <a:extLst>
                <a:ext uri="{FF2B5EF4-FFF2-40B4-BE49-F238E27FC236}">
                  <a16:creationId xmlns:a16="http://schemas.microsoft.com/office/drawing/2014/main" id="{497EC450-6051-365F-308C-09A4F3FFF503}"/>
                </a:ext>
              </a:extLst>
            </p:cNvPr>
            <p:cNvSpPr/>
            <p:nvPr/>
          </p:nvSpPr>
          <p:spPr>
            <a:xfrm>
              <a:off x="3838287" y="4606951"/>
              <a:ext cx="775120" cy="21873"/>
            </a:xfrm>
            <a:custGeom>
              <a:avLst/>
              <a:gdLst/>
              <a:ahLst/>
              <a:cxnLst/>
              <a:rect l="0" t="0" r="0" b="0"/>
              <a:pathLst>
                <a:path w="614749" h="15912">
                  <a:moveTo>
                    <a:pt x="307641" y="14350"/>
                  </a:moveTo>
                  <a:cubicBezTo>
                    <a:pt x="209611" y="14350"/>
                    <a:pt x="111581" y="14350"/>
                    <a:pt x="13550" y="14350"/>
                  </a:cubicBezTo>
                  <a:cubicBezTo>
                    <a:pt x="11201" y="14350"/>
                    <a:pt x="8839" y="14465"/>
                    <a:pt x="6502" y="14287"/>
                  </a:cubicBezTo>
                  <a:cubicBezTo>
                    <a:pt x="2590" y="13995"/>
                    <a:pt x="0" y="11912"/>
                    <a:pt x="101" y="7848"/>
                  </a:cubicBezTo>
                  <a:cubicBezTo>
                    <a:pt x="177" y="4216"/>
                    <a:pt x="2616" y="2235"/>
                    <a:pt x="6159" y="1879"/>
                  </a:cubicBezTo>
                  <a:cubicBezTo>
                    <a:pt x="8229" y="1676"/>
                    <a:pt x="10337" y="1803"/>
                    <a:pt x="12433" y="1803"/>
                  </a:cubicBezTo>
                  <a:cubicBezTo>
                    <a:pt x="209014" y="1790"/>
                    <a:pt x="405595" y="1790"/>
                    <a:pt x="602176" y="1841"/>
                  </a:cubicBezTo>
                  <a:cubicBezTo>
                    <a:pt x="607345" y="1841"/>
                    <a:pt x="614749" y="0"/>
                    <a:pt x="614648" y="8293"/>
                  </a:cubicBezTo>
                  <a:cubicBezTo>
                    <a:pt x="614546" y="15912"/>
                    <a:pt x="607510" y="14312"/>
                    <a:pt x="602519" y="14312"/>
                  </a:cubicBezTo>
                  <a:cubicBezTo>
                    <a:pt x="504222" y="14363"/>
                    <a:pt x="405938" y="14350"/>
                    <a:pt x="307641" y="14350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9" name="Free Form 1390">
              <a:extLst>
                <a:ext uri="{FF2B5EF4-FFF2-40B4-BE49-F238E27FC236}">
                  <a16:creationId xmlns:a16="http://schemas.microsoft.com/office/drawing/2014/main" id="{6A1FB4A9-707A-C484-6E9F-5D718647D17D}"/>
                </a:ext>
              </a:extLst>
            </p:cNvPr>
            <p:cNvSpPr/>
            <p:nvPr/>
          </p:nvSpPr>
          <p:spPr>
            <a:xfrm>
              <a:off x="4028314" y="4503648"/>
              <a:ext cx="585415" cy="21855"/>
            </a:xfrm>
            <a:custGeom>
              <a:avLst/>
              <a:gdLst/>
              <a:ahLst/>
              <a:cxnLst/>
              <a:rect l="0" t="0" r="0" b="0"/>
              <a:pathLst>
                <a:path w="464294" h="15900">
                  <a:moveTo>
                    <a:pt x="232013" y="1625"/>
                  </a:moveTo>
                  <a:cubicBezTo>
                    <a:pt x="305203" y="1625"/>
                    <a:pt x="378379" y="1625"/>
                    <a:pt x="451569" y="1625"/>
                  </a:cubicBezTo>
                  <a:cubicBezTo>
                    <a:pt x="453651" y="1625"/>
                    <a:pt x="455760" y="1498"/>
                    <a:pt x="457830" y="1689"/>
                  </a:cubicBezTo>
                  <a:cubicBezTo>
                    <a:pt x="461728" y="2057"/>
                    <a:pt x="464294" y="4165"/>
                    <a:pt x="464129" y="8229"/>
                  </a:cubicBezTo>
                  <a:cubicBezTo>
                    <a:pt x="463976" y="11848"/>
                    <a:pt x="461513" y="13792"/>
                    <a:pt x="457957" y="14109"/>
                  </a:cubicBezTo>
                  <a:cubicBezTo>
                    <a:pt x="455887" y="14287"/>
                    <a:pt x="453778" y="14173"/>
                    <a:pt x="451696" y="14173"/>
                  </a:cubicBezTo>
                  <a:cubicBezTo>
                    <a:pt x="305330" y="14185"/>
                    <a:pt x="158964" y="14185"/>
                    <a:pt x="12585" y="14134"/>
                  </a:cubicBezTo>
                  <a:cubicBezTo>
                    <a:pt x="7404" y="14134"/>
                    <a:pt x="0" y="15900"/>
                    <a:pt x="228" y="7581"/>
                  </a:cubicBezTo>
                  <a:cubicBezTo>
                    <a:pt x="431" y="0"/>
                    <a:pt x="7480" y="1663"/>
                    <a:pt x="12458" y="1663"/>
                  </a:cubicBezTo>
                  <a:cubicBezTo>
                    <a:pt x="85647" y="1612"/>
                    <a:pt x="158824" y="1625"/>
                    <a:pt x="232013" y="1625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0" name="Free Form 1391">
              <a:extLst>
                <a:ext uri="{FF2B5EF4-FFF2-40B4-BE49-F238E27FC236}">
                  <a16:creationId xmlns:a16="http://schemas.microsoft.com/office/drawing/2014/main" id="{E2A30CA0-72E9-5C7A-7E23-380DBF38941F}"/>
                </a:ext>
              </a:extLst>
            </p:cNvPr>
            <p:cNvSpPr/>
            <p:nvPr/>
          </p:nvSpPr>
          <p:spPr>
            <a:xfrm>
              <a:off x="4233922" y="4660946"/>
              <a:ext cx="379794" cy="17735"/>
            </a:xfrm>
            <a:custGeom>
              <a:avLst/>
              <a:gdLst/>
              <a:ahLst/>
              <a:cxnLst/>
              <a:rect l="0" t="0" r="0" b="0"/>
              <a:pathLst>
                <a:path w="301215" h="12903">
                  <a:moveTo>
                    <a:pt x="151496" y="177"/>
                  </a:moveTo>
                  <a:cubicBezTo>
                    <a:pt x="197216" y="177"/>
                    <a:pt x="242948" y="177"/>
                    <a:pt x="288667" y="177"/>
                  </a:cubicBezTo>
                  <a:cubicBezTo>
                    <a:pt x="291017" y="177"/>
                    <a:pt x="293417" y="0"/>
                    <a:pt x="295703" y="368"/>
                  </a:cubicBezTo>
                  <a:cubicBezTo>
                    <a:pt x="298840" y="876"/>
                    <a:pt x="300974" y="2895"/>
                    <a:pt x="301088" y="6172"/>
                  </a:cubicBezTo>
                  <a:cubicBezTo>
                    <a:pt x="301215" y="9855"/>
                    <a:pt x="298992" y="12001"/>
                    <a:pt x="295500" y="12572"/>
                  </a:cubicBezTo>
                  <a:cubicBezTo>
                    <a:pt x="293468" y="12903"/>
                    <a:pt x="291334" y="12725"/>
                    <a:pt x="289239" y="12725"/>
                  </a:cubicBezTo>
                  <a:cubicBezTo>
                    <a:pt x="196746" y="12737"/>
                    <a:pt x="104253" y="12737"/>
                    <a:pt x="11760" y="12725"/>
                  </a:cubicBezTo>
                  <a:cubicBezTo>
                    <a:pt x="9677" y="12725"/>
                    <a:pt x="7543" y="12903"/>
                    <a:pt x="5511" y="12547"/>
                  </a:cubicBezTo>
                  <a:cubicBezTo>
                    <a:pt x="2374" y="12001"/>
                    <a:pt x="253" y="10020"/>
                    <a:pt x="126" y="6743"/>
                  </a:cubicBezTo>
                  <a:cubicBezTo>
                    <a:pt x="0" y="3060"/>
                    <a:pt x="2222" y="914"/>
                    <a:pt x="5714" y="342"/>
                  </a:cubicBezTo>
                  <a:cubicBezTo>
                    <a:pt x="7746" y="0"/>
                    <a:pt x="9880" y="177"/>
                    <a:pt x="11975" y="177"/>
                  </a:cubicBezTo>
                  <a:cubicBezTo>
                    <a:pt x="58482" y="177"/>
                    <a:pt x="104989" y="177"/>
                    <a:pt x="151496" y="177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1" name="Free Form 1392">
              <a:extLst>
                <a:ext uri="{FF2B5EF4-FFF2-40B4-BE49-F238E27FC236}">
                  <a16:creationId xmlns:a16="http://schemas.microsoft.com/office/drawing/2014/main" id="{C6038ADD-9844-B8D1-F9B5-FE6681CCD308}"/>
                </a:ext>
              </a:extLst>
            </p:cNvPr>
            <p:cNvSpPr/>
            <p:nvPr/>
          </p:nvSpPr>
          <p:spPr>
            <a:xfrm>
              <a:off x="4265516" y="4557390"/>
              <a:ext cx="348297" cy="17840"/>
            </a:xfrm>
            <a:custGeom>
              <a:avLst/>
              <a:gdLst/>
              <a:ahLst/>
              <a:cxnLst/>
              <a:rect l="0" t="0" r="0" b="0"/>
              <a:pathLst>
                <a:path w="276234" h="12979">
                  <a:moveTo>
                    <a:pt x="138923" y="190"/>
                  </a:moveTo>
                  <a:cubicBezTo>
                    <a:pt x="180731" y="190"/>
                    <a:pt x="222527" y="190"/>
                    <a:pt x="264334" y="203"/>
                  </a:cubicBezTo>
                  <a:cubicBezTo>
                    <a:pt x="266671" y="203"/>
                    <a:pt x="269097" y="0"/>
                    <a:pt x="271345" y="546"/>
                  </a:cubicBezTo>
                  <a:cubicBezTo>
                    <a:pt x="274024" y="1181"/>
                    <a:pt x="275904" y="3149"/>
                    <a:pt x="276056" y="6108"/>
                  </a:cubicBezTo>
                  <a:cubicBezTo>
                    <a:pt x="276234" y="9474"/>
                    <a:pt x="274266" y="11645"/>
                    <a:pt x="271269" y="12420"/>
                  </a:cubicBezTo>
                  <a:cubicBezTo>
                    <a:pt x="269046" y="12979"/>
                    <a:pt x="266608" y="12737"/>
                    <a:pt x="264258" y="12737"/>
                  </a:cubicBezTo>
                  <a:cubicBezTo>
                    <a:pt x="180134" y="12750"/>
                    <a:pt x="96010" y="12750"/>
                    <a:pt x="11887" y="12737"/>
                  </a:cubicBezTo>
                  <a:cubicBezTo>
                    <a:pt x="9791" y="12737"/>
                    <a:pt x="7670" y="12903"/>
                    <a:pt x="5626" y="12572"/>
                  </a:cubicBezTo>
                  <a:cubicBezTo>
                    <a:pt x="2489" y="12052"/>
                    <a:pt x="342" y="10096"/>
                    <a:pt x="177" y="6819"/>
                  </a:cubicBezTo>
                  <a:cubicBezTo>
                    <a:pt x="0" y="3136"/>
                    <a:pt x="2222" y="977"/>
                    <a:pt x="5689" y="368"/>
                  </a:cubicBezTo>
                  <a:cubicBezTo>
                    <a:pt x="7721" y="12"/>
                    <a:pt x="9867" y="190"/>
                    <a:pt x="11950" y="190"/>
                  </a:cubicBezTo>
                  <a:cubicBezTo>
                    <a:pt x="54279" y="190"/>
                    <a:pt x="96595" y="190"/>
                    <a:pt x="138923" y="190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2" name="Free Form 1393">
              <a:extLst>
                <a:ext uri="{FF2B5EF4-FFF2-40B4-BE49-F238E27FC236}">
                  <a16:creationId xmlns:a16="http://schemas.microsoft.com/office/drawing/2014/main" id="{0FDCC352-C602-21A6-8F4E-74D433DA0EF3}"/>
                </a:ext>
              </a:extLst>
            </p:cNvPr>
            <p:cNvSpPr/>
            <p:nvPr/>
          </p:nvSpPr>
          <p:spPr>
            <a:xfrm>
              <a:off x="3838286" y="4557433"/>
              <a:ext cx="253035" cy="17701"/>
            </a:xfrm>
            <a:custGeom>
              <a:avLst/>
              <a:gdLst/>
              <a:ahLst/>
              <a:cxnLst/>
              <a:rect l="0" t="0" r="0" b="0"/>
              <a:pathLst>
                <a:path w="200683" h="12877">
                  <a:moveTo>
                    <a:pt x="100176" y="12712"/>
                  </a:moveTo>
                  <a:cubicBezTo>
                    <a:pt x="70928" y="12712"/>
                    <a:pt x="41680" y="12712"/>
                    <a:pt x="12420" y="12712"/>
                  </a:cubicBezTo>
                  <a:cubicBezTo>
                    <a:pt x="10337" y="12712"/>
                    <a:pt x="8229" y="12826"/>
                    <a:pt x="6159" y="12623"/>
                  </a:cubicBezTo>
                  <a:cubicBezTo>
                    <a:pt x="2616" y="12268"/>
                    <a:pt x="190" y="10299"/>
                    <a:pt x="101" y="6667"/>
                  </a:cubicBezTo>
                  <a:cubicBezTo>
                    <a:pt x="0" y="2616"/>
                    <a:pt x="2578" y="571"/>
                    <a:pt x="6476" y="203"/>
                  </a:cubicBezTo>
                  <a:cubicBezTo>
                    <a:pt x="8026" y="63"/>
                    <a:pt x="9601" y="165"/>
                    <a:pt x="11175" y="165"/>
                  </a:cubicBezTo>
                  <a:cubicBezTo>
                    <a:pt x="70712" y="152"/>
                    <a:pt x="130262" y="152"/>
                    <a:pt x="189812" y="165"/>
                  </a:cubicBezTo>
                  <a:cubicBezTo>
                    <a:pt x="191640" y="165"/>
                    <a:pt x="193507" y="0"/>
                    <a:pt x="195273" y="342"/>
                  </a:cubicBezTo>
                  <a:cubicBezTo>
                    <a:pt x="198384" y="952"/>
                    <a:pt x="200518" y="2920"/>
                    <a:pt x="200594" y="6197"/>
                  </a:cubicBezTo>
                  <a:cubicBezTo>
                    <a:pt x="200683" y="9880"/>
                    <a:pt x="198460" y="12001"/>
                    <a:pt x="194968" y="12560"/>
                  </a:cubicBezTo>
                  <a:cubicBezTo>
                    <a:pt x="192923" y="12877"/>
                    <a:pt x="190802" y="12712"/>
                    <a:pt x="188707" y="12712"/>
                  </a:cubicBezTo>
                  <a:cubicBezTo>
                    <a:pt x="159192" y="12712"/>
                    <a:pt x="129691" y="12712"/>
                    <a:pt x="100176" y="12712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3" name="Free Form 1394">
              <a:extLst>
                <a:ext uri="{FF2B5EF4-FFF2-40B4-BE49-F238E27FC236}">
                  <a16:creationId xmlns:a16="http://schemas.microsoft.com/office/drawing/2014/main" id="{91D7F2D2-979B-FABA-06B3-ACA8F6E60A98}"/>
                </a:ext>
              </a:extLst>
            </p:cNvPr>
            <p:cNvSpPr/>
            <p:nvPr/>
          </p:nvSpPr>
          <p:spPr>
            <a:xfrm>
              <a:off x="3838233" y="4505812"/>
              <a:ext cx="158159" cy="17370"/>
            </a:xfrm>
            <a:custGeom>
              <a:avLst/>
              <a:gdLst/>
              <a:ahLst/>
              <a:cxnLst/>
              <a:rect l="0" t="0" r="0" b="0"/>
              <a:pathLst>
                <a:path w="125436" h="12636">
                  <a:moveTo>
                    <a:pt x="62661" y="50"/>
                  </a:moveTo>
                  <a:cubicBezTo>
                    <a:pt x="80402" y="50"/>
                    <a:pt x="98144" y="88"/>
                    <a:pt x="115898" y="25"/>
                  </a:cubicBezTo>
                  <a:cubicBezTo>
                    <a:pt x="120724" y="0"/>
                    <a:pt x="125436" y="622"/>
                    <a:pt x="125220" y="6654"/>
                  </a:cubicBezTo>
                  <a:cubicBezTo>
                    <a:pt x="125017" y="12115"/>
                    <a:pt x="120521" y="12636"/>
                    <a:pt x="116000" y="12636"/>
                  </a:cubicBezTo>
                  <a:cubicBezTo>
                    <a:pt x="80517" y="12585"/>
                    <a:pt x="45021" y="12585"/>
                    <a:pt x="9537" y="12636"/>
                  </a:cubicBezTo>
                  <a:cubicBezTo>
                    <a:pt x="4698" y="12636"/>
                    <a:pt x="0" y="12026"/>
                    <a:pt x="215" y="5994"/>
                  </a:cubicBezTo>
                  <a:cubicBezTo>
                    <a:pt x="406" y="533"/>
                    <a:pt x="4914" y="0"/>
                    <a:pt x="9423" y="25"/>
                  </a:cubicBezTo>
                  <a:cubicBezTo>
                    <a:pt x="27177" y="88"/>
                    <a:pt x="44919" y="50"/>
                    <a:pt x="62661" y="50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4" name="Free Form 1395">
              <a:extLst>
                <a:ext uri="{FF2B5EF4-FFF2-40B4-BE49-F238E27FC236}">
                  <a16:creationId xmlns:a16="http://schemas.microsoft.com/office/drawing/2014/main" id="{DCF1EBCA-FEEB-C0A6-BCAC-999300A6AA15}"/>
                </a:ext>
              </a:extLst>
            </p:cNvPr>
            <p:cNvSpPr/>
            <p:nvPr/>
          </p:nvSpPr>
          <p:spPr>
            <a:xfrm>
              <a:off x="3906659" y="4650210"/>
              <a:ext cx="76046" cy="52351"/>
            </a:xfrm>
            <a:custGeom>
              <a:avLst/>
              <a:gdLst/>
              <a:ahLst/>
              <a:cxnLst/>
              <a:rect l="0" t="0" r="0" b="0"/>
              <a:pathLst>
                <a:path w="60311" h="38086">
                  <a:moveTo>
                    <a:pt x="42684" y="26987"/>
                  </a:moveTo>
                  <a:cubicBezTo>
                    <a:pt x="37109" y="26085"/>
                    <a:pt x="32549" y="22885"/>
                    <a:pt x="27800" y="20192"/>
                  </a:cubicBezTo>
                  <a:cubicBezTo>
                    <a:pt x="24917" y="18567"/>
                    <a:pt x="23443" y="19062"/>
                    <a:pt x="23075" y="22351"/>
                  </a:cubicBezTo>
                  <a:cubicBezTo>
                    <a:pt x="22758" y="25260"/>
                    <a:pt x="21945" y="27977"/>
                    <a:pt x="20484" y="30517"/>
                  </a:cubicBezTo>
                  <a:cubicBezTo>
                    <a:pt x="18960" y="33172"/>
                    <a:pt x="17563" y="34835"/>
                    <a:pt x="13766" y="33362"/>
                  </a:cubicBezTo>
                  <a:cubicBezTo>
                    <a:pt x="8877" y="31457"/>
                    <a:pt x="4533" y="33121"/>
                    <a:pt x="1930" y="38086"/>
                  </a:cubicBezTo>
                  <a:cubicBezTo>
                    <a:pt x="0" y="30682"/>
                    <a:pt x="279" y="23139"/>
                    <a:pt x="1612" y="15773"/>
                  </a:cubicBezTo>
                  <a:cubicBezTo>
                    <a:pt x="3289" y="6515"/>
                    <a:pt x="9969" y="863"/>
                    <a:pt x="19710" y="457"/>
                  </a:cubicBezTo>
                  <a:cubicBezTo>
                    <a:pt x="30619" y="0"/>
                    <a:pt x="41566" y="266"/>
                    <a:pt x="52488" y="266"/>
                  </a:cubicBezTo>
                  <a:cubicBezTo>
                    <a:pt x="54533" y="266"/>
                    <a:pt x="56412" y="63"/>
                    <a:pt x="57187" y="3009"/>
                  </a:cubicBezTo>
                  <a:cubicBezTo>
                    <a:pt x="60311" y="14846"/>
                    <a:pt x="55041" y="23774"/>
                    <a:pt x="42684" y="26987"/>
                  </a:cubicBezTo>
                  <a:close/>
                </a:path>
              </a:pathLst>
            </a:custGeom>
            <a:solidFill>
              <a:srgbClr val="1A387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5" name="Free Form 1396">
              <a:extLst>
                <a:ext uri="{FF2B5EF4-FFF2-40B4-BE49-F238E27FC236}">
                  <a16:creationId xmlns:a16="http://schemas.microsoft.com/office/drawing/2014/main" id="{EF1E4B9D-30C0-F16C-B489-43DD15730046}"/>
                </a:ext>
              </a:extLst>
            </p:cNvPr>
            <p:cNvSpPr/>
            <p:nvPr/>
          </p:nvSpPr>
          <p:spPr>
            <a:xfrm>
              <a:off x="3996476" y="4661106"/>
              <a:ext cx="94923" cy="17404"/>
            </a:xfrm>
            <a:custGeom>
              <a:avLst/>
              <a:gdLst/>
              <a:ahLst/>
              <a:cxnLst/>
              <a:rect l="0" t="0" r="0" b="0"/>
              <a:pathLst>
                <a:path w="75284" h="12661">
                  <a:moveTo>
                    <a:pt x="37616" y="63"/>
                  </a:moveTo>
                  <a:cubicBezTo>
                    <a:pt x="47256" y="63"/>
                    <a:pt x="56895" y="114"/>
                    <a:pt x="66547" y="38"/>
                  </a:cubicBezTo>
                  <a:cubicBezTo>
                    <a:pt x="71258" y="0"/>
                    <a:pt x="75284" y="1244"/>
                    <a:pt x="75056" y="6705"/>
                  </a:cubicBezTo>
                  <a:cubicBezTo>
                    <a:pt x="74853" y="11620"/>
                    <a:pt x="70954" y="12661"/>
                    <a:pt x="66598" y="12636"/>
                  </a:cubicBezTo>
                  <a:cubicBezTo>
                    <a:pt x="47306" y="12572"/>
                    <a:pt x="28028" y="12585"/>
                    <a:pt x="8737" y="12636"/>
                  </a:cubicBezTo>
                  <a:cubicBezTo>
                    <a:pt x="4025" y="12649"/>
                    <a:pt x="0" y="11429"/>
                    <a:pt x="228" y="5981"/>
                  </a:cubicBezTo>
                  <a:cubicBezTo>
                    <a:pt x="431" y="1054"/>
                    <a:pt x="4330" y="0"/>
                    <a:pt x="8686" y="38"/>
                  </a:cubicBezTo>
                  <a:cubicBezTo>
                    <a:pt x="18338" y="126"/>
                    <a:pt x="27977" y="63"/>
                    <a:pt x="37616" y="63"/>
                  </a:cubicBezTo>
                  <a:close/>
                </a:path>
              </a:pathLst>
            </a:custGeom>
            <a:solidFill>
              <a:srgbClr val="4B5D9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6" name="Free Form 1397">
              <a:extLst>
                <a:ext uri="{FF2B5EF4-FFF2-40B4-BE49-F238E27FC236}">
                  <a16:creationId xmlns:a16="http://schemas.microsoft.com/office/drawing/2014/main" id="{EE86FC0F-11A1-3266-E4CF-EE3BF951B814}"/>
                </a:ext>
              </a:extLst>
            </p:cNvPr>
            <p:cNvSpPr/>
            <p:nvPr/>
          </p:nvSpPr>
          <p:spPr>
            <a:xfrm>
              <a:off x="4138981" y="4557606"/>
              <a:ext cx="94812" cy="17386"/>
            </a:xfrm>
            <a:custGeom>
              <a:avLst/>
              <a:gdLst/>
              <a:ahLst/>
              <a:cxnLst/>
              <a:rect l="0" t="0" r="0" b="0"/>
              <a:pathLst>
                <a:path w="75195" h="12649">
                  <a:moveTo>
                    <a:pt x="37528" y="12585"/>
                  </a:moveTo>
                  <a:cubicBezTo>
                    <a:pt x="27888" y="12585"/>
                    <a:pt x="18249" y="12522"/>
                    <a:pt x="8597" y="12610"/>
                  </a:cubicBezTo>
                  <a:cubicBezTo>
                    <a:pt x="4229" y="12649"/>
                    <a:pt x="355" y="11544"/>
                    <a:pt x="190" y="6616"/>
                  </a:cubicBezTo>
                  <a:cubicBezTo>
                    <a:pt x="0" y="1168"/>
                    <a:pt x="4051" y="0"/>
                    <a:pt x="8750" y="12"/>
                  </a:cubicBezTo>
                  <a:cubicBezTo>
                    <a:pt x="28041" y="63"/>
                    <a:pt x="47319" y="76"/>
                    <a:pt x="66598" y="12"/>
                  </a:cubicBezTo>
                  <a:cubicBezTo>
                    <a:pt x="70979" y="0"/>
                    <a:pt x="74853" y="1079"/>
                    <a:pt x="75018" y="5994"/>
                  </a:cubicBezTo>
                  <a:cubicBezTo>
                    <a:pt x="75195" y="11455"/>
                    <a:pt x="71157" y="12649"/>
                    <a:pt x="66458" y="12610"/>
                  </a:cubicBezTo>
                  <a:cubicBezTo>
                    <a:pt x="56806" y="12534"/>
                    <a:pt x="47167" y="12585"/>
                    <a:pt x="37528" y="12585"/>
                  </a:cubicBezTo>
                  <a:close/>
                </a:path>
              </a:pathLst>
            </a:custGeom>
            <a:solidFill>
              <a:srgbClr val="4B5D9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7" name="Free Form 1398">
              <a:extLst>
                <a:ext uri="{FF2B5EF4-FFF2-40B4-BE49-F238E27FC236}">
                  <a16:creationId xmlns:a16="http://schemas.microsoft.com/office/drawing/2014/main" id="{3F5FF80C-9F13-D959-E97A-491656D50FF9}"/>
                </a:ext>
              </a:extLst>
            </p:cNvPr>
            <p:cNvSpPr/>
            <p:nvPr/>
          </p:nvSpPr>
          <p:spPr>
            <a:xfrm>
              <a:off x="3912545" y="4769914"/>
              <a:ext cx="37887" cy="295341"/>
            </a:xfrm>
            <a:custGeom>
              <a:avLst/>
              <a:gdLst/>
              <a:ahLst/>
              <a:cxnLst/>
              <a:rect l="0" t="0" r="0" b="0"/>
              <a:pathLst>
                <a:path w="30047" h="214869">
                  <a:moveTo>
                    <a:pt x="15227" y="63"/>
                  </a:moveTo>
                  <a:cubicBezTo>
                    <a:pt x="15227" y="63"/>
                    <a:pt x="15798" y="0"/>
                    <a:pt x="15785" y="12"/>
                  </a:cubicBezTo>
                  <a:cubicBezTo>
                    <a:pt x="16268" y="927"/>
                    <a:pt x="16560" y="2044"/>
                    <a:pt x="17271" y="2730"/>
                  </a:cubicBezTo>
                  <a:cubicBezTo>
                    <a:pt x="24574" y="9791"/>
                    <a:pt x="30047" y="17094"/>
                    <a:pt x="21767" y="27088"/>
                  </a:cubicBezTo>
                  <a:cubicBezTo>
                    <a:pt x="21069" y="27927"/>
                    <a:pt x="21221" y="29603"/>
                    <a:pt x="21272" y="30886"/>
                  </a:cubicBezTo>
                  <a:cubicBezTo>
                    <a:pt x="22554" y="64743"/>
                    <a:pt x="23939" y="98601"/>
                    <a:pt x="25171" y="132472"/>
                  </a:cubicBezTo>
                  <a:cubicBezTo>
                    <a:pt x="25615" y="144981"/>
                    <a:pt x="25666" y="157516"/>
                    <a:pt x="26022" y="170038"/>
                  </a:cubicBezTo>
                  <a:cubicBezTo>
                    <a:pt x="26098" y="172832"/>
                    <a:pt x="25298" y="175816"/>
                    <a:pt x="27292" y="178344"/>
                  </a:cubicBezTo>
                  <a:cubicBezTo>
                    <a:pt x="27292" y="196987"/>
                    <a:pt x="27292" y="196987"/>
                    <a:pt x="14731" y="214869"/>
                  </a:cubicBezTo>
                  <a:cubicBezTo>
                    <a:pt x="9867" y="213027"/>
                    <a:pt x="9778" y="205877"/>
                    <a:pt x="4076" y="205013"/>
                  </a:cubicBezTo>
                  <a:cubicBezTo>
                    <a:pt x="4178" y="201826"/>
                    <a:pt x="2857" y="199273"/>
                    <a:pt x="596" y="197139"/>
                  </a:cubicBezTo>
                  <a:cubicBezTo>
                    <a:pt x="0" y="193431"/>
                    <a:pt x="190" y="189697"/>
                    <a:pt x="419" y="185976"/>
                  </a:cubicBezTo>
                  <a:cubicBezTo>
                    <a:pt x="3886" y="181671"/>
                    <a:pt x="4292" y="177010"/>
                    <a:pt x="2031" y="172045"/>
                  </a:cubicBezTo>
                  <a:cubicBezTo>
                    <a:pt x="3174" y="139431"/>
                    <a:pt x="4317" y="106818"/>
                    <a:pt x="5473" y="74205"/>
                  </a:cubicBezTo>
                  <a:cubicBezTo>
                    <a:pt x="5956" y="60375"/>
                    <a:pt x="6515" y="46545"/>
                    <a:pt x="6946" y="32727"/>
                  </a:cubicBezTo>
                  <a:cubicBezTo>
                    <a:pt x="7023" y="30390"/>
                    <a:pt x="7505" y="27558"/>
                    <a:pt x="6413" y="25793"/>
                  </a:cubicBezTo>
                  <a:cubicBezTo>
                    <a:pt x="723" y="16547"/>
                    <a:pt x="5283" y="10324"/>
                    <a:pt x="11912" y="4381"/>
                  </a:cubicBezTo>
                  <a:cubicBezTo>
                    <a:pt x="13233" y="3187"/>
                    <a:pt x="14134" y="1511"/>
                    <a:pt x="15227" y="63"/>
                  </a:cubicBezTo>
                  <a:close/>
                </a:path>
              </a:pathLst>
            </a:custGeom>
            <a:solidFill>
              <a:srgbClr val="D22B3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8" name="Free Form 1399">
              <a:extLst>
                <a:ext uri="{FF2B5EF4-FFF2-40B4-BE49-F238E27FC236}">
                  <a16:creationId xmlns:a16="http://schemas.microsoft.com/office/drawing/2014/main" id="{CAC6A378-09DE-9B15-AEA5-9E643BBBF0EF}"/>
                </a:ext>
              </a:extLst>
            </p:cNvPr>
            <p:cNvSpPr/>
            <p:nvPr/>
          </p:nvSpPr>
          <p:spPr>
            <a:xfrm>
              <a:off x="4511187" y="5273789"/>
              <a:ext cx="23875" cy="130101"/>
            </a:xfrm>
            <a:custGeom>
              <a:avLst/>
              <a:gdLst/>
              <a:ahLst/>
              <a:cxnLst/>
              <a:rect l="0" t="0" r="0" b="0"/>
              <a:pathLst>
                <a:path w="18935" h="94652">
                  <a:moveTo>
                    <a:pt x="0" y="12"/>
                  </a:moveTo>
                  <a:cubicBezTo>
                    <a:pt x="6197" y="12"/>
                    <a:pt x="12395" y="12"/>
                    <a:pt x="18592" y="0"/>
                  </a:cubicBezTo>
                  <a:cubicBezTo>
                    <a:pt x="18656" y="19786"/>
                    <a:pt x="18732" y="39572"/>
                    <a:pt x="18757" y="59346"/>
                  </a:cubicBezTo>
                  <a:cubicBezTo>
                    <a:pt x="18770" y="68985"/>
                    <a:pt x="18389" y="78650"/>
                    <a:pt x="18745" y="88276"/>
                  </a:cubicBezTo>
                  <a:cubicBezTo>
                    <a:pt x="18935" y="93280"/>
                    <a:pt x="17157" y="94652"/>
                    <a:pt x="12496" y="94245"/>
                  </a:cubicBezTo>
                  <a:cubicBezTo>
                    <a:pt x="8356" y="93877"/>
                    <a:pt x="4165" y="94156"/>
                    <a:pt x="0" y="94156"/>
                  </a:cubicBezTo>
                  <a:cubicBezTo>
                    <a:pt x="0" y="62775"/>
                    <a:pt x="0" y="31394"/>
                    <a:pt x="0" y="1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9" name="Free Form 1400">
              <a:extLst>
                <a:ext uri="{FF2B5EF4-FFF2-40B4-BE49-F238E27FC236}">
                  <a16:creationId xmlns:a16="http://schemas.microsoft.com/office/drawing/2014/main" id="{7B5C2567-803E-E659-914F-EFC04752D1DF}"/>
                </a:ext>
              </a:extLst>
            </p:cNvPr>
            <p:cNvSpPr/>
            <p:nvPr/>
          </p:nvSpPr>
          <p:spPr>
            <a:xfrm>
              <a:off x="4482675" y="5127320"/>
              <a:ext cx="66052" cy="25713"/>
            </a:xfrm>
            <a:custGeom>
              <a:avLst/>
              <a:gdLst/>
              <a:ahLst/>
              <a:cxnLst/>
              <a:rect l="0" t="0" r="0" b="0"/>
              <a:pathLst>
                <a:path w="52386" h="18706">
                  <a:moveTo>
                    <a:pt x="3594" y="0"/>
                  </a:moveTo>
                  <a:cubicBezTo>
                    <a:pt x="19862" y="50"/>
                    <a:pt x="36118" y="88"/>
                    <a:pt x="52386" y="139"/>
                  </a:cubicBezTo>
                  <a:cubicBezTo>
                    <a:pt x="51878" y="18681"/>
                    <a:pt x="51878" y="18706"/>
                    <a:pt x="33222" y="18681"/>
                  </a:cubicBezTo>
                  <a:cubicBezTo>
                    <a:pt x="23291" y="18656"/>
                    <a:pt x="13360" y="18554"/>
                    <a:pt x="3441" y="18491"/>
                  </a:cubicBezTo>
                  <a:cubicBezTo>
                    <a:pt x="101" y="12293"/>
                    <a:pt x="0" y="6134"/>
                    <a:pt x="3594" y="0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0" name="Free Form 1401">
              <a:extLst>
                <a:ext uri="{FF2B5EF4-FFF2-40B4-BE49-F238E27FC236}">
                  <a16:creationId xmlns:a16="http://schemas.microsoft.com/office/drawing/2014/main" id="{6F872599-6584-45B0-F0A5-7F2B5416D241}"/>
                </a:ext>
              </a:extLst>
            </p:cNvPr>
            <p:cNvSpPr/>
            <p:nvPr/>
          </p:nvSpPr>
          <p:spPr>
            <a:xfrm>
              <a:off x="4451082" y="5127320"/>
              <a:ext cx="36125" cy="26044"/>
            </a:xfrm>
            <a:custGeom>
              <a:avLst/>
              <a:gdLst/>
              <a:ahLst/>
              <a:cxnLst/>
              <a:rect l="0" t="0" r="0" b="0"/>
              <a:pathLst>
                <a:path w="28650" h="18948">
                  <a:moveTo>
                    <a:pt x="28650" y="0"/>
                  </a:moveTo>
                  <a:cubicBezTo>
                    <a:pt x="28600" y="6159"/>
                    <a:pt x="28549" y="12331"/>
                    <a:pt x="28498" y="18491"/>
                  </a:cubicBezTo>
                  <a:cubicBezTo>
                    <a:pt x="26949" y="18643"/>
                    <a:pt x="25399" y="18795"/>
                    <a:pt x="23863" y="18948"/>
                  </a:cubicBezTo>
                  <a:cubicBezTo>
                    <a:pt x="17055" y="18783"/>
                    <a:pt x="10261" y="18605"/>
                    <a:pt x="3467" y="18427"/>
                  </a:cubicBezTo>
                  <a:cubicBezTo>
                    <a:pt x="0" y="12318"/>
                    <a:pt x="76" y="6197"/>
                    <a:pt x="3390" y="63"/>
                  </a:cubicBezTo>
                  <a:cubicBezTo>
                    <a:pt x="11810" y="38"/>
                    <a:pt x="20230" y="25"/>
                    <a:pt x="28650" y="0"/>
                  </a:cubicBezTo>
                  <a:close/>
                </a:path>
              </a:pathLst>
            </a:custGeom>
            <a:solidFill>
              <a:srgbClr val="9D7DA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1" name="Free Form 1402">
              <a:extLst>
                <a:ext uri="{FF2B5EF4-FFF2-40B4-BE49-F238E27FC236}">
                  <a16:creationId xmlns:a16="http://schemas.microsoft.com/office/drawing/2014/main" id="{F6831C52-CEF9-94FA-F768-C6894366797F}"/>
                </a:ext>
              </a:extLst>
            </p:cNvPr>
            <p:cNvSpPr/>
            <p:nvPr/>
          </p:nvSpPr>
          <p:spPr>
            <a:xfrm>
              <a:off x="4577021" y="5131181"/>
              <a:ext cx="46838" cy="22537"/>
            </a:xfrm>
            <a:custGeom>
              <a:avLst/>
              <a:gdLst/>
              <a:ahLst/>
              <a:cxnLst/>
              <a:rect l="0" t="0" r="0" b="0"/>
              <a:pathLst>
                <a:path w="37147" h="16395">
                  <a:moveTo>
                    <a:pt x="1015" y="0"/>
                  </a:moveTo>
                  <a:cubicBezTo>
                    <a:pt x="13055" y="5219"/>
                    <a:pt x="25094" y="10439"/>
                    <a:pt x="37147" y="15658"/>
                  </a:cubicBezTo>
                  <a:cubicBezTo>
                    <a:pt x="27800" y="15735"/>
                    <a:pt x="18440" y="15430"/>
                    <a:pt x="9118" y="16001"/>
                  </a:cubicBezTo>
                  <a:cubicBezTo>
                    <a:pt x="2654" y="16395"/>
                    <a:pt x="0" y="14300"/>
                    <a:pt x="863" y="7785"/>
                  </a:cubicBezTo>
                  <a:cubicBezTo>
                    <a:pt x="1193" y="5219"/>
                    <a:pt x="977" y="2590"/>
                    <a:pt x="1015" y="0"/>
                  </a:cubicBezTo>
                  <a:close/>
                </a:path>
              </a:pathLst>
            </a:custGeom>
            <a:solidFill>
              <a:srgbClr val="7182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2" name="Free Form 1403">
              <a:extLst>
                <a:ext uri="{FF2B5EF4-FFF2-40B4-BE49-F238E27FC236}">
                  <a16:creationId xmlns:a16="http://schemas.microsoft.com/office/drawing/2014/main" id="{4B27FEFB-F26E-510E-3E5B-E4515196237F}"/>
                </a:ext>
              </a:extLst>
            </p:cNvPr>
            <p:cNvSpPr/>
            <p:nvPr/>
          </p:nvSpPr>
          <p:spPr>
            <a:xfrm>
              <a:off x="3809115" y="4853490"/>
              <a:ext cx="30265" cy="96655"/>
            </a:xfrm>
            <a:custGeom>
              <a:avLst/>
              <a:gdLst/>
              <a:ahLst/>
              <a:cxnLst/>
              <a:rect l="0" t="0" r="0" b="0"/>
              <a:pathLst>
                <a:path w="24002" h="70319">
                  <a:moveTo>
                    <a:pt x="18300" y="70217"/>
                  </a:moveTo>
                  <a:cubicBezTo>
                    <a:pt x="11366" y="67194"/>
                    <a:pt x="7619" y="60603"/>
                    <a:pt x="2285" y="55790"/>
                  </a:cubicBezTo>
                  <a:cubicBezTo>
                    <a:pt x="0" y="53733"/>
                    <a:pt x="2273" y="51294"/>
                    <a:pt x="2959" y="49300"/>
                  </a:cubicBezTo>
                  <a:cubicBezTo>
                    <a:pt x="8597" y="32829"/>
                    <a:pt x="14439" y="16420"/>
                    <a:pt x="20218" y="0"/>
                  </a:cubicBezTo>
                  <a:cubicBezTo>
                    <a:pt x="24002" y="2628"/>
                    <a:pt x="21958" y="6159"/>
                    <a:pt x="21665" y="9410"/>
                  </a:cubicBezTo>
                  <a:lnTo>
                    <a:pt x="18224" y="70319"/>
                  </a:lnTo>
                  <a:close/>
                </a:path>
              </a:pathLst>
            </a:custGeom>
            <a:solidFill>
              <a:srgbClr val="FEFEF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3" name="Free Form 1404">
              <a:extLst>
                <a:ext uri="{FF2B5EF4-FFF2-40B4-BE49-F238E27FC236}">
                  <a16:creationId xmlns:a16="http://schemas.microsoft.com/office/drawing/2014/main" id="{79EEB94B-B78B-BE7A-607F-27ED1AC8D07C}"/>
                </a:ext>
              </a:extLst>
            </p:cNvPr>
            <p:cNvSpPr/>
            <p:nvPr/>
          </p:nvSpPr>
          <p:spPr>
            <a:xfrm>
              <a:off x="3828424" y="4946172"/>
              <a:ext cx="47686" cy="51408"/>
            </a:xfrm>
            <a:custGeom>
              <a:avLst/>
              <a:gdLst/>
              <a:ahLst/>
              <a:cxnLst/>
              <a:rect l="0" t="0" r="0" b="0"/>
              <a:pathLst>
                <a:path w="37820" h="37401">
                  <a:moveTo>
                    <a:pt x="34416" y="35927"/>
                  </a:moveTo>
                  <a:cubicBezTo>
                    <a:pt x="33299" y="36423"/>
                    <a:pt x="32168" y="36905"/>
                    <a:pt x="31051" y="37401"/>
                  </a:cubicBezTo>
                  <a:cubicBezTo>
                    <a:pt x="20294" y="30898"/>
                    <a:pt x="11633" y="21945"/>
                    <a:pt x="3022" y="12991"/>
                  </a:cubicBezTo>
                  <a:cubicBezTo>
                    <a:pt x="0" y="9829"/>
                    <a:pt x="1562" y="6197"/>
                    <a:pt x="2984" y="2793"/>
                  </a:cubicBezTo>
                  <a:cubicBezTo>
                    <a:pt x="2984" y="2793"/>
                    <a:pt x="2908" y="2895"/>
                    <a:pt x="2908" y="2895"/>
                  </a:cubicBezTo>
                  <a:cubicBezTo>
                    <a:pt x="11772" y="0"/>
                    <a:pt x="14808" y="8648"/>
                    <a:pt x="20230" y="12141"/>
                  </a:cubicBezTo>
                  <a:cubicBezTo>
                    <a:pt x="25552" y="15557"/>
                    <a:pt x="29539" y="21030"/>
                    <a:pt x="34200" y="25501"/>
                  </a:cubicBezTo>
                  <a:cubicBezTo>
                    <a:pt x="37820" y="28981"/>
                    <a:pt x="36613" y="32410"/>
                    <a:pt x="34416" y="35927"/>
                  </a:cubicBezTo>
                  <a:close/>
                </a:path>
              </a:pathLst>
            </a:custGeom>
            <a:solidFill>
              <a:srgbClr val="15706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4" name="Free Form 1405">
              <a:extLst>
                <a:ext uri="{FF2B5EF4-FFF2-40B4-BE49-F238E27FC236}">
                  <a16:creationId xmlns:a16="http://schemas.microsoft.com/office/drawing/2014/main" id="{3F0E6497-A38D-748D-CB9A-8F0593A7B256}"/>
                </a:ext>
              </a:extLst>
            </p:cNvPr>
            <p:cNvSpPr/>
            <p:nvPr/>
          </p:nvSpPr>
          <p:spPr>
            <a:xfrm>
              <a:off x="3834596" y="4846573"/>
              <a:ext cx="4162" cy="19848"/>
            </a:xfrm>
            <a:custGeom>
              <a:avLst/>
              <a:gdLst/>
              <a:ahLst/>
              <a:cxnLst/>
              <a:rect l="0" t="0" r="0" b="0"/>
              <a:pathLst>
                <a:path w="3301" h="14439">
                  <a:moveTo>
                    <a:pt x="1460" y="14439"/>
                  </a:moveTo>
                  <a:cubicBezTo>
                    <a:pt x="266" y="11417"/>
                    <a:pt x="2463" y="7861"/>
                    <a:pt x="0" y="5029"/>
                  </a:cubicBezTo>
                  <a:cubicBezTo>
                    <a:pt x="520" y="3352"/>
                    <a:pt x="1028" y="1676"/>
                    <a:pt x="1536" y="0"/>
                  </a:cubicBezTo>
                  <a:cubicBezTo>
                    <a:pt x="2882" y="4876"/>
                    <a:pt x="3301" y="9677"/>
                    <a:pt x="1460" y="14439"/>
                  </a:cubicBezTo>
                  <a:close/>
                </a:path>
              </a:pathLst>
            </a:custGeom>
            <a:solidFill>
              <a:srgbClr val="A8D6C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5" name="Free Form 1406">
              <a:extLst>
                <a:ext uri="{FF2B5EF4-FFF2-40B4-BE49-F238E27FC236}">
                  <a16:creationId xmlns:a16="http://schemas.microsoft.com/office/drawing/2014/main" id="{C2E32394-CDF1-C008-255E-35E7D33D11F7}"/>
                </a:ext>
              </a:extLst>
            </p:cNvPr>
            <p:cNvSpPr/>
            <p:nvPr/>
          </p:nvSpPr>
          <p:spPr>
            <a:xfrm>
              <a:off x="4091238" y="5127043"/>
              <a:ext cx="170954" cy="161243"/>
            </a:xfrm>
            <a:custGeom>
              <a:avLst/>
              <a:gdLst/>
              <a:ahLst/>
              <a:cxnLst/>
              <a:rect l="0" t="0" r="0" b="0"/>
              <a:pathLst>
                <a:path w="135583" h="117308">
                  <a:moveTo>
                    <a:pt x="406" y="117308"/>
                  </a:moveTo>
                  <a:cubicBezTo>
                    <a:pt x="317" y="79932"/>
                    <a:pt x="330" y="42557"/>
                    <a:pt x="38" y="5181"/>
                  </a:cubicBezTo>
                  <a:cubicBezTo>
                    <a:pt x="0" y="0"/>
                    <a:pt x="2527" y="0"/>
                    <a:pt x="6286" y="12"/>
                  </a:cubicBezTo>
                  <a:cubicBezTo>
                    <a:pt x="48107" y="126"/>
                    <a:pt x="89927" y="139"/>
                    <a:pt x="131748" y="177"/>
                  </a:cubicBezTo>
                  <a:cubicBezTo>
                    <a:pt x="135583" y="6286"/>
                    <a:pt x="135494" y="12445"/>
                    <a:pt x="131926" y="18630"/>
                  </a:cubicBezTo>
                  <a:cubicBezTo>
                    <a:pt x="128255" y="18808"/>
                    <a:pt x="124585" y="18986"/>
                    <a:pt x="120928" y="19164"/>
                  </a:cubicBezTo>
                  <a:cubicBezTo>
                    <a:pt x="107364" y="19100"/>
                    <a:pt x="93750" y="18160"/>
                    <a:pt x="80263" y="19151"/>
                  </a:cubicBezTo>
                  <a:cubicBezTo>
                    <a:pt x="55358" y="20992"/>
                    <a:pt x="37109" y="33591"/>
                    <a:pt x="26745" y="56501"/>
                  </a:cubicBezTo>
                  <a:cubicBezTo>
                    <a:pt x="17652" y="76618"/>
                    <a:pt x="9169" y="97026"/>
                    <a:pt x="406" y="11730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6" name="Free Form 1407">
              <a:extLst>
                <a:ext uri="{FF2B5EF4-FFF2-40B4-BE49-F238E27FC236}">
                  <a16:creationId xmlns:a16="http://schemas.microsoft.com/office/drawing/2014/main" id="{9F10C417-4DC6-9D57-FDEE-0DBB028289F4}"/>
                </a:ext>
              </a:extLst>
            </p:cNvPr>
            <p:cNvSpPr/>
            <p:nvPr/>
          </p:nvSpPr>
          <p:spPr>
            <a:xfrm>
              <a:off x="4273730" y="5268456"/>
              <a:ext cx="40865" cy="135303"/>
            </a:xfrm>
            <a:custGeom>
              <a:avLst/>
              <a:gdLst/>
              <a:ahLst/>
              <a:cxnLst/>
              <a:rect l="0" t="0" r="0" b="0"/>
              <a:pathLst>
                <a:path w="32410" h="98436">
                  <a:moveTo>
                    <a:pt x="31165" y="3886"/>
                  </a:moveTo>
                  <a:cubicBezTo>
                    <a:pt x="32410" y="23151"/>
                    <a:pt x="31127" y="42417"/>
                    <a:pt x="31330" y="61695"/>
                  </a:cubicBezTo>
                  <a:cubicBezTo>
                    <a:pt x="31432" y="71601"/>
                    <a:pt x="30898" y="81520"/>
                    <a:pt x="31343" y="91413"/>
                  </a:cubicBezTo>
                  <a:cubicBezTo>
                    <a:pt x="31597" y="97141"/>
                    <a:pt x="29514" y="98436"/>
                    <a:pt x="24244" y="98157"/>
                  </a:cubicBezTo>
                  <a:cubicBezTo>
                    <a:pt x="16179" y="97725"/>
                    <a:pt x="8077" y="98042"/>
                    <a:pt x="0" y="98030"/>
                  </a:cubicBezTo>
                  <a:cubicBezTo>
                    <a:pt x="0" y="66648"/>
                    <a:pt x="0" y="35267"/>
                    <a:pt x="0" y="3886"/>
                  </a:cubicBezTo>
                  <a:cubicBezTo>
                    <a:pt x="10388" y="0"/>
                    <a:pt x="20776" y="0"/>
                    <a:pt x="31165" y="388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7" name="Free Form 1408">
              <a:extLst>
                <a:ext uri="{FF2B5EF4-FFF2-40B4-BE49-F238E27FC236}">
                  <a16:creationId xmlns:a16="http://schemas.microsoft.com/office/drawing/2014/main" id="{B538A864-3928-9C6C-600C-3B5065FF88F3}"/>
                </a:ext>
              </a:extLst>
            </p:cNvPr>
            <p:cNvSpPr/>
            <p:nvPr/>
          </p:nvSpPr>
          <p:spPr>
            <a:xfrm>
              <a:off x="4257359" y="5127285"/>
              <a:ext cx="139585" cy="25747"/>
            </a:xfrm>
            <a:custGeom>
              <a:avLst/>
              <a:gdLst/>
              <a:ahLst/>
              <a:cxnLst/>
              <a:rect l="0" t="0" r="0" b="0"/>
              <a:pathLst>
                <a:path w="110704" h="18732">
                  <a:moveTo>
                    <a:pt x="177" y="18452"/>
                  </a:moveTo>
                  <a:cubicBezTo>
                    <a:pt x="114" y="12306"/>
                    <a:pt x="50" y="6159"/>
                    <a:pt x="0" y="0"/>
                  </a:cubicBezTo>
                  <a:lnTo>
                    <a:pt x="107072" y="0"/>
                  </a:lnTo>
                  <a:cubicBezTo>
                    <a:pt x="110285" y="6311"/>
                    <a:pt x="110704" y="12560"/>
                    <a:pt x="106742" y="18732"/>
                  </a:cubicBezTo>
                  <a:cubicBezTo>
                    <a:pt x="71220" y="18643"/>
                    <a:pt x="35699" y="18541"/>
                    <a:pt x="177" y="18452"/>
                  </a:cubicBezTo>
                  <a:close/>
                </a:path>
              </a:pathLst>
            </a:custGeom>
            <a:solidFill>
              <a:srgbClr val="E78C4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8" name="Free Form 1409">
              <a:extLst>
                <a:ext uri="{FF2B5EF4-FFF2-40B4-BE49-F238E27FC236}">
                  <a16:creationId xmlns:a16="http://schemas.microsoft.com/office/drawing/2014/main" id="{D7F4180B-A643-8E1A-7B10-93D90B6F441C}"/>
                </a:ext>
              </a:extLst>
            </p:cNvPr>
            <p:cNvSpPr/>
            <p:nvPr/>
          </p:nvSpPr>
          <p:spPr>
            <a:xfrm>
              <a:off x="4269519" y="5234591"/>
              <a:ext cx="82915" cy="43990"/>
            </a:xfrm>
            <a:custGeom>
              <a:avLst/>
              <a:gdLst/>
              <a:ahLst/>
              <a:cxnLst/>
              <a:rect l="0" t="0" r="0" b="0"/>
              <a:pathLst>
                <a:path w="65759" h="32003">
                  <a:moveTo>
                    <a:pt x="34505" y="28523"/>
                  </a:moveTo>
                  <a:cubicBezTo>
                    <a:pt x="24117" y="28523"/>
                    <a:pt x="13728" y="28523"/>
                    <a:pt x="3340" y="28523"/>
                  </a:cubicBezTo>
                  <a:cubicBezTo>
                    <a:pt x="3200" y="20510"/>
                    <a:pt x="0" y="10388"/>
                    <a:pt x="4419" y="5092"/>
                  </a:cubicBezTo>
                  <a:cubicBezTo>
                    <a:pt x="8686" y="0"/>
                    <a:pt x="19075" y="3657"/>
                    <a:pt x="26771" y="3492"/>
                  </a:cubicBezTo>
                  <a:cubicBezTo>
                    <a:pt x="39750" y="3238"/>
                    <a:pt x="52755" y="3479"/>
                    <a:pt x="65759" y="3517"/>
                  </a:cubicBezTo>
                  <a:cubicBezTo>
                    <a:pt x="65721" y="11848"/>
                    <a:pt x="65670" y="20192"/>
                    <a:pt x="65632" y="28536"/>
                  </a:cubicBezTo>
                  <a:cubicBezTo>
                    <a:pt x="59702" y="32003"/>
                    <a:pt x="53682" y="31698"/>
                    <a:pt x="47611" y="28892"/>
                  </a:cubicBezTo>
                  <a:cubicBezTo>
                    <a:pt x="43243" y="28777"/>
                    <a:pt x="38874" y="28650"/>
                    <a:pt x="34505" y="28523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9" name="Free Form 1410">
              <a:extLst>
                <a:ext uri="{FF2B5EF4-FFF2-40B4-BE49-F238E27FC236}">
                  <a16:creationId xmlns:a16="http://schemas.microsoft.com/office/drawing/2014/main" id="{66CF18E2-F89D-320B-F1E3-71028AEF9664}"/>
                </a:ext>
              </a:extLst>
            </p:cNvPr>
            <p:cNvSpPr/>
            <p:nvPr/>
          </p:nvSpPr>
          <p:spPr>
            <a:xfrm>
              <a:off x="4391941" y="5127287"/>
              <a:ext cx="63508" cy="28191"/>
            </a:xfrm>
            <a:custGeom>
              <a:avLst/>
              <a:gdLst/>
              <a:ahLst/>
              <a:cxnLst/>
              <a:rect l="0" t="0" r="0" b="0"/>
              <a:pathLst>
                <a:path w="50367" h="20510">
                  <a:moveTo>
                    <a:pt x="0" y="18732"/>
                  </a:moveTo>
                  <a:cubicBezTo>
                    <a:pt x="114" y="12483"/>
                    <a:pt x="228" y="6248"/>
                    <a:pt x="342" y="0"/>
                  </a:cubicBezTo>
                  <a:cubicBezTo>
                    <a:pt x="16992" y="25"/>
                    <a:pt x="33641" y="50"/>
                    <a:pt x="50291" y="88"/>
                  </a:cubicBezTo>
                  <a:cubicBezTo>
                    <a:pt x="50316" y="6210"/>
                    <a:pt x="50342" y="12331"/>
                    <a:pt x="50367" y="18452"/>
                  </a:cubicBezTo>
                  <a:cubicBezTo>
                    <a:pt x="38505" y="18541"/>
                    <a:pt x="26631" y="18516"/>
                    <a:pt x="14769" y="18821"/>
                  </a:cubicBezTo>
                  <a:cubicBezTo>
                    <a:pt x="10947" y="18910"/>
                    <a:pt x="7137" y="19913"/>
                    <a:pt x="3327" y="20510"/>
                  </a:cubicBezTo>
                  <a:cubicBezTo>
                    <a:pt x="2031" y="20268"/>
                    <a:pt x="507" y="20446"/>
                    <a:pt x="0" y="18732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0" name="Free Form 1411">
              <a:extLst>
                <a:ext uri="{FF2B5EF4-FFF2-40B4-BE49-F238E27FC236}">
                  <a16:creationId xmlns:a16="http://schemas.microsoft.com/office/drawing/2014/main" id="{E9AA97BF-0EA3-DFA2-5F3D-05505286B7A9}"/>
                </a:ext>
              </a:extLst>
            </p:cNvPr>
            <p:cNvSpPr/>
            <p:nvPr/>
          </p:nvSpPr>
          <p:spPr>
            <a:xfrm>
              <a:off x="4303121" y="4863323"/>
              <a:ext cx="66486" cy="136507"/>
            </a:xfrm>
            <a:custGeom>
              <a:avLst/>
              <a:gdLst/>
              <a:ahLst/>
              <a:cxnLst/>
              <a:rect l="0" t="0" r="0" b="0"/>
              <a:pathLst>
                <a:path w="52729" h="99312">
                  <a:moveTo>
                    <a:pt x="1600" y="60349"/>
                  </a:moveTo>
                  <a:cubicBezTo>
                    <a:pt x="5778" y="60197"/>
                    <a:pt x="9956" y="60057"/>
                    <a:pt x="14147" y="59905"/>
                  </a:cubicBezTo>
                  <a:cubicBezTo>
                    <a:pt x="13563" y="51307"/>
                    <a:pt x="20776" y="49008"/>
                    <a:pt x="26263" y="45109"/>
                  </a:cubicBezTo>
                  <a:cubicBezTo>
                    <a:pt x="21754" y="46125"/>
                    <a:pt x="17360" y="47637"/>
                    <a:pt x="14071" y="42976"/>
                  </a:cubicBezTo>
                  <a:cubicBezTo>
                    <a:pt x="0" y="36486"/>
                    <a:pt x="2057" y="23494"/>
                    <a:pt x="3632" y="12420"/>
                  </a:cubicBezTo>
                  <a:cubicBezTo>
                    <a:pt x="4889" y="3632"/>
                    <a:pt x="16840" y="6057"/>
                    <a:pt x="21805" y="0"/>
                  </a:cubicBezTo>
                  <a:cubicBezTo>
                    <a:pt x="24485" y="2565"/>
                    <a:pt x="23101" y="5067"/>
                    <a:pt x="23697" y="7150"/>
                  </a:cubicBezTo>
                  <a:cubicBezTo>
                    <a:pt x="24904" y="11353"/>
                    <a:pt x="24066" y="17830"/>
                    <a:pt x="32194" y="13195"/>
                  </a:cubicBezTo>
                  <a:cubicBezTo>
                    <a:pt x="35673" y="11213"/>
                    <a:pt x="39953" y="12649"/>
                    <a:pt x="42493" y="16395"/>
                  </a:cubicBezTo>
                  <a:cubicBezTo>
                    <a:pt x="44932" y="19989"/>
                    <a:pt x="44830" y="23723"/>
                    <a:pt x="42442" y="27342"/>
                  </a:cubicBezTo>
                  <a:cubicBezTo>
                    <a:pt x="36004" y="37134"/>
                    <a:pt x="40512" y="47992"/>
                    <a:pt x="39521" y="58305"/>
                  </a:cubicBezTo>
                  <a:cubicBezTo>
                    <a:pt x="39331" y="60273"/>
                    <a:pt x="41706" y="60006"/>
                    <a:pt x="43192" y="60070"/>
                  </a:cubicBezTo>
                  <a:cubicBezTo>
                    <a:pt x="46049" y="60197"/>
                    <a:pt x="48907" y="60260"/>
                    <a:pt x="51764" y="60349"/>
                  </a:cubicBezTo>
                  <a:cubicBezTo>
                    <a:pt x="51383" y="67042"/>
                    <a:pt x="52729" y="73811"/>
                    <a:pt x="50481" y="80428"/>
                  </a:cubicBezTo>
                  <a:cubicBezTo>
                    <a:pt x="46557" y="92023"/>
                    <a:pt x="35127" y="99312"/>
                    <a:pt x="23177" y="97611"/>
                  </a:cubicBezTo>
                  <a:cubicBezTo>
                    <a:pt x="11683" y="95985"/>
                    <a:pt x="2336" y="86003"/>
                    <a:pt x="1650" y="74370"/>
                  </a:cubicBezTo>
                  <a:cubicBezTo>
                    <a:pt x="1384" y="69709"/>
                    <a:pt x="1600" y="65023"/>
                    <a:pt x="1600" y="60349"/>
                  </a:cubicBezTo>
                  <a:close/>
                </a:path>
              </a:pathLst>
            </a:custGeom>
            <a:solidFill>
              <a:srgbClr val="FBB197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1" name="Free Form 1412">
              <a:extLst>
                <a:ext uri="{FF2B5EF4-FFF2-40B4-BE49-F238E27FC236}">
                  <a16:creationId xmlns:a16="http://schemas.microsoft.com/office/drawing/2014/main" id="{FF093E9C-68C4-B50D-70A2-BCA9D261E1B0}"/>
                </a:ext>
              </a:extLst>
            </p:cNvPr>
            <p:cNvSpPr/>
            <p:nvPr/>
          </p:nvSpPr>
          <p:spPr>
            <a:xfrm>
              <a:off x="4392357" y="5065381"/>
              <a:ext cx="68199" cy="44305"/>
            </a:xfrm>
            <a:custGeom>
              <a:avLst/>
              <a:gdLst/>
              <a:ahLst/>
              <a:cxnLst/>
              <a:rect l="0" t="0" r="0" b="0"/>
              <a:pathLst>
                <a:path w="54088" h="32232">
                  <a:moveTo>
                    <a:pt x="49961" y="32156"/>
                  </a:moveTo>
                  <a:cubicBezTo>
                    <a:pt x="33311" y="32181"/>
                    <a:pt x="16662" y="32206"/>
                    <a:pt x="12" y="32232"/>
                  </a:cubicBezTo>
                  <a:cubicBezTo>
                    <a:pt x="12" y="21856"/>
                    <a:pt x="12" y="11480"/>
                    <a:pt x="0" y="1092"/>
                  </a:cubicBezTo>
                  <a:cubicBezTo>
                    <a:pt x="901" y="165"/>
                    <a:pt x="1892" y="0"/>
                    <a:pt x="2984" y="749"/>
                  </a:cubicBezTo>
                  <a:cubicBezTo>
                    <a:pt x="18694" y="812"/>
                    <a:pt x="34403" y="876"/>
                    <a:pt x="50113" y="939"/>
                  </a:cubicBezTo>
                  <a:lnTo>
                    <a:pt x="50126" y="863"/>
                  </a:lnTo>
                  <a:cubicBezTo>
                    <a:pt x="53847" y="11315"/>
                    <a:pt x="54088" y="21742"/>
                    <a:pt x="49961" y="32156"/>
                  </a:cubicBezTo>
                  <a:close/>
                </a:path>
              </a:pathLst>
            </a:custGeom>
            <a:solidFill>
              <a:srgbClr val="FBB197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2" name="Free Form 1413">
              <a:extLst>
                <a:ext uri="{FF2B5EF4-FFF2-40B4-BE49-F238E27FC236}">
                  <a16:creationId xmlns:a16="http://schemas.microsoft.com/office/drawing/2014/main" id="{7F007088-C87C-6EAA-314C-1037EA4390AC}"/>
                </a:ext>
              </a:extLst>
            </p:cNvPr>
            <p:cNvSpPr/>
            <p:nvPr/>
          </p:nvSpPr>
          <p:spPr>
            <a:xfrm>
              <a:off x="4214128" y="5035567"/>
              <a:ext cx="43235" cy="74119"/>
            </a:xfrm>
            <a:custGeom>
              <a:avLst/>
              <a:gdLst/>
              <a:ahLst/>
              <a:cxnLst/>
              <a:rect l="0" t="0" r="0" b="0"/>
              <a:pathLst>
                <a:path w="34289" h="53923">
                  <a:moveTo>
                    <a:pt x="34289" y="53923"/>
                  </a:moveTo>
                  <a:cubicBezTo>
                    <a:pt x="22859" y="53910"/>
                    <a:pt x="11429" y="53898"/>
                    <a:pt x="0" y="53885"/>
                  </a:cubicBezTo>
                  <a:cubicBezTo>
                    <a:pt x="13969" y="42950"/>
                    <a:pt x="20459" y="27012"/>
                    <a:pt x="28117" y="11874"/>
                  </a:cubicBezTo>
                  <a:cubicBezTo>
                    <a:pt x="29793" y="8661"/>
                    <a:pt x="31457" y="5448"/>
                    <a:pt x="34289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3" name="Free Form 1414">
              <a:extLst>
                <a:ext uri="{FF2B5EF4-FFF2-40B4-BE49-F238E27FC236}">
                  <a16:creationId xmlns:a16="http://schemas.microsoft.com/office/drawing/2014/main" id="{A8C32BF3-04B7-DBA5-DE6F-7800BA16496F}"/>
                </a:ext>
              </a:extLst>
            </p:cNvPr>
            <p:cNvSpPr/>
            <p:nvPr/>
          </p:nvSpPr>
          <p:spPr>
            <a:xfrm>
              <a:off x="4384177" y="4993473"/>
              <a:ext cx="16077" cy="73420"/>
            </a:xfrm>
            <a:custGeom>
              <a:avLst/>
              <a:gdLst/>
              <a:ahLst/>
              <a:cxnLst/>
              <a:rect l="0" t="0" r="0" b="0"/>
              <a:pathLst>
                <a:path w="12750" h="53415">
                  <a:moveTo>
                    <a:pt x="9474" y="53060"/>
                  </a:moveTo>
                  <a:cubicBezTo>
                    <a:pt x="8483" y="53174"/>
                    <a:pt x="7492" y="53301"/>
                    <a:pt x="6489" y="53415"/>
                  </a:cubicBezTo>
                  <a:cubicBezTo>
                    <a:pt x="1816" y="52666"/>
                    <a:pt x="0" y="49783"/>
                    <a:pt x="38" y="45211"/>
                  </a:cubicBezTo>
                  <a:cubicBezTo>
                    <a:pt x="114" y="32994"/>
                    <a:pt x="114" y="20776"/>
                    <a:pt x="38" y="8547"/>
                  </a:cubicBezTo>
                  <a:cubicBezTo>
                    <a:pt x="12" y="4178"/>
                    <a:pt x="1130" y="342"/>
                    <a:pt x="6032" y="177"/>
                  </a:cubicBezTo>
                  <a:cubicBezTo>
                    <a:pt x="11480" y="0"/>
                    <a:pt x="12661" y="4038"/>
                    <a:pt x="12636" y="8724"/>
                  </a:cubicBezTo>
                  <a:cubicBezTo>
                    <a:pt x="12560" y="20688"/>
                    <a:pt x="12483" y="32651"/>
                    <a:pt x="12687" y="44601"/>
                  </a:cubicBezTo>
                  <a:cubicBezTo>
                    <a:pt x="12750" y="48030"/>
                    <a:pt x="11480" y="50596"/>
                    <a:pt x="9474" y="53060"/>
                  </a:cubicBezTo>
                  <a:close/>
                </a:path>
              </a:pathLst>
            </a:custGeom>
            <a:solidFill>
              <a:srgbClr val="D8632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4" name="Free Form 1415">
              <a:extLst>
                <a:ext uri="{FF2B5EF4-FFF2-40B4-BE49-F238E27FC236}">
                  <a16:creationId xmlns:a16="http://schemas.microsoft.com/office/drawing/2014/main" id="{B696DC76-ED3F-1BFD-8079-8BF17D2E5DD5}"/>
                </a:ext>
              </a:extLst>
            </p:cNvPr>
            <p:cNvSpPr/>
            <p:nvPr/>
          </p:nvSpPr>
          <p:spPr>
            <a:xfrm>
              <a:off x="4328862" y="5273803"/>
              <a:ext cx="23427" cy="129473"/>
            </a:xfrm>
            <a:custGeom>
              <a:avLst/>
              <a:gdLst/>
              <a:ahLst/>
              <a:cxnLst/>
              <a:rect l="0" t="0" r="0" b="0"/>
              <a:pathLst>
                <a:path w="18579" h="94194">
                  <a:moveTo>
                    <a:pt x="546" y="368"/>
                  </a:moveTo>
                  <a:cubicBezTo>
                    <a:pt x="6553" y="241"/>
                    <a:pt x="12560" y="126"/>
                    <a:pt x="18567" y="0"/>
                  </a:cubicBezTo>
                  <a:cubicBezTo>
                    <a:pt x="18579" y="31381"/>
                    <a:pt x="18579" y="62762"/>
                    <a:pt x="18579" y="94144"/>
                  </a:cubicBezTo>
                  <a:cubicBezTo>
                    <a:pt x="0" y="94194"/>
                    <a:pt x="0" y="94194"/>
                    <a:pt x="101" y="75602"/>
                  </a:cubicBezTo>
                  <a:cubicBezTo>
                    <a:pt x="241" y="50520"/>
                    <a:pt x="393" y="25450"/>
                    <a:pt x="546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5" name="Free Form 1416">
              <a:extLst>
                <a:ext uri="{FF2B5EF4-FFF2-40B4-BE49-F238E27FC236}">
                  <a16:creationId xmlns:a16="http://schemas.microsoft.com/office/drawing/2014/main" id="{D0AD1F5A-395C-9F93-947E-89428455FC46}"/>
                </a:ext>
              </a:extLst>
            </p:cNvPr>
            <p:cNvSpPr/>
            <p:nvPr/>
          </p:nvSpPr>
          <p:spPr>
            <a:xfrm>
              <a:off x="4546550" y="4962989"/>
              <a:ext cx="32010" cy="99727"/>
            </a:xfrm>
            <a:custGeom>
              <a:avLst/>
              <a:gdLst/>
              <a:ahLst/>
              <a:cxnLst/>
              <a:rect l="0" t="0" r="0" b="0"/>
              <a:pathLst>
                <a:path w="25387" h="72554">
                  <a:moveTo>
                    <a:pt x="14173" y="76"/>
                  </a:moveTo>
                  <a:cubicBezTo>
                    <a:pt x="14617" y="63"/>
                    <a:pt x="15062" y="38"/>
                    <a:pt x="15493" y="0"/>
                  </a:cubicBezTo>
                  <a:cubicBezTo>
                    <a:pt x="23786" y="8724"/>
                    <a:pt x="25387" y="17284"/>
                    <a:pt x="21208" y="29768"/>
                  </a:cubicBezTo>
                  <a:cubicBezTo>
                    <a:pt x="17741" y="40144"/>
                    <a:pt x="22631" y="52780"/>
                    <a:pt x="21945" y="64489"/>
                  </a:cubicBezTo>
                  <a:cubicBezTo>
                    <a:pt x="21792" y="67233"/>
                    <a:pt x="23012" y="70281"/>
                    <a:pt x="20357" y="72554"/>
                  </a:cubicBezTo>
                  <a:cubicBezTo>
                    <a:pt x="14935" y="70204"/>
                    <a:pt x="9385" y="68083"/>
                    <a:pt x="4508" y="64629"/>
                  </a:cubicBezTo>
                  <a:cubicBezTo>
                    <a:pt x="5079" y="53999"/>
                    <a:pt x="5689" y="43357"/>
                    <a:pt x="6172" y="32714"/>
                  </a:cubicBezTo>
                  <a:cubicBezTo>
                    <a:pt x="6273" y="30403"/>
                    <a:pt x="6629" y="27622"/>
                    <a:pt x="5562" y="25818"/>
                  </a:cubicBezTo>
                  <a:cubicBezTo>
                    <a:pt x="0" y="16370"/>
                    <a:pt x="4140" y="9753"/>
                    <a:pt x="11226" y="3682"/>
                  </a:cubicBezTo>
                  <a:cubicBezTo>
                    <a:pt x="12395" y="2692"/>
                    <a:pt x="13195" y="1295"/>
                    <a:pt x="14173" y="76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6" name="Free Form 1417">
              <a:extLst>
                <a:ext uri="{FF2B5EF4-FFF2-40B4-BE49-F238E27FC236}">
                  <a16:creationId xmlns:a16="http://schemas.microsoft.com/office/drawing/2014/main" id="{FBDA0F78-A971-63C8-7698-57AFC7A5F2F2}"/>
                </a:ext>
              </a:extLst>
            </p:cNvPr>
            <p:cNvSpPr/>
            <p:nvPr/>
          </p:nvSpPr>
          <p:spPr>
            <a:xfrm>
              <a:off x="4621612" y="4984848"/>
              <a:ext cx="16045" cy="82043"/>
            </a:xfrm>
            <a:custGeom>
              <a:avLst/>
              <a:gdLst/>
              <a:ahLst/>
              <a:cxnLst/>
              <a:rect l="0" t="0" r="0" b="0"/>
              <a:pathLst>
                <a:path w="12725" h="59689">
                  <a:moveTo>
                    <a:pt x="6489" y="59689"/>
                  </a:moveTo>
                  <a:cubicBezTo>
                    <a:pt x="1841" y="58901"/>
                    <a:pt x="0" y="56031"/>
                    <a:pt x="25" y="51459"/>
                  </a:cubicBezTo>
                  <a:cubicBezTo>
                    <a:pt x="101" y="37159"/>
                    <a:pt x="101" y="22859"/>
                    <a:pt x="25" y="8547"/>
                  </a:cubicBezTo>
                  <a:cubicBezTo>
                    <a:pt x="0" y="4178"/>
                    <a:pt x="1117" y="330"/>
                    <a:pt x="6032" y="177"/>
                  </a:cubicBezTo>
                  <a:cubicBezTo>
                    <a:pt x="11467" y="0"/>
                    <a:pt x="12649" y="4038"/>
                    <a:pt x="12623" y="8724"/>
                  </a:cubicBezTo>
                  <a:cubicBezTo>
                    <a:pt x="12560" y="22770"/>
                    <a:pt x="12496" y="36816"/>
                    <a:pt x="12687" y="50850"/>
                  </a:cubicBezTo>
                  <a:cubicBezTo>
                    <a:pt x="12725" y="54279"/>
                    <a:pt x="11493" y="56857"/>
                    <a:pt x="9435" y="59295"/>
                  </a:cubicBezTo>
                  <a:cubicBezTo>
                    <a:pt x="8458" y="59422"/>
                    <a:pt x="7467" y="59562"/>
                    <a:pt x="6489" y="59689"/>
                  </a:cubicBezTo>
                  <a:close/>
                </a:path>
              </a:pathLst>
            </a:custGeom>
            <a:solidFill>
              <a:srgbClr val="4B5D9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7" name="Free Form 1418">
              <a:extLst>
                <a:ext uri="{FF2B5EF4-FFF2-40B4-BE49-F238E27FC236}">
                  <a16:creationId xmlns:a16="http://schemas.microsoft.com/office/drawing/2014/main" id="{1F8DF41C-1BB0-1AC6-3C97-5532627E5849}"/>
                </a:ext>
              </a:extLst>
            </p:cNvPr>
            <p:cNvSpPr/>
            <p:nvPr/>
          </p:nvSpPr>
          <p:spPr>
            <a:xfrm>
              <a:off x="4455352" y="5066308"/>
              <a:ext cx="34684" cy="43413"/>
            </a:xfrm>
            <a:custGeom>
              <a:avLst/>
              <a:gdLst/>
              <a:ahLst/>
              <a:cxnLst/>
              <a:rect l="0" t="0" r="0" b="0"/>
              <a:pathLst>
                <a:path w="27507" h="31584">
                  <a:moveTo>
                    <a:pt x="0" y="31482"/>
                  </a:moveTo>
                  <a:cubicBezTo>
                    <a:pt x="50" y="21056"/>
                    <a:pt x="114" y="10629"/>
                    <a:pt x="165" y="190"/>
                  </a:cubicBezTo>
                  <a:cubicBezTo>
                    <a:pt x="1104" y="126"/>
                    <a:pt x="2057" y="63"/>
                    <a:pt x="3009" y="0"/>
                  </a:cubicBezTo>
                  <a:cubicBezTo>
                    <a:pt x="5892" y="4660"/>
                    <a:pt x="11125" y="5270"/>
                    <a:pt x="15531" y="7378"/>
                  </a:cubicBezTo>
                  <a:cubicBezTo>
                    <a:pt x="18529" y="8813"/>
                    <a:pt x="22059" y="9575"/>
                    <a:pt x="23837" y="12890"/>
                  </a:cubicBezTo>
                  <a:cubicBezTo>
                    <a:pt x="26530" y="18960"/>
                    <a:pt x="27507" y="25158"/>
                    <a:pt x="25183" y="31584"/>
                  </a:cubicBezTo>
                  <a:cubicBezTo>
                    <a:pt x="16789" y="31546"/>
                    <a:pt x="8394" y="31521"/>
                    <a:pt x="0" y="31482"/>
                  </a:cubicBezTo>
                  <a:close/>
                </a:path>
              </a:pathLst>
            </a:custGeom>
            <a:solidFill>
              <a:srgbClr val="9D7DA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8" name="Free Form 1419">
              <a:extLst>
                <a:ext uri="{FF2B5EF4-FFF2-40B4-BE49-F238E27FC236}">
                  <a16:creationId xmlns:a16="http://schemas.microsoft.com/office/drawing/2014/main" id="{98A63E35-743F-D3C9-0999-ACD922F8224D}"/>
                </a:ext>
              </a:extLst>
            </p:cNvPr>
            <p:cNvSpPr/>
            <p:nvPr/>
          </p:nvSpPr>
          <p:spPr>
            <a:xfrm>
              <a:off x="4485370" y="5084028"/>
              <a:ext cx="51017" cy="25697"/>
            </a:xfrm>
            <a:custGeom>
              <a:avLst/>
              <a:gdLst/>
              <a:ahLst/>
              <a:cxnLst/>
              <a:rect l="0" t="0" r="0" b="0"/>
              <a:pathLst>
                <a:path w="40461" h="18694">
                  <a:moveTo>
                    <a:pt x="1371" y="18694"/>
                  </a:moveTo>
                  <a:cubicBezTo>
                    <a:pt x="25" y="12534"/>
                    <a:pt x="0" y="6273"/>
                    <a:pt x="38" y="0"/>
                  </a:cubicBezTo>
                  <a:cubicBezTo>
                    <a:pt x="14249" y="4584"/>
                    <a:pt x="27469" y="11328"/>
                    <a:pt x="40461" y="18554"/>
                  </a:cubicBezTo>
                  <a:cubicBezTo>
                    <a:pt x="27431" y="18605"/>
                    <a:pt x="14401" y="18643"/>
                    <a:pt x="1371" y="18694"/>
                  </a:cubicBezTo>
                  <a:close/>
                </a:path>
              </a:pathLst>
            </a:custGeom>
            <a:solidFill>
              <a:srgbClr val="7182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9" name="Free Form 1420">
              <a:extLst>
                <a:ext uri="{FF2B5EF4-FFF2-40B4-BE49-F238E27FC236}">
                  <a16:creationId xmlns:a16="http://schemas.microsoft.com/office/drawing/2014/main" id="{52363B59-2D34-5BFA-3D8E-9B334EA51F1E}"/>
                </a:ext>
              </a:extLst>
            </p:cNvPr>
            <p:cNvSpPr/>
            <p:nvPr/>
          </p:nvSpPr>
          <p:spPr>
            <a:xfrm>
              <a:off x="4320869" y="4920591"/>
              <a:ext cx="19744" cy="25067"/>
            </a:xfrm>
            <a:custGeom>
              <a:avLst/>
              <a:gdLst/>
              <a:ahLst/>
              <a:cxnLst/>
              <a:rect l="0" t="0" r="0" b="0"/>
              <a:pathLst>
                <a:path w="15658" h="18237">
                  <a:moveTo>
                    <a:pt x="0" y="1308"/>
                  </a:moveTo>
                  <a:cubicBezTo>
                    <a:pt x="5029" y="3809"/>
                    <a:pt x="9982" y="2590"/>
                    <a:pt x="15658" y="0"/>
                  </a:cubicBezTo>
                  <a:cubicBezTo>
                    <a:pt x="14198" y="4521"/>
                    <a:pt x="11696" y="7327"/>
                    <a:pt x="8826" y="8242"/>
                  </a:cubicBezTo>
                  <a:cubicBezTo>
                    <a:pt x="3543" y="9918"/>
                    <a:pt x="1612" y="13715"/>
                    <a:pt x="63" y="18237"/>
                  </a:cubicBezTo>
                  <a:cubicBezTo>
                    <a:pt x="50" y="12598"/>
                    <a:pt x="25" y="6946"/>
                    <a:pt x="0" y="1308"/>
                  </a:cubicBezTo>
                  <a:close/>
                </a:path>
              </a:pathLst>
            </a:custGeom>
            <a:solidFill>
              <a:srgbClr val="192A5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0" name="Free Form 1421">
              <a:extLst>
                <a:ext uri="{FF2B5EF4-FFF2-40B4-BE49-F238E27FC236}">
                  <a16:creationId xmlns:a16="http://schemas.microsoft.com/office/drawing/2014/main" id="{F27B8CF2-EB87-C743-D9E5-69EA83CBA67E}"/>
                </a:ext>
              </a:extLst>
            </p:cNvPr>
            <p:cNvSpPr/>
            <p:nvPr/>
          </p:nvSpPr>
          <p:spPr>
            <a:xfrm>
              <a:off x="3903860" y="5025538"/>
              <a:ext cx="12827" cy="15344"/>
            </a:xfrm>
            <a:custGeom>
              <a:avLst/>
              <a:gdLst/>
              <a:ahLst/>
              <a:cxnLst/>
              <a:rect l="0" t="0" r="0" b="0"/>
              <a:pathLst>
                <a:path w="10172" h="11163">
                  <a:moveTo>
                    <a:pt x="7302" y="0"/>
                  </a:moveTo>
                  <a:cubicBezTo>
                    <a:pt x="10172" y="3670"/>
                    <a:pt x="9969" y="7404"/>
                    <a:pt x="7480" y="11163"/>
                  </a:cubicBezTo>
                  <a:cubicBezTo>
                    <a:pt x="2057" y="7531"/>
                    <a:pt x="0" y="3835"/>
                    <a:pt x="7302" y="0"/>
                  </a:cubicBezTo>
                  <a:close/>
                </a:path>
              </a:pathLst>
            </a:custGeom>
            <a:solidFill>
              <a:srgbClr val="43508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1" name="Free Form 1422">
              <a:extLst>
                <a:ext uri="{FF2B5EF4-FFF2-40B4-BE49-F238E27FC236}">
                  <a16:creationId xmlns:a16="http://schemas.microsoft.com/office/drawing/2014/main" id="{E5D6182C-6C7C-70B9-A45D-29FE5672CE29}"/>
                </a:ext>
              </a:extLst>
            </p:cNvPr>
            <p:cNvSpPr/>
            <p:nvPr/>
          </p:nvSpPr>
          <p:spPr>
            <a:xfrm>
              <a:off x="4551603" y="4918727"/>
              <a:ext cx="19024" cy="17543"/>
            </a:xfrm>
            <a:custGeom>
              <a:avLst/>
              <a:gdLst/>
              <a:ahLst/>
              <a:cxnLst/>
              <a:rect l="0" t="0" r="0" b="0"/>
              <a:pathLst>
                <a:path w="15087" h="12763">
                  <a:moveTo>
                    <a:pt x="15087" y="0"/>
                  </a:moveTo>
                  <a:cubicBezTo>
                    <a:pt x="13512" y="6007"/>
                    <a:pt x="9905" y="8699"/>
                    <a:pt x="5778" y="10858"/>
                  </a:cubicBezTo>
                  <a:cubicBezTo>
                    <a:pt x="3936" y="11823"/>
                    <a:pt x="1638" y="12763"/>
                    <a:pt x="888" y="9702"/>
                  </a:cubicBezTo>
                  <a:cubicBezTo>
                    <a:pt x="368" y="7543"/>
                    <a:pt x="0" y="5092"/>
                    <a:pt x="3225" y="4140"/>
                  </a:cubicBezTo>
                  <a:cubicBezTo>
                    <a:pt x="6845" y="3060"/>
                    <a:pt x="10363" y="1663"/>
                    <a:pt x="15087" y="0"/>
                  </a:cubicBezTo>
                  <a:close/>
                </a:path>
              </a:pathLst>
            </a:custGeom>
            <a:solidFill>
              <a:srgbClr val="192A5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2" name="Free Form 1423">
              <a:extLst>
                <a:ext uri="{FF2B5EF4-FFF2-40B4-BE49-F238E27FC236}">
                  <a16:creationId xmlns:a16="http://schemas.microsoft.com/office/drawing/2014/main" id="{B2ED04B6-B97D-6F3F-8215-6D6EF537A2AC}"/>
                </a:ext>
              </a:extLst>
            </p:cNvPr>
            <p:cNvSpPr/>
            <p:nvPr/>
          </p:nvSpPr>
          <p:spPr>
            <a:xfrm>
              <a:off x="3932139" y="4733086"/>
              <a:ext cx="15741" cy="14349"/>
            </a:xfrm>
            <a:custGeom>
              <a:avLst/>
              <a:gdLst/>
              <a:ahLst/>
              <a:cxnLst/>
              <a:rect l="0" t="0" r="0" b="0"/>
              <a:pathLst>
                <a:path w="12483" h="10439">
                  <a:moveTo>
                    <a:pt x="11747" y="10439"/>
                  </a:moveTo>
                  <a:cubicBezTo>
                    <a:pt x="6692" y="10147"/>
                    <a:pt x="2362" y="8597"/>
                    <a:pt x="0" y="3606"/>
                  </a:cubicBezTo>
                  <a:cubicBezTo>
                    <a:pt x="3860" y="5968"/>
                    <a:pt x="12483" y="0"/>
                    <a:pt x="11747" y="10439"/>
                  </a:cubicBezTo>
                  <a:close/>
                </a:path>
              </a:pathLst>
            </a:custGeom>
            <a:solidFill>
              <a:srgbClr val="192A5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</p:grpSp>
      <p:grpSp>
        <p:nvGrpSpPr>
          <p:cNvPr id="1153" name="Group 1152">
            <a:extLst>
              <a:ext uri="{FF2B5EF4-FFF2-40B4-BE49-F238E27FC236}">
                <a16:creationId xmlns:a16="http://schemas.microsoft.com/office/drawing/2014/main" id="{E3813F3D-769C-3E1E-FA03-0F47F87709B0}"/>
              </a:ext>
            </a:extLst>
          </p:cNvPr>
          <p:cNvGrpSpPr/>
          <p:nvPr/>
        </p:nvGrpSpPr>
        <p:grpSpPr>
          <a:xfrm>
            <a:off x="1725913" y="756349"/>
            <a:ext cx="987852" cy="993130"/>
            <a:chOff x="24624685" y="29197252"/>
            <a:chExt cx="2010061" cy="1834788"/>
          </a:xfrm>
        </p:grpSpPr>
        <p:sp>
          <p:nvSpPr>
            <p:cNvPr id="1154" name="Free Form 3110">
              <a:extLst>
                <a:ext uri="{FF2B5EF4-FFF2-40B4-BE49-F238E27FC236}">
                  <a16:creationId xmlns:a16="http://schemas.microsoft.com/office/drawing/2014/main" id="{812DD32B-F796-34E4-5F9D-3960EFE8366E}"/>
                </a:ext>
              </a:extLst>
            </p:cNvPr>
            <p:cNvSpPr/>
            <p:nvPr/>
          </p:nvSpPr>
          <p:spPr>
            <a:xfrm>
              <a:off x="25474386" y="29197252"/>
              <a:ext cx="112990" cy="126440"/>
            </a:xfrm>
            <a:custGeom>
              <a:avLst/>
              <a:gdLst/>
              <a:ahLst/>
              <a:cxnLst/>
              <a:rect l="0" t="0" r="0" b="0"/>
              <a:pathLst>
                <a:path w="112990" h="126439">
                  <a:moveTo>
                    <a:pt x="0" y="57212"/>
                  </a:moveTo>
                  <a:lnTo>
                    <a:pt x="106031" y="126439"/>
                  </a:lnTo>
                  <a:lnTo>
                    <a:pt x="112990" y="0"/>
                  </a:ln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5" name="Free Form 3111">
              <a:extLst>
                <a:ext uri="{FF2B5EF4-FFF2-40B4-BE49-F238E27FC236}">
                  <a16:creationId xmlns:a16="http://schemas.microsoft.com/office/drawing/2014/main" id="{BFF825EB-9FEF-BC9D-F9A0-0D5CE69AB45F}"/>
                </a:ext>
              </a:extLst>
            </p:cNvPr>
            <p:cNvSpPr/>
            <p:nvPr/>
          </p:nvSpPr>
          <p:spPr>
            <a:xfrm>
              <a:off x="26096138" y="30589466"/>
              <a:ext cx="415387" cy="73253"/>
            </a:xfrm>
            <a:custGeom>
              <a:avLst/>
              <a:gdLst/>
              <a:ahLst/>
              <a:cxnLst/>
              <a:rect l="0" t="0" r="0" b="0"/>
              <a:pathLst>
                <a:path w="415387" h="73252">
                  <a:moveTo>
                    <a:pt x="39521" y="2247"/>
                  </a:moveTo>
                  <a:cubicBezTo>
                    <a:pt x="39521" y="2247"/>
                    <a:pt x="0" y="32460"/>
                    <a:pt x="37870" y="72198"/>
                  </a:cubicBezTo>
                  <a:cubicBezTo>
                    <a:pt x="38531" y="72871"/>
                    <a:pt x="39433" y="73252"/>
                    <a:pt x="40372" y="73252"/>
                  </a:cubicBezTo>
                  <a:lnTo>
                    <a:pt x="385885" y="71233"/>
                  </a:lnTo>
                  <a:cubicBezTo>
                    <a:pt x="385885" y="71233"/>
                    <a:pt x="415387" y="38137"/>
                    <a:pt x="390914" y="0"/>
                  </a:cubicBez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6" name="Free Form 3112">
              <a:extLst>
                <a:ext uri="{FF2B5EF4-FFF2-40B4-BE49-F238E27FC236}">
                  <a16:creationId xmlns:a16="http://schemas.microsoft.com/office/drawing/2014/main" id="{E7C22C20-CB77-5FEB-3532-3E9EC57D929D}"/>
                </a:ext>
              </a:extLst>
            </p:cNvPr>
            <p:cNvSpPr/>
            <p:nvPr/>
          </p:nvSpPr>
          <p:spPr>
            <a:xfrm>
              <a:off x="26213482" y="30622460"/>
              <a:ext cx="192175" cy="1423"/>
            </a:xfrm>
            <a:custGeom>
              <a:avLst/>
              <a:gdLst/>
              <a:ahLst/>
              <a:cxnLst/>
              <a:rect l="0" t="0" r="0" b="0"/>
              <a:pathLst>
                <a:path w="192174" h="1422">
                  <a:moveTo>
                    <a:pt x="192174" y="711"/>
                  </a:moveTo>
                  <a:cubicBezTo>
                    <a:pt x="192174" y="1104"/>
                    <a:pt x="149159" y="1422"/>
                    <a:pt x="96099" y="1422"/>
                  </a:cubicBezTo>
                  <a:cubicBezTo>
                    <a:pt x="43039" y="1422"/>
                    <a:pt x="0" y="1104"/>
                    <a:pt x="0" y="711"/>
                  </a:cubicBezTo>
                  <a:cubicBezTo>
                    <a:pt x="0" y="317"/>
                    <a:pt x="43014" y="0"/>
                    <a:pt x="96099" y="0"/>
                  </a:cubicBezTo>
                  <a:cubicBezTo>
                    <a:pt x="149185" y="0"/>
                    <a:pt x="192174" y="317"/>
                    <a:pt x="192174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7" name="Free Form 3113">
              <a:extLst>
                <a:ext uri="{FF2B5EF4-FFF2-40B4-BE49-F238E27FC236}">
                  <a16:creationId xmlns:a16="http://schemas.microsoft.com/office/drawing/2014/main" id="{589EAA11-7BC2-354B-662B-F76299573B16}"/>
                </a:ext>
              </a:extLst>
            </p:cNvPr>
            <p:cNvSpPr/>
            <p:nvPr/>
          </p:nvSpPr>
          <p:spPr>
            <a:xfrm>
              <a:off x="26261568" y="30634977"/>
              <a:ext cx="90347" cy="1397"/>
            </a:xfrm>
            <a:custGeom>
              <a:avLst/>
              <a:gdLst/>
              <a:ahLst/>
              <a:cxnLst/>
              <a:rect l="0" t="0" r="0" b="0"/>
              <a:pathLst>
                <a:path w="90346" h="1396">
                  <a:moveTo>
                    <a:pt x="90346" y="685"/>
                  </a:moveTo>
                  <a:cubicBezTo>
                    <a:pt x="90346" y="1079"/>
                    <a:pt x="70128" y="1396"/>
                    <a:pt x="45173" y="1396"/>
                  </a:cubicBezTo>
                  <a:cubicBezTo>
                    <a:pt x="20218" y="1396"/>
                    <a:pt x="0" y="1079"/>
                    <a:pt x="0" y="685"/>
                  </a:cubicBezTo>
                  <a:cubicBezTo>
                    <a:pt x="0" y="292"/>
                    <a:pt x="20218" y="0"/>
                    <a:pt x="45173" y="0"/>
                  </a:cubicBezTo>
                  <a:cubicBezTo>
                    <a:pt x="70128" y="0"/>
                    <a:pt x="90346" y="317"/>
                    <a:pt x="90346" y="68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8" name="Free Form 3114">
              <a:extLst>
                <a:ext uri="{FF2B5EF4-FFF2-40B4-BE49-F238E27FC236}">
                  <a16:creationId xmlns:a16="http://schemas.microsoft.com/office/drawing/2014/main" id="{834654F8-FD6C-51AD-B86F-7A4A1A0A1867}"/>
                </a:ext>
              </a:extLst>
            </p:cNvPr>
            <p:cNvSpPr/>
            <p:nvPr/>
          </p:nvSpPr>
          <p:spPr>
            <a:xfrm>
              <a:off x="26440088" y="30588540"/>
              <a:ext cx="6135" cy="71056"/>
            </a:xfrm>
            <a:custGeom>
              <a:avLst/>
              <a:gdLst/>
              <a:ahLst/>
              <a:cxnLst/>
              <a:rect l="0" t="0" r="0" b="0"/>
              <a:pathLst>
                <a:path w="6134" h="71055">
                  <a:moveTo>
                    <a:pt x="914" y="71055"/>
                  </a:moveTo>
                  <a:cubicBezTo>
                    <a:pt x="685" y="71055"/>
                    <a:pt x="1650" y="67080"/>
                    <a:pt x="2730" y="60692"/>
                  </a:cubicBezTo>
                  <a:cubicBezTo>
                    <a:pt x="4114" y="52361"/>
                    <a:pt x="4775" y="43928"/>
                    <a:pt x="4724" y="35483"/>
                  </a:cubicBezTo>
                  <a:cubicBezTo>
                    <a:pt x="4635" y="27038"/>
                    <a:pt x="3809" y="18605"/>
                    <a:pt x="2247" y="10299"/>
                  </a:cubicBezTo>
                  <a:cubicBezTo>
                    <a:pt x="1054" y="3936"/>
                    <a:pt x="0" y="50"/>
                    <a:pt x="228" y="0"/>
                  </a:cubicBezTo>
                  <a:cubicBezTo>
                    <a:pt x="685" y="825"/>
                    <a:pt x="1015" y="1714"/>
                    <a:pt x="1231" y="2628"/>
                  </a:cubicBezTo>
                  <a:cubicBezTo>
                    <a:pt x="2019" y="5092"/>
                    <a:pt x="2679" y="7581"/>
                    <a:pt x="3213" y="10096"/>
                  </a:cubicBezTo>
                  <a:cubicBezTo>
                    <a:pt x="5054" y="18440"/>
                    <a:pt x="6007" y="26949"/>
                    <a:pt x="6057" y="35483"/>
                  </a:cubicBezTo>
                  <a:cubicBezTo>
                    <a:pt x="6134" y="44005"/>
                    <a:pt x="5321" y="52513"/>
                    <a:pt x="3644" y="60870"/>
                  </a:cubicBezTo>
                  <a:cubicBezTo>
                    <a:pt x="2984" y="64070"/>
                    <a:pt x="2336" y="66547"/>
                    <a:pt x="1790" y="68388"/>
                  </a:cubicBezTo>
                  <a:cubicBezTo>
                    <a:pt x="1612" y="69315"/>
                    <a:pt x="1320" y="70204"/>
                    <a:pt x="914" y="7105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9" name="Free Form 3115">
              <a:extLst>
                <a:ext uri="{FF2B5EF4-FFF2-40B4-BE49-F238E27FC236}">
                  <a16:creationId xmlns:a16="http://schemas.microsoft.com/office/drawing/2014/main" id="{8D9EE03E-52E3-2938-3842-997E1FFC4D1E}"/>
                </a:ext>
              </a:extLst>
            </p:cNvPr>
            <p:cNvSpPr/>
            <p:nvPr/>
          </p:nvSpPr>
          <p:spPr>
            <a:xfrm>
              <a:off x="26466522" y="30589047"/>
              <a:ext cx="9957" cy="71716"/>
            </a:xfrm>
            <a:custGeom>
              <a:avLst/>
              <a:gdLst/>
              <a:ahLst/>
              <a:cxnLst/>
              <a:rect l="0" t="0" r="0" b="0"/>
              <a:pathLst>
                <a:path w="9956" h="71716">
                  <a:moveTo>
                    <a:pt x="317" y="0"/>
                  </a:moveTo>
                  <a:cubicBezTo>
                    <a:pt x="927" y="761"/>
                    <a:pt x="1447" y="1600"/>
                    <a:pt x="1854" y="2501"/>
                  </a:cubicBezTo>
                  <a:cubicBezTo>
                    <a:pt x="2425" y="3492"/>
                    <a:pt x="2933" y="4533"/>
                    <a:pt x="3378" y="5587"/>
                  </a:cubicBezTo>
                  <a:cubicBezTo>
                    <a:pt x="3924" y="6845"/>
                    <a:pt x="4597" y="8229"/>
                    <a:pt x="5143" y="9816"/>
                  </a:cubicBezTo>
                  <a:cubicBezTo>
                    <a:pt x="6553" y="13512"/>
                    <a:pt x="7658" y="17309"/>
                    <a:pt x="8432" y="21183"/>
                  </a:cubicBezTo>
                  <a:cubicBezTo>
                    <a:pt x="9372" y="25971"/>
                    <a:pt x="9867" y="30835"/>
                    <a:pt x="9943" y="35712"/>
                  </a:cubicBezTo>
                  <a:cubicBezTo>
                    <a:pt x="9956" y="40601"/>
                    <a:pt x="9524" y="45478"/>
                    <a:pt x="8661" y="50278"/>
                  </a:cubicBezTo>
                  <a:cubicBezTo>
                    <a:pt x="7950" y="54203"/>
                    <a:pt x="6921" y="58051"/>
                    <a:pt x="5562" y="61810"/>
                  </a:cubicBezTo>
                  <a:cubicBezTo>
                    <a:pt x="5079" y="63258"/>
                    <a:pt x="4508" y="64680"/>
                    <a:pt x="3860" y="66064"/>
                  </a:cubicBezTo>
                  <a:cubicBezTo>
                    <a:pt x="3441" y="67131"/>
                    <a:pt x="2946" y="68172"/>
                    <a:pt x="2387" y="69188"/>
                  </a:cubicBezTo>
                  <a:cubicBezTo>
                    <a:pt x="1993" y="70090"/>
                    <a:pt x="1485" y="70941"/>
                    <a:pt x="888" y="71716"/>
                  </a:cubicBezTo>
                  <a:cubicBezTo>
                    <a:pt x="660" y="71716"/>
                    <a:pt x="2590" y="67880"/>
                    <a:pt x="4635" y="61492"/>
                  </a:cubicBezTo>
                  <a:cubicBezTo>
                    <a:pt x="5841" y="57784"/>
                    <a:pt x="6794" y="53987"/>
                    <a:pt x="7467" y="50139"/>
                  </a:cubicBezTo>
                  <a:cubicBezTo>
                    <a:pt x="8216" y="45440"/>
                    <a:pt x="8585" y="40690"/>
                    <a:pt x="8610" y="35940"/>
                  </a:cubicBezTo>
                  <a:cubicBezTo>
                    <a:pt x="8521" y="31178"/>
                    <a:pt x="8064" y="26441"/>
                    <a:pt x="7238" y="21742"/>
                  </a:cubicBezTo>
                  <a:cubicBezTo>
                    <a:pt x="6553" y="17906"/>
                    <a:pt x="5600" y="14109"/>
                    <a:pt x="4406" y="10388"/>
                  </a:cubicBezTo>
                  <a:cubicBezTo>
                    <a:pt x="1993" y="3809"/>
                    <a:pt x="0" y="114"/>
                    <a:pt x="31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0" name="Free Form 3116">
              <a:extLst>
                <a:ext uri="{FF2B5EF4-FFF2-40B4-BE49-F238E27FC236}">
                  <a16:creationId xmlns:a16="http://schemas.microsoft.com/office/drawing/2014/main" id="{5CF8CBF2-770C-E74D-8F0C-1DD904A1E082}"/>
                </a:ext>
              </a:extLst>
            </p:cNvPr>
            <p:cNvSpPr/>
            <p:nvPr/>
          </p:nvSpPr>
          <p:spPr>
            <a:xfrm>
              <a:off x="26180395" y="30592424"/>
              <a:ext cx="10948" cy="67627"/>
            </a:xfrm>
            <a:custGeom>
              <a:avLst/>
              <a:gdLst/>
              <a:ahLst/>
              <a:cxnLst/>
              <a:rect l="0" t="0" r="0" b="0"/>
              <a:pathLst>
                <a:path w="10947" h="67626">
                  <a:moveTo>
                    <a:pt x="9804" y="67626"/>
                  </a:moveTo>
                  <a:cubicBezTo>
                    <a:pt x="9169" y="66940"/>
                    <a:pt x="8623" y="66166"/>
                    <a:pt x="8191" y="65328"/>
                  </a:cubicBezTo>
                  <a:cubicBezTo>
                    <a:pt x="7581" y="64426"/>
                    <a:pt x="7035" y="63473"/>
                    <a:pt x="6565" y="62483"/>
                  </a:cubicBezTo>
                  <a:cubicBezTo>
                    <a:pt x="5880" y="61200"/>
                    <a:pt x="5257" y="59867"/>
                    <a:pt x="4724" y="58508"/>
                  </a:cubicBezTo>
                  <a:cubicBezTo>
                    <a:pt x="3263" y="54990"/>
                    <a:pt x="2133" y="51345"/>
                    <a:pt x="1346" y="47611"/>
                  </a:cubicBezTo>
                  <a:cubicBezTo>
                    <a:pt x="444" y="43027"/>
                    <a:pt x="0" y="38366"/>
                    <a:pt x="12" y="33705"/>
                  </a:cubicBezTo>
                  <a:cubicBezTo>
                    <a:pt x="114" y="29031"/>
                    <a:pt x="698" y="24371"/>
                    <a:pt x="1739" y="19811"/>
                  </a:cubicBezTo>
                  <a:cubicBezTo>
                    <a:pt x="2616" y="16116"/>
                    <a:pt x="3835" y="12496"/>
                    <a:pt x="5372" y="9029"/>
                  </a:cubicBezTo>
                  <a:cubicBezTo>
                    <a:pt x="5994" y="7518"/>
                    <a:pt x="6743" y="6184"/>
                    <a:pt x="7340" y="5105"/>
                  </a:cubicBezTo>
                  <a:cubicBezTo>
                    <a:pt x="7835" y="4127"/>
                    <a:pt x="8407" y="3174"/>
                    <a:pt x="9042" y="2273"/>
                  </a:cubicBezTo>
                  <a:cubicBezTo>
                    <a:pt x="9486" y="1435"/>
                    <a:pt x="10045" y="673"/>
                    <a:pt x="10718" y="0"/>
                  </a:cubicBezTo>
                  <a:cubicBezTo>
                    <a:pt x="10947" y="139"/>
                    <a:pt x="8724" y="3492"/>
                    <a:pt x="6286" y="9397"/>
                  </a:cubicBezTo>
                  <a:cubicBezTo>
                    <a:pt x="4902" y="12864"/>
                    <a:pt x="3797" y="16446"/>
                    <a:pt x="2997" y="20103"/>
                  </a:cubicBezTo>
                  <a:cubicBezTo>
                    <a:pt x="2044" y="24586"/>
                    <a:pt x="1511" y="29146"/>
                    <a:pt x="1396" y="33730"/>
                  </a:cubicBezTo>
                  <a:cubicBezTo>
                    <a:pt x="1384" y="38302"/>
                    <a:pt x="1790" y="42887"/>
                    <a:pt x="2628" y="47383"/>
                  </a:cubicBezTo>
                  <a:cubicBezTo>
                    <a:pt x="3327" y="51053"/>
                    <a:pt x="4343" y="54660"/>
                    <a:pt x="5626" y="58178"/>
                  </a:cubicBezTo>
                  <a:cubicBezTo>
                    <a:pt x="7899" y="64108"/>
                    <a:pt x="10032" y="67487"/>
                    <a:pt x="9804" y="67626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1" name="Free Form 3117">
              <a:extLst>
                <a:ext uri="{FF2B5EF4-FFF2-40B4-BE49-F238E27FC236}">
                  <a16:creationId xmlns:a16="http://schemas.microsoft.com/office/drawing/2014/main" id="{3EA1CD61-F6CB-FD55-1D8E-90D8A8F639BE}"/>
                </a:ext>
              </a:extLst>
            </p:cNvPr>
            <p:cNvSpPr/>
            <p:nvPr/>
          </p:nvSpPr>
          <p:spPr>
            <a:xfrm>
              <a:off x="26141238" y="30591800"/>
              <a:ext cx="11887" cy="76682"/>
            </a:xfrm>
            <a:custGeom>
              <a:avLst/>
              <a:gdLst/>
              <a:ahLst/>
              <a:cxnLst/>
              <a:rect l="0" t="0" r="0" b="0"/>
              <a:pathLst>
                <a:path w="11887" h="76681">
                  <a:moveTo>
                    <a:pt x="11658" y="76681"/>
                  </a:moveTo>
                  <a:cubicBezTo>
                    <a:pt x="10959" y="75881"/>
                    <a:pt x="10363" y="75005"/>
                    <a:pt x="9867" y="74065"/>
                  </a:cubicBezTo>
                  <a:cubicBezTo>
                    <a:pt x="9194" y="73024"/>
                    <a:pt x="8597" y="71944"/>
                    <a:pt x="8051" y="70839"/>
                  </a:cubicBezTo>
                  <a:cubicBezTo>
                    <a:pt x="7429" y="69531"/>
                    <a:pt x="6629" y="67995"/>
                    <a:pt x="5981" y="66369"/>
                  </a:cubicBezTo>
                  <a:cubicBezTo>
                    <a:pt x="4292" y="62432"/>
                    <a:pt x="2971" y="58343"/>
                    <a:pt x="2031" y="54164"/>
                  </a:cubicBezTo>
                  <a:cubicBezTo>
                    <a:pt x="876" y="49046"/>
                    <a:pt x="228" y="43827"/>
                    <a:pt x="76" y="38582"/>
                  </a:cubicBezTo>
                  <a:cubicBezTo>
                    <a:pt x="0" y="33324"/>
                    <a:pt x="419" y="28079"/>
                    <a:pt x="1320" y="22910"/>
                  </a:cubicBezTo>
                  <a:cubicBezTo>
                    <a:pt x="2095" y="18706"/>
                    <a:pt x="3238" y="14566"/>
                    <a:pt x="4724" y="10566"/>
                  </a:cubicBezTo>
                  <a:cubicBezTo>
                    <a:pt x="5283" y="9016"/>
                    <a:pt x="5918" y="7492"/>
                    <a:pt x="6629" y="6019"/>
                  </a:cubicBezTo>
                  <a:cubicBezTo>
                    <a:pt x="7111" y="4876"/>
                    <a:pt x="7658" y="3771"/>
                    <a:pt x="8280" y="2692"/>
                  </a:cubicBezTo>
                  <a:cubicBezTo>
                    <a:pt x="8724" y="1727"/>
                    <a:pt x="9283" y="825"/>
                    <a:pt x="9956" y="0"/>
                  </a:cubicBezTo>
                  <a:cubicBezTo>
                    <a:pt x="10210" y="0"/>
                    <a:pt x="7988" y="4063"/>
                    <a:pt x="5664" y="10896"/>
                  </a:cubicBezTo>
                  <a:cubicBezTo>
                    <a:pt x="4317" y="14896"/>
                    <a:pt x="3289" y="18986"/>
                    <a:pt x="2603" y="23139"/>
                  </a:cubicBezTo>
                  <a:cubicBezTo>
                    <a:pt x="1765" y="28231"/>
                    <a:pt x="1384" y="33387"/>
                    <a:pt x="1460" y="38556"/>
                  </a:cubicBezTo>
                  <a:cubicBezTo>
                    <a:pt x="1625" y="43700"/>
                    <a:pt x="2235" y="48830"/>
                    <a:pt x="3276" y="53885"/>
                  </a:cubicBezTo>
                  <a:cubicBezTo>
                    <a:pt x="4152" y="58012"/>
                    <a:pt x="5359" y="62064"/>
                    <a:pt x="6883" y="66001"/>
                  </a:cubicBezTo>
                  <a:cubicBezTo>
                    <a:pt x="9499" y="72706"/>
                    <a:pt x="11887" y="76542"/>
                    <a:pt x="11658" y="7668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2" name="Free Form 3119">
              <a:extLst>
                <a:ext uri="{FF2B5EF4-FFF2-40B4-BE49-F238E27FC236}">
                  <a16:creationId xmlns:a16="http://schemas.microsoft.com/office/drawing/2014/main" id="{F08755AE-FACE-E3C5-B5FC-4CA7391C76A9}"/>
                </a:ext>
              </a:extLst>
            </p:cNvPr>
            <p:cNvSpPr/>
            <p:nvPr/>
          </p:nvSpPr>
          <p:spPr>
            <a:xfrm>
              <a:off x="26056106" y="30758876"/>
              <a:ext cx="419247" cy="78092"/>
            </a:xfrm>
            <a:custGeom>
              <a:avLst/>
              <a:gdLst/>
              <a:ahLst/>
              <a:cxnLst/>
              <a:rect l="0" t="0" r="0" b="0"/>
              <a:pathLst>
                <a:path w="419247" h="78091">
                  <a:moveTo>
                    <a:pt x="63" y="40715"/>
                  </a:moveTo>
                  <a:lnTo>
                    <a:pt x="63" y="42481"/>
                  </a:lnTo>
                  <a:cubicBezTo>
                    <a:pt x="1346" y="62521"/>
                    <a:pt x="18046" y="78091"/>
                    <a:pt x="38137" y="77964"/>
                  </a:cubicBezTo>
                  <a:lnTo>
                    <a:pt x="419247" y="77964"/>
                  </a:lnTo>
                  <a:lnTo>
                    <a:pt x="419247" y="73138"/>
                  </a:lnTo>
                  <a:lnTo>
                    <a:pt x="328774" y="73138"/>
                  </a:lnTo>
                  <a:cubicBezTo>
                    <a:pt x="310511" y="73138"/>
                    <a:pt x="295716" y="58343"/>
                    <a:pt x="295690" y="40093"/>
                  </a:cubicBezTo>
                  <a:cubicBezTo>
                    <a:pt x="295716" y="21831"/>
                    <a:pt x="310511" y="7035"/>
                    <a:pt x="328774" y="7010"/>
                  </a:cubicBezTo>
                  <a:lnTo>
                    <a:pt x="419247" y="7010"/>
                  </a:lnTo>
                  <a:lnTo>
                    <a:pt x="419247" y="0"/>
                  </a:lnTo>
                  <a:lnTo>
                    <a:pt x="38112" y="1282"/>
                  </a:lnTo>
                  <a:cubicBezTo>
                    <a:pt x="17043" y="1320"/>
                    <a:pt x="0" y="18414"/>
                    <a:pt x="38" y="39471"/>
                  </a:cubicBezTo>
                  <a:cubicBezTo>
                    <a:pt x="38" y="39890"/>
                    <a:pt x="50" y="40296"/>
                    <a:pt x="63" y="4071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3" name="Free Form 3125">
              <a:extLst>
                <a:ext uri="{FF2B5EF4-FFF2-40B4-BE49-F238E27FC236}">
                  <a16:creationId xmlns:a16="http://schemas.microsoft.com/office/drawing/2014/main" id="{8F11BD4E-9C7B-43C7-0836-EDF140C4FF1A}"/>
                </a:ext>
              </a:extLst>
            </p:cNvPr>
            <p:cNvSpPr/>
            <p:nvPr/>
          </p:nvSpPr>
          <p:spPr>
            <a:xfrm>
              <a:off x="26080705" y="30761292"/>
              <a:ext cx="22504" cy="75830"/>
            </a:xfrm>
            <a:custGeom>
              <a:avLst/>
              <a:gdLst/>
              <a:ahLst/>
              <a:cxnLst/>
              <a:rect l="0" t="0" r="0" b="0"/>
              <a:pathLst>
                <a:path w="22504" h="75830">
                  <a:moveTo>
                    <a:pt x="21627" y="0"/>
                  </a:moveTo>
                  <a:cubicBezTo>
                    <a:pt x="18694" y="3009"/>
                    <a:pt x="15989" y="6222"/>
                    <a:pt x="13538" y="9626"/>
                  </a:cubicBezTo>
                  <a:cubicBezTo>
                    <a:pt x="1625" y="26758"/>
                    <a:pt x="1879" y="49554"/>
                    <a:pt x="14185" y="66407"/>
                  </a:cubicBezTo>
                  <a:cubicBezTo>
                    <a:pt x="16738" y="69734"/>
                    <a:pt x="19519" y="72884"/>
                    <a:pt x="22504" y="75830"/>
                  </a:cubicBezTo>
                  <a:cubicBezTo>
                    <a:pt x="21488" y="75272"/>
                    <a:pt x="20535" y="74599"/>
                    <a:pt x="19672" y="73811"/>
                  </a:cubicBezTo>
                  <a:cubicBezTo>
                    <a:pt x="17322" y="71766"/>
                    <a:pt x="15189" y="69480"/>
                    <a:pt x="13309" y="67004"/>
                  </a:cubicBezTo>
                  <a:cubicBezTo>
                    <a:pt x="279" y="50012"/>
                    <a:pt x="0" y="26466"/>
                    <a:pt x="12623" y="9169"/>
                  </a:cubicBezTo>
                  <a:cubicBezTo>
                    <a:pt x="14439" y="6629"/>
                    <a:pt x="16522" y="4305"/>
                    <a:pt x="18846" y="2209"/>
                  </a:cubicBezTo>
                  <a:cubicBezTo>
                    <a:pt x="19659" y="1346"/>
                    <a:pt x="20599" y="609"/>
                    <a:pt x="21627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4" name="Free Form 3126">
              <a:extLst>
                <a:ext uri="{FF2B5EF4-FFF2-40B4-BE49-F238E27FC236}">
                  <a16:creationId xmlns:a16="http://schemas.microsoft.com/office/drawing/2014/main" id="{33689CA3-1A17-778F-3754-26C78C9248F3}"/>
                </a:ext>
              </a:extLst>
            </p:cNvPr>
            <p:cNvSpPr/>
            <p:nvPr/>
          </p:nvSpPr>
          <p:spPr>
            <a:xfrm>
              <a:off x="26067800" y="30759901"/>
              <a:ext cx="22516" cy="75691"/>
            </a:xfrm>
            <a:custGeom>
              <a:avLst/>
              <a:gdLst/>
              <a:ahLst/>
              <a:cxnLst/>
              <a:rect l="0" t="0" r="0" b="0"/>
              <a:pathLst>
                <a:path w="22516" h="75691">
                  <a:moveTo>
                    <a:pt x="21640" y="0"/>
                  </a:moveTo>
                  <a:cubicBezTo>
                    <a:pt x="18694" y="2984"/>
                    <a:pt x="15989" y="6210"/>
                    <a:pt x="13550" y="9626"/>
                  </a:cubicBezTo>
                  <a:cubicBezTo>
                    <a:pt x="1727" y="26733"/>
                    <a:pt x="1993" y="49440"/>
                    <a:pt x="14198" y="66267"/>
                  </a:cubicBezTo>
                  <a:cubicBezTo>
                    <a:pt x="16738" y="69607"/>
                    <a:pt x="19519" y="72757"/>
                    <a:pt x="22516" y="75691"/>
                  </a:cubicBezTo>
                  <a:cubicBezTo>
                    <a:pt x="21488" y="75145"/>
                    <a:pt x="20535" y="74472"/>
                    <a:pt x="19684" y="73671"/>
                  </a:cubicBezTo>
                  <a:cubicBezTo>
                    <a:pt x="17322" y="71639"/>
                    <a:pt x="15176" y="69353"/>
                    <a:pt x="13296" y="66864"/>
                  </a:cubicBezTo>
                  <a:cubicBezTo>
                    <a:pt x="279" y="49872"/>
                    <a:pt x="0" y="26339"/>
                    <a:pt x="12610" y="9055"/>
                  </a:cubicBezTo>
                  <a:cubicBezTo>
                    <a:pt x="14439" y="6515"/>
                    <a:pt x="16522" y="4178"/>
                    <a:pt x="18833" y="2070"/>
                  </a:cubicBezTo>
                  <a:cubicBezTo>
                    <a:pt x="19659" y="1244"/>
                    <a:pt x="20611" y="546"/>
                    <a:pt x="21640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5" name="Free Form 3127">
              <a:extLst>
                <a:ext uri="{FF2B5EF4-FFF2-40B4-BE49-F238E27FC236}">
                  <a16:creationId xmlns:a16="http://schemas.microsoft.com/office/drawing/2014/main" id="{45D35257-7808-08B5-91B8-C81F13A42E9B}"/>
                </a:ext>
              </a:extLst>
            </p:cNvPr>
            <p:cNvSpPr/>
            <p:nvPr/>
          </p:nvSpPr>
          <p:spPr>
            <a:xfrm>
              <a:off x="26326684" y="30761292"/>
              <a:ext cx="22529" cy="75830"/>
            </a:xfrm>
            <a:custGeom>
              <a:avLst/>
              <a:gdLst/>
              <a:ahLst/>
              <a:cxnLst/>
              <a:rect l="0" t="0" r="0" b="0"/>
              <a:pathLst>
                <a:path w="22529" h="75830">
                  <a:moveTo>
                    <a:pt x="21653" y="0"/>
                  </a:moveTo>
                  <a:cubicBezTo>
                    <a:pt x="18719" y="3009"/>
                    <a:pt x="16014" y="6222"/>
                    <a:pt x="13563" y="9626"/>
                  </a:cubicBezTo>
                  <a:cubicBezTo>
                    <a:pt x="1676" y="26758"/>
                    <a:pt x="1943" y="49542"/>
                    <a:pt x="14211" y="66407"/>
                  </a:cubicBezTo>
                  <a:cubicBezTo>
                    <a:pt x="16763" y="69734"/>
                    <a:pt x="19545" y="72884"/>
                    <a:pt x="22529" y="75830"/>
                  </a:cubicBezTo>
                  <a:cubicBezTo>
                    <a:pt x="21513" y="75272"/>
                    <a:pt x="20548" y="74599"/>
                    <a:pt x="19697" y="73811"/>
                  </a:cubicBezTo>
                  <a:cubicBezTo>
                    <a:pt x="17335" y="71779"/>
                    <a:pt x="15189" y="69493"/>
                    <a:pt x="13309" y="67004"/>
                  </a:cubicBezTo>
                  <a:cubicBezTo>
                    <a:pt x="279" y="50012"/>
                    <a:pt x="0" y="26466"/>
                    <a:pt x="12623" y="9169"/>
                  </a:cubicBezTo>
                  <a:cubicBezTo>
                    <a:pt x="14439" y="6642"/>
                    <a:pt x="16522" y="4305"/>
                    <a:pt x="18846" y="2209"/>
                  </a:cubicBezTo>
                  <a:cubicBezTo>
                    <a:pt x="19672" y="1346"/>
                    <a:pt x="20611" y="609"/>
                    <a:pt x="21653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6" name="Free Form 3128">
              <a:extLst>
                <a:ext uri="{FF2B5EF4-FFF2-40B4-BE49-F238E27FC236}">
                  <a16:creationId xmlns:a16="http://schemas.microsoft.com/office/drawing/2014/main" id="{850E6F6D-6792-A6BA-7930-C97C49B86780}"/>
                </a:ext>
              </a:extLst>
            </p:cNvPr>
            <p:cNvSpPr/>
            <p:nvPr/>
          </p:nvSpPr>
          <p:spPr>
            <a:xfrm>
              <a:off x="26313858" y="30759901"/>
              <a:ext cx="22504" cy="75691"/>
            </a:xfrm>
            <a:custGeom>
              <a:avLst/>
              <a:gdLst/>
              <a:ahLst/>
              <a:cxnLst/>
              <a:rect l="0" t="0" r="0" b="0"/>
              <a:pathLst>
                <a:path w="22504" h="75691">
                  <a:moveTo>
                    <a:pt x="21589" y="0"/>
                  </a:moveTo>
                  <a:cubicBezTo>
                    <a:pt x="18656" y="2997"/>
                    <a:pt x="15951" y="6222"/>
                    <a:pt x="13499" y="9626"/>
                  </a:cubicBezTo>
                  <a:cubicBezTo>
                    <a:pt x="1663" y="26733"/>
                    <a:pt x="1943" y="49440"/>
                    <a:pt x="14185" y="66267"/>
                  </a:cubicBezTo>
                  <a:cubicBezTo>
                    <a:pt x="16700" y="69620"/>
                    <a:pt x="19481" y="72770"/>
                    <a:pt x="22504" y="75691"/>
                  </a:cubicBezTo>
                  <a:cubicBezTo>
                    <a:pt x="21462" y="75157"/>
                    <a:pt x="20497" y="74484"/>
                    <a:pt x="19659" y="73671"/>
                  </a:cubicBezTo>
                  <a:cubicBezTo>
                    <a:pt x="17297" y="71639"/>
                    <a:pt x="15163" y="69353"/>
                    <a:pt x="13296" y="66864"/>
                  </a:cubicBezTo>
                  <a:cubicBezTo>
                    <a:pt x="279" y="49872"/>
                    <a:pt x="0" y="26339"/>
                    <a:pt x="12610" y="9055"/>
                  </a:cubicBezTo>
                  <a:cubicBezTo>
                    <a:pt x="14427" y="6515"/>
                    <a:pt x="16509" y="4178"/>
                    <a:pt x="18808" y="2070"/>
                  </a:cubicBezTo>
                  <a:cubicBezTo>
                    <a:pt x="19633" y="1257"/>
                    <a:pt x="20561" y="558"/>
                    <a:pt x="21589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7" name="Free Form 3131">
              <a:extLst>
                <a:ext uri="{FF2B5EF4-FFF2-40B4-BE49-F238E27FC236}">
                  <a16:creationId xmlns:a16="http://schemas.microsoft.com/office/drawing/2014/main" id="{551AA5D8-2417-DEBC-8414-E3B04FAB9D39}"/>
                </a:ext>
              </a:extLst>
            </p:cNvPr>
            <p:cNvSpPr/>
            <p:nvPr/>
          </p:nvSpPr>
          <p:spPr>
            <a:xfrm>
              <a:off x="26119450" y="30695990"/>
              <a:ext cx="35293" cy="62661"/>
            </a:xfrm>
            <a:custGeom>
              <a:avLst/>
              <a:gdLst/>
              <a:ahLst/>
              <a:cxnLst/>
              <a:rect l="0" t="0" r="0" b="0"/>
              <a:pathLst>
                <a:path w="35292" h="62661">
                  <a:moveTo>
                    <a:pt x="711" y="62661"/>
                  </a:moveTo>
                  <a:lnTo>
                    <a:pt x="0" y="0"/>
                  </a:lnTo>
                  <a:lnTo>
                    <a:pt x="34124" y="0"/>
                  </a:lnTo>
                  <a:lnTo>
                    <a:pt x="35292" y="62661"/>
                  </a:ln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8" name="Free Form 3132">
              <a:extLst>
                <a:ext uri="{FF2B5EF4-FFF2-40B4-BE49-F238E27FC236}">
                  <a16:creationId xmlns:a16="http://schemas.microsoft.com/office/drawing/2014/main" id="{F95CE2C2-3659-4645-1B3B-289321F58D4D}"/>
                </a:ext>
              </a:extLst>
            </p:cNvPr>
            <p:cNvSpPr/>
            <p:nvPr/>
          </p:nvSpPr>
          <p:spPr>
            <a:xfrm>
              <a:off x="26119991" y="30706179"/>
              <a:ext cx="31711" cy="1867"/>
            </a:xfrm>
            <a:custGeom>
              <a:avLst/>
              <a:gdLst/>
              <a:ahLst/>
              <a:cxnLst/>
              <a:rect l="0" t="0" r="0" b="0"/>
              <a:pathLst>
                <a:path w="31711" h="1866">
                  <a:moveTo>
                    <a:pt x="31711" y="914"/>
                  </a:moveTo>
                  <a:cubicBezTo>
                    <a:pt x="21157" y="1866"/>
                    <a:pt x="10553" y="1866"/>
                    <a:pt x="0" y="914"/>
                  </a:cubicBezTo>
                  <a:cubicBezTo>
                    <a:pt x="10553" y="0"/>
                    <a:pt x="21157" y="0"/>
                    <a:pt x="31711" y="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9" name="Free Form 3133">
              <a:extLst>
                <a:ext uri="{FF2B5EF4-FFF2-40B4-BE49-F238E27FC236}">
                  <a16:creationId xmlns:a16="http://schemas.microsoft.com/office/drawing/2014/main" id="{839D61BA-1F5B-423E-2229-CD8C4D3D1517}"/>
                </a:ext>
              </a:extLst>
            </p:cNvPr>
            <p:cNvSpPr/>
            <p:nvPr/>
          </p:nvSpPr>
          <p:spPr>
            <a:xfrm>
              <a:off x="26119991" y="30715890"/>
              <a:ext cx="31711" cy="1866"/>
            </a:xfrm>
            <a:custGeom>
              <a:avLst/>
              <a:gdLst/>
              <a:ahLst/>
              <a:cxnLst/>
              <a:rect l="0" t="0" r="0" b="0"/>
              <a:pathLst>
                <a:path w="31711" h="1866">
                  <a:moveTo>
                    <a:pt x="31711" y="914"/>
                  </a:moveTo>
                  <a:cubicBezTo>
                    <a:pt x="21157" y="1866"/>
                    <a:pt x="10553" y="1866"/>
                    <a:pt x="0" y="914"/>
                  </a:cubicBezTo>
                  <a:cubicBezTo>
                    <a:pt x="10553" y="0"/>
                    <a:pt x="21157" y="0"/>
                    <a:pt x="31711" y="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0" name="Free Form 3134">
              <a:extLst>
                <a:ext uri="{FF2B5EF4-FFF2-40B4-BE49-F238E27FC236}">
                  <a16:creationId xmlns:a16="http://schemas.microsoft.com/office/drawing/2014/main" id="{9F75AA60-71F7-8255-2F96-5635E28A5BBD}"/>
                </a:ext>
              </a:extLst>
            </p:cNvPr>
            <p:cNvSpPr/>
            <p:nvPr/>
          </p:nvSpPr>
          <p:spPr>
            <a:xfrm>
              <a:off x="26119991" y="30725545"/>
              <a:ext cx="31711" cy="1854"/>
            </a:xfrm>
            <a:custGeom>
              <a:avLst/>
              <a:gdLst/>
              <a:ahLst/>
              <a:cxnLst/>
              <a:rect l="0" t="0" r="0" b="0"/>
              <a:pathLst>
                <a:path w="31711" h="1854">
                  <a:moveTo>
                    <a:pt x="31711" y="939"/>
                  </a:moveTo>
                  <a:cubicBezTo>
                    <a:pt x="21157" y="1854"/>
                    <a:pt x="10553" y="1854"/>
                    <a:pt x="0" y="939"/>
                  </a:cubicBezTo>
                  <a:cubicBezTo>
                    <a:pt x="10553" y="0"/>
                    <a:pt x="21157" y="0"/>
                    <a:pt x="31711" y="93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1" name="Free Form 3135">
              <a:extLst>
                <a:ext uri="{FF2B5EF4-FFF2-40B4-BE49-F238E27FC236}">
                  <a16:creationId xmlns:a16="http://schemas.microsoft.com/office/drawing/2014/main" id="{A239EEC4-D872-CC04-304B-1BAA677857FC}"/>
                </a:ext>
              </a:extLst>
            </p:cNvPr>
            <p:cNvSpPr/>
            <p:nvPr/>
          </p:nvSpPr>
          <p:spPr>
            <a:xfrm>
              <a:off x="26119991" y="30735226"/>
              <a:ext cx="31711" cy="1855"/>
            </a:xfrm>
            <a:custGeom>
              <a:avLst/>
              <a:gdLst/>
              <a:ahLst/>
              <a:cxnLst/>
              <a:rect l="0" t="0" r="0" b="0"/>
              <a:pathLst>
                <a:path w="31711" h="1854">
                  <a:moveTo>
                    <a:pt x="31711" y="939"/>
                  </a:moveTo>
                  <a:cubicBezTo>
                    <a:pt x="21157" y="1854"/>
                    <a:pt x="10553" y="1854"/>
                    <a:pt x="0" y="939"/>
                  </a:cubicBezTo>
                  <a:cubicBezTo>
                    <a:pt x="10553" y="0"/>
                    <a:pt x="21157" y="0"/>
                    <a:pt x="31711" y="93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2" name="Free Form 3136">
              <a:extLst>
                <a:ext uri="{FF2B5EF4-FFF2-40B4-BE49-F238E27FC236}">
                  <a16:creationId xmlns:a16="http://schemas.microsoft.com/office/drawing/2014/main" id="{37D83397-F107-8072-8B16-09863AC5631A}"/>
                </a:ext>
              </a:extLst>
            </p:cNvPr>
            <p:cNvSpPr/>
            <p:nvPr/>
          </p:nvSpPr>
          <p:spPr>
            <a:xfrm>
              <a:off x="26119991" y="30744905"/>
              <a:ext cx="31711" cy="1854"/>
            </a:xfrm>
            <a:custGeom>
              <a:avLst/>
              <a:gdLst/>
              <a:ahLst/>
              <a:cxnLst/>
              <a:rect l="0" t="0" r="0" b="0"/>
              <a:pathLst>
                <a:path w="31711" h="1854">
                  <a:moveTo>
                    <a:pt x="31711" y="914"/>
                  </a:moveTo>
                  <a:cubicBezTo>
                    <a:pt x="21157" y="1854"/>
                    <a:pt x="10553" y="1854"/>
                    <a:pt x="0" y="914"/>
                  </a:cubicBezTo>
                  <a:cubicBezTo>
                    <a:pt x="10553" y="0"/>
                    <a:pt x="21157" y="0"/>
                    <a:pt x="31711" y="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3" name="Free Form 3137">
              <a:extLst>
                <a:ext uri="{FF2B5EF4-FFF2-40B4-BE49-F238E27FC236}">
                  <a16:creationId xmlns:a16="http://schemas.microsoft.com/office/drawing/2014/main" id="{3531083B-DC77-1535-F804-ADBEEA428BF5}"/>
                </a:ext>
              </a:extLst>
            </p:cNvPr>
            <p:cNvSpPr/>
            <p:nvPr/>
          </p:nvSpPr>
          <p:spPr>
            <a:xfrm>
              <a:off x="26117634" y="30694318"/>
              <a:ext cx="382786" cy="67741"/>
            </a:xfrm>
            <a:custGeom>
              <a:avLst/>
              <a:gdLst/>
              <a:ahLst/>
              <a:cxnLst/>
              <a:rect l="0" t="0" r="0" b="0"/>
              <a:pathLst>
                <a:path w="382786" h="67741">
                  <a:moveTo>
                    <a:pt x="0" y="0"/>
                  </a:moveTo>
                  <a:lnTo>
                    <a:pt x="378100" y="0"/>
                  </a:lnTo>
                  <a:cubicBezTo>
                    <a:pt x="382786" y="20751"/>
                    <a:pt x="382113" y="43611"/>
                    <a:pt x="378100" y="67741"/>
                  </a:cubicBezTo>
                  <a:lnTo>
                    <a:pt x="1612" y="67741"/>
                  </a:lnTo>
                  <a:lnTo>
                    <a:pt x="1612" y="63143"/>
                  </a:lnTo>
                  <a:lnTo>
                    <a:pt x="24637" y="63143"/>
                  </a:lnTo>
                  <a:cubicBezTo>
                    <a:pt x="30632" y="63143"/>
                    <a:pt x="35483" y="58279"/>
                    <a:pt x="35483" y="52298"/>
                  </a:cubicBezTo>
                  <a:lnTo>
                    <a:pt x="35483" y="52272"/>
                  </a:lnTo>
                  <a:lnTo>
                    <a:pt x="35483" y="14795"/>
                  </a:lnTo>
                  <a:cubicBezTo>
                    <a:pt x="35483" y="8801"/>
                    <a:pt x="30632" y="3936"/>
                    <a:pt x="24637" y="3911"/>
                  </a:cubicBezTo>
                  <a:lnTo>
                    <a:pt x="0" y="3911"/>
                  </a:ln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4" name="Free Form 3138">
              <a:extLst>
                <a:ext uri="{FF2B5EF4-FFF2-40B4-BE49-F238E27FC236}">
                  <a16:creationId xmlns:a16="http://schemas.microsoft.com/office/drawing/2014/main" id="{660BA0A7-66D4-3863-8805-5DA1CB10DB88}"/>
                </a:ext>
              </a:extLst>
            </p:cNvPr>
            <p:cNvSpPr/>
            <p:nvPr/>
          </p:nvSpPr>
          <p:spPr>
            <a:xfrm>
              <a:off x="26197955" y="30714975"/>
              <a:ext cx="16764" cy="26619"/>
            </a:xfrm>
            <a:custGeom>
              <a:avLst/>
              <a:gdLst/>
              <a:ahLst/>
              <a:cxnLst/>
              <a:rect l="0" t="0" r="0" b="0"/>
              <a:pathLst>
                <a:path w="16763" h="26618">
                  <a:moveTo>
                    <a:pt x="9080" y="13271"/>
                  </a:moveTo>
                  <a:lnTo>
                    <a:pt x="15379" y="13271"/>
                  </a:lnTo>
                  <a:cubicBezTo>
                    <a:pt x="15620" y="13271"/>
                    <a:pt x="15849" y="13334"/>
                    <a:pt x="16065" y="13436"/>
                  </a:cubicBezTo>
                  <a:cubicBezTo>
                    <a:pt x="16497" y="13665"/>
                    <a:pt x="16763" y="14122"/>
                    <a:pt x="16751" y="14604"/>
                  </a:cubicBezTo>
                  <a:cubicBezTo>
                    <a:pt x="16763" y="14744"/>
                    <a:pt x="16763" y="14884"/>
                    <a:pt x="16751" y="15036"/>
                  </a:cubicBezTo>
                  <a:cubicBezTo>
                    <a:pt x="16751" y="15570"/>
                    <a:pt x="16484" y="16078"/>
                    <a:pt x="16319" y="16649"/>
                  </a:cubicBezTo>
                  <a:cubicBezTo>
                    <a:pt x="15570" y="19291"/>
                    <a:pt x="14223" y="21742"/>
                    <a:pt x="12369" y="23774"/>
                  </a:cubicBezTo>
                  <a:cubicBezTo>
                    <a:pt x="11061" y="25437"/>
                    <a:pt x="9118" y="26466"/>
                    <a:pt x="7010" y="26618"/>
                  </a:cubicBezTo>
                  <a:lnTo>
                    <a:pt x="6235" y="26618"/>
                  </a:lnTo>
                  <a:cubicBezTo>
                    <a:pt x="4406" y="26237"/>
                    <a:pt x="2844" y="25031"/>
                    <a:pt x="2006" y="23355"/>
                  </a:cubicBezTo>
                  <a:cubicBezTo>
                    <a:pt x="660" y="21043"/>
                    <a:pt x="0" y="18402"/>
                    <a:pt x="114" y="15735"/>
                  </a:cubicBezTo>
                  <a:cubicBezTo>
                    <a:pt x="114" y="13919"/>
                    <a:pt x="368" y="12102"/>
                    <a:pt x="876" y="10350"/>
                  </a:cubicBezTo>
                  <a:cubicBezTo>
                    <a:pt x="1536" y="7645"/>
                    <a:pt x="2819" y="5143"/>
                    <a:pt x="4622" y="3022"/>
                  </a:cubicBezTo>
                  <a:cubicBezTo>
                    <a:pt x="5968" y="1219"/>
                    <a:pt x="8051" y="114"/>
                    <a:pt x="10299" y="12"/>
                  </a:cubicBezTo>
                  <a:cubicBezTo>
                    <a:pt x="11125" y="0"/>
                    <a:pt x="11950" y="190"/>
                    <a:pt x="12687" y="546"/>
                  </a:cubicBezTo>
                  <a:cubicBezTo>
                    <a:pt x="14477" y="1536"/>
                    <a:pt x="15798" y="3187"/>
                    <a:pt x="16382" y="5156"/>
                  </a:cubicBezTo>
                  <a:cubicBezTo>
                    <a:pt x="16471" y="5346"/>
                    <a:pt x="16509" y="5562"/>
                    <a:pt x="16522" y="5778"/>
                  </a:cubicBezTo>
                  <a:cubicBezTo>
                    <a:pt x="16522" y="6019"/>
                    <a:pt x="16459" y="6261"/>
                    <a:pt x="16319" y="6451"/>
                  </a:cubicBezTo>
                  <a:cubicBezTo>
                    <a:pt x="16103" y="6896"/>
                    <a:pt x="15646" y="7162"/>
                    <a:pt x="15163" y="7137"/>
                  </a:cubicBezTo>
                  <a:lnTo>
                    <a:pt x="14731" y="7137"/>
                  </a:lnTo>
                  <a:cubicBezTo>
                    <a:pt x="14338" y="6997"/>
                    <a:pt x="14020" y="6680"/>
                    <a:pt x="13880" y="6286"/>
                  </a:cubicBezTo>
                  <a:lnTo>
                    <a:pt x="13880" y="6146"/>
                  </a:lnTo>
                  <a:cubicBezTo>
                    <a:pt x="13690" y="5626"/>
                    <a:pt x="13449" y="5130"/>
                    <a:pt x="13144" y="4673"/>
                  </a:cubicBezTo>
                  <a:cubicBezTo>
                    <a:pt x="12509" y="3581"/>
                    <a:pt x="11353" y="2895"/>
                    <a:pt x="10109" y="2857"/>
                  </a:cubicBezTo>
                  <a:cubicBezTo>
                    <a:pt x="9347" y="2870"/>
                    <a:pt x="8623" y="3149"/>
                    <a:pt x="8026" y="3619"/>
                  </a:cubicBezTo>
                  <a:cubicBezTo>
                    <a:pt x="6451" y="4927"/>
                    <a:pt x="5245" y="6642"/>
                    <a:pt x="4571" y="8585"/>
                  </a:cubicBezTo>
                  <a:cubicBezTo>
                    <a:pt x="3606" y="10832"/>
                    <a:pt x="3111" y="13245"/>
                    <a:pt x="3086" y="15684"/>
                  </a:cubicBezTo>
                  <a:cubicBezTo>
                    <a:pt x="3009" y="17640"/>
                    <a:pt x="3390" y="19570"/>
                    <a:pt x="4165" y="21361"/>
                  </a:cubicBezTo>
                  <a:cubicBezTo>
                    <a:pt x="4660" y="22783"/>
                    <a:pt x="5956" y="23761"/>
                    <a:pt x="7467" y="23837"/>
                  </a:cubicBezTo>
                  <a:cubicBezTo>
                    <a:pt x="8686" y="23672"/>
                    <a:pt x="9778" y="23012"/>
                    <a:pt x="10502" y="22008"/>
                  </a:cubicBezTo>
                  <a:cubicBezTo>
                    <a:pt x="11975" y="20294"/>
                    <a:pt x="13093" y="18300"/>
                    <a:pt x="13766" y="16141"/>
                  </a:cubicBezTo>
                  <a:lnTo>
                    <a:pt x="9220" y="16141"/>
                  </a:lnTo>
                  <a:cubicBezTo>
                    <a:pt x="8229" y="16001"/>
                    <a:pt x="7746" y="15481"/>
                    <a:pt x="7721" y="14630"/>
                  </a:cubicBezTo>
                  <a:cubicBezTo>
                    <a:pt x="7683" y="14477"/>
                    <a:pt x="7683" y="14325"/>
                    <a:pt x="7721" y="14185"/>
                  </a:cubicBezTo>
                  <a:cubicBezTo>
                    <a:pt x="7937" y="13614"/>
                    <a:pt x="8483" y="13258"/>
                    <a:pt x="9080" y="1327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5" name="Free Form 3139">
              <a:extLst>
                <a:ext uri="{FF2B5EF4-FFF2-40B4-BE49-F238E27FC236}">
                  <a16:creationId xmlns:a16="http://schemas.microsoft.com/office/drawing/2014/main" id="{7436AD29-7D00-3EBE-BE91-4C5680468FA5}"/>
                </a:ext>
              </a:extLst>
            </p:cNvPr>
            <p:cNvSpPr/>
            <p:nvPr/>
          </p:nvSpPr>
          <p:spPr>
            <a:xfrm>
              <a:off x="26214985" y="30715229"/>
              <a:ext cx="18160" cy="26327"/>
            </a:xfrm>
            <a:custGeom>
              <a:avLst/>
              <a:gdLst/>
              <a:ahLst/>
              <a:cxnLst/>
              <a:rect l="0" t="0" r="0" b="0"/>
              <a:pathLst>
                <a:path w="18160" h="26326">
                  <a:moveTo>
                    <a:pt x="13512" y="698"/>
                  </a:moveTo>
                  <a:cubicBezTo>
                    <a:pt x="13576" y="838"/>
                    <a:pt x="13639" y="990"/>
                    <a:pt x="13690" y="1155"/>
                  </a:cubicBezTo>
                  <a:cubicBezTo>
                    <a:pt x="13944" y="2082"/>
                    <a:pt x="15443" y="9893"/>
                    <a:pt x="18148" y="24574"/>
                  </a:cubicBezTo>
                  <a:cubicBezTo>
                    <a:pt x="18160" y="24688"/>
                    <a:pt x="18160" y="24802"/>
                    <a:pt x="18148" y="24917"/>
                  </a:cubicBezTo>
                  <a:cubicBezTo>
                    <a:pt x="18148" y="25158"/>
                    <a:pt x="18071" y="25412"/>
                    <a:pt x="17944" y="25628"/>
                  </a:cubicBezTo>
                  <a:cubicBezTo>
                    <a:pt x="17741" y="26047"/>
                    <a:pt x="17309" y="26301"/>
                    <a:pt x="16840" y="26301"/>
                  </a:cubicBezTo>
                  <a:lnTo>
                    <a:pt x="16611" y="26301"/>
                  </a:lnTo>
                  <a:cubicBezTo>
                    <a:pt x="16103" y="26237"/>
                    <a:pt x="15697" y="25882"/>
                    <a:pt x="15557" y="25399"/>
                  </a:cubicBezTo>
                  <a:lnTo>
                    <a:pt x="14058" y="17589"/>
                  </a:lnTo>
                  <a:lnTo>
                    <a:pt x="6299" y="17589"/>
                  </a:lnTo>
                  <a:lnTo>
                    <a:pt x="2552" y="25425"/>
                  </a:lnTo>
                  <a:cubicBezTo>
                    <a:pt x="2565" y="25501"/>
                    <a:pt x="2565" y="25590"/>
                    <a:pt x="2552" y="25679"/>
                  </a:cubicBezTo>
                  <a:cubicBezTo>
                    <a:pt x="2285" y="26060"/>
                    <a:pt x="1854" y="26301"/>
                    <a:pt x="1396" y="26326"/>
                  </a:cubicBezTo>
                  <a:cubicBezTo>
                    <a:pt x="1130" y="26326"/>
                    <a:pt x="876" y="26250"/>
                    <a:pt x="660" y="26098"/>
                  </a:cubicBezTo>
                  <a:cubicBezTo>
                    <a:pt x="253" y="25869"/>
                    <a:pt x="12" y="25437"/>
                    <a:pt x="25" y="24967"/>
                  </a:cubicBezTo>
                  <a:cubicBezTo>
                    <a:pt x="0" y="24840"/>
                    <a:pt x="0" y="24701"/>
                    <a:pt x="25" y="24574"/>
                  </a:cubicBezTo>
                  <a:cubicBezTo>
                    <a:pt x="253" y="24028"/>
                    <a:pt x="660" y="23177"/>
                    <a:pt x="1193" y="21983"/>
                  </a:cubicBezTo>
                  <a:cubicBezTo>
                    <a:pt x="6616" y="10121"/>
                    <a:pt x="9880" y="3136"/>
                    <a:pt x="10934" y="977"/>
                  </a:cubicBezTo>
                  <a:cubicBezTo>
                    <a:pt x="11150" y="431"/>
                    <a:pt x="11658" y="63"/>
                    <a:pt x="12242" y="38"/>
                  </a:cubicBezTo>
                  <a:cubicBezTo>
                    <a:pt x="12750" y="0"/>
                    <a:pt x="13245" y="253"/>
                    <a:pt x="13512" y="698"/>
                  </a:cubicBezTo>
                  <a:close/>
                  <a:moveTo>
                    <a:pt x="11810" y="5918"/>
                  </a:moveTo>
                  <a:lnTo>
                    <a:pt x="7696" y="14782"/>
                  </a:lnTo>
                  <a:lnTo>
                    <a:pt x="13626" y="14782"/>
                  </a:ln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6" name="Free Form 3140">
              <a:extLst>
                <a:ext uri="{FF2B5EF4-FFF2-40B4-BE49-F238E27FC236}">
                  <a16:creationId xmlns:a16="http://schemas.microsoft.com/office/drawing/2014/main" id="{E1C65D73-10BC-2165-F301-70C6F091DD9C}"/>
                </a:ext>
              </a:extLst>
            </p:cNvPr>
            <p:cNvSpPr/>
            <p:nvPr/>
          </p:nvSpPr>
          <p:spPr>
            <a:xfrm>
              <a:off x="26236880" y="30715205"/>
              <a:ext cx="14212" cy="26340"/>
            </a:xfrm>
            <a:custGeom>
              <a:avLst/>
              <a:gdLst/>
              <a:ahLst/>
              <a:cxnLst/>
              <a:rect l="0" t="0" r="0" b="0"/>
              <a:pathLst>
                <a:path w="14211" h="26339">
                  <a:moveTo>
                    <a:pt x="12712" y="26326"/>
                  </a:moveTo>
                  <a:lnTo>
                    <a:pt x="1358" y="26326"/>
                  </a:lnTo>
                  <a:cubicBezTo>
                    <a:pt x="1104" y="26326"/>
                    <a:pt x="850" y="26237"/>
                    <a:pt x="647" y="26098"/>
                  </a:cubicBezTo>
                  <a:cubicBezTo>
                    <a:pt x="253" y="25729"/>
                    <a:pt x="12" y="25221"/>
                    <a:pt x="0" y="24675"/>
                  </a:cubicBezTo>
                  <a:cubicBezTo>
                    <a:pt x="0" y="24193"/>
                    <a:pt x="1041" y="16408"/>
                    <a:pt x="3149" y="1346"/>
                  </a:cubicBezTo>
                  <a:cubicBezTo>
                    <a:pt x="3136" y="1168"/>
                    <a:pt x="3136" y="1003"/>
                    <a:pt x="3149" y="838"/>
                  </a:cubicBezTo>
                  <a:cubicBezTo>
                    <a:pt x="3340" y="330"/>
                    <a:pt x="3822" y="0"/>
                    <a:pt x="4368" y="12"/>
                  </a:cubicBezTo>
                  <a:cubicBezTo>
                    <a:pt x="4584" y="12"/>
                    <a:pt x="4787" y="63"/>
                    <a:pt x="4991" y="152"/>
                  </a:cubicBezTo>
                  <a:cubicBezTo>
                    <a:pt x="5460" y="368"/>
                    <a:pt x="5753" y="850"/>
                    <a:pt x="5727" y="1371"/>
                  </a:cubicBezTo>
                  <a:cubicBezTo>
                    <a:pt x="5727" y="2387"/>
                    <a:pt x="5359" y="4521"/>
                    <a:pt x="4927" y="7759"/>
                  </a:cubicBezTo>
                  <a:cubicBezTo>
                    <a:pt x="3632" y="17729"/>
                    <a:pt x="2946" y="22986"/>
                    <a:pt x="2895" y="23520"/>
                  </a:cubicBezTo>
                  <a:lnTo>
                    <a:pt x="12598" y="23520"/>
                  </a:lnTo>
                  <a:cubicBezTo>
                    <a:pt x="12839" y="23520"/>
                    <a:pt x="13080" y="23570"/>
                    <a:pt x="13309" y="23659"/>
                  </a:cubicBezTo>
                  <a:cubicBezTo>
                    <a:pt x="13855" y="23850"/>
                    <a:pt x="14211" y="24358"/>
                    <a:pt x="14185" y="24942"/>
                  </a:cubicBezTo>
                  <a:cubicBezTo>
                    <a:pt x="14211" y="25082"/>
                    <a:pt x="14211" y="25234"/>
                    <a:pt x="14185" y="25387"/>
                  </a:cubicBezTo>
                  <a:cubicBezTo>
                    <a:pt x="13931" y="25971"/>
                    <a:pt x="13347" y="26339"/>
                    <a:pt x="12712" y="2632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7" name="Free Form 3141">
              <a:extLst>
                <a:ext uri="{FF2B5EF4-FFF2-40B4-BE49-F238E27FC236}">
                  <a16:creationId xmlns:a16="http://schemas.microsoft.com/office/drawing/2014/main" id="{EA9BE3FD-180E-EFB4-B997-4A8C299698B8}"/>
                </a:ext>
              </a:extLst>
            </p:cNvPr>
            <p:cNvSpPr/>
            <p:nvPr/>
          </p:nvSpPr>
          <p:spPr>
            <a:xfrm>
              <a:off x="26251725" y="30715229"/>
              <a:ext cx="18161" cy="26327"/>
            </a:xfrm>
            <a:custGeom>
              <a:avLst/>
              <a:gdLst/>
              <a:ahLst/>
              <a:cxnLst/>
              <a:rect l="0" t="0" r="0" b="0"/>
              <a:pathLst>
                <a:path w="18160" h="26326">
                  <a:moveTo>
                    <a:pt x="13538" y="698"/>
                  </a:moveTo>
                  <a:cubicBezTo>
                    <a:pt x="13601" y="838"/>
                    <a:pt x="13665" y="990"/>
                    <a:pt x="13703" y="1155"/>
                  </a:cubicBezTo>
                  <a:cubicBezTo>
                    <a:pt x="13957" y="2095"/>
                    <a:pt x="15430" y="9905"/>
                    <a:pt x="18135" y="24574"/>
                  </a:cubicBezTo>
                  <a:cubicBezTo>
                    <a:pt x="18160" y="24688"/>
                    <a:pt x="18160" y="24802"/>
                    <a:pt x="18135" y="24917"/>
                  </a:cubicBezTo>
                  <a:cubicBezTo>
                    <a:pt x="18135" y="25158"/>
                    <a:pt x="18071" y="25412"/>
                    <a:pt x="17944" y="25628"/>
                  </a:cubicBezTo>
                  <a:cubicBezTo>
                    <a:pt x="17729" y="26047"/>
                    <a:pt x="17284" y="26314"/>
                    <a:pt x="16801" y="26301"/>
                  </a:cubicBezTo>
                  <a:lnTo>
                    <a:pt x="16598" y="26301"/>
                  </a:lnTo>
                  <a:cubicBezTo>
                    <a:pt x="16103" y="26250"/>
                    <a:pt x="15684" y="25882"/>
                    <a:pt x="15557" y="25399"/>
                  </a:cubicBezTo>
                  <a:lnTo>
                    <a:pt x="14046" y="17589"/>
                  </a:lnTo>
                  <a:lnTo>
                    <a:pt x="6273" y="17589"/>
                  </a:lnTo>
                  <a:lnTo>
                    <a:pt x="2552" y="25425"/>
                  </a:lnTo>
                  <a:lnTo>
                    <a:pt x="2552" y="25679"/>
                  </a:lnTo>
                  <a:cubicBezTo>
                    <a:pt x="2273" y="26060"/>
                    <a:pt x="1828" y="26301"/>
                    <a:pt x="1358" y="26326"/>
                  </a:cubicBezTo>
                  <a:cubicBezTo>
                    <a:pt x="1104" y="26326"/>
                    <a:pt x="838" y="26250"/>
                    <a:pt x="622" y="26098"/>
                  </a:cubicBezTo>
                  <a:cubicBezTo>
                    <a:pt x="241" y="25856"/>
                    <a:pt x="12" y="25425"/>
                    <a:pt x="25" y="24967"/>
                  </a:cubicBezTo>
                  <a:cubicBezTo>
                    <a:pt x="0" y="24840"/>
                    <a:pt x="0" y="24701"/>
                    <a:pt x="25" y="24574"/>
                  </a:cubicBezTo>
                  <a:cubicBezTo>
                    <a:pt x="253" y="24028"/>
                    <a:pt x="622" y="23177"/>
                    <a:pt x="1155" y="21983"/>
                  </a:cubicBezTo>
                  <a:cubicBezTo>
                    <a:pt x="6616" y="10121"/>
                    <a:pt x="9855" y="3136"/>
                    <a:pt x="10921" y="977"/>
                  </a:cubicBezTo>
                  <a:cubicBezTo>
                    <a:pt x="11137" y="431"/>
                    <a:pt x="11645" y="63"/>
                    <a:pt x="12229" y="38"/>
                  </a:cubicBezTo>
                  <a:cubicBezTo>
                    <a:pt x="12763" y="0"/>
                    <a:pt x="13258" y="241"/>
                    <a:pt x="13538" y="698"/>
                  </a:cubicBezTo>
                  <a:close/>
                  <a:moveTo>
                    <a:pt x="11836" y="5918"/>
                  </a:moveTo>
                  <a:lnTo>
                    <a:pt x="7632" y="14782"/>
                  </a:lnTo>
                  <a:lnTo>
                    <a:pt x="13538" y="14782"/>
                  </a:ln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8" name="Free Form 3142">
              <a:extLst>
                <a:ext uri="{FF2B5EF4-FFF2-40B4-BE49-F238E27FC236}">
                  <a16:creationId xmlns:a16="http://schemas.microsoft.com/office/drawing/2014/main" id="{2AD1A47A-D309-44C2-25F0-B47143C4B588}"/>
                </a:ext>
              </a:extLst>
            </p:cNvPr>
            <p:cNvSpPr/>
            <p:nvPr/>
          </p:nvSpPr>
          <p:spPr>
            <a:xfrm>
              <a:off x="26272374" y="30715182"/>
              <a:ext cx="19901" cy="26340"/>
            </a:xfrm>
            <a:custGeom>
              <a:avLst/>
              <a:gdLst/>
              <a:ahLst/>
              <a:cxnLst/>
              <a:rect l="0" t="0" r="0" b="0"/>
              <a:pathLst>
                <a:path w="19900" h="26339">
                  <a:moveTo>
                    <a:pt x="10947" y="14198"/>
                  </a:moveTo>
                  <a:cubicBezTo>
                    <a:pt x="11823" y="16636"/>
                    <a:pt x="12534" y="18541"/>
                    <a:pt x="13017" y="19875"/>
                  </a:cubicBezTo>
                  <a:cubicBezTo>
                    <a:pt x="14185" y="23113"/>
                    <a:pt x="14782" y="24815"/>
                    <a:pt x="14782" y="25018"/>
                  </a:cubicBezTo>
                  <a:cubicBezTo>
                    <a:pt x="14769" y="25260"/>
                    <a:pt x="14693" y="25501"/>
                    <a:pt x="14554" y="25691"/>
                  </a:cubicBezTo>
                  <a:cubicBezTo>
                    <a:pt x="14325" y="26098"/>
                    <a:pt x="13880" y="26339"/>
                    <a:pt x="13423" y="26326"/>
                  </a:cubicBezTo>
                  <a:cubicBezTo>
                    <a:pt x="12877" y="26288"/>
                    <a:pt x="12420" y="25933"/>
                    <a:pt x="12280" y="25412"/>
                  </a:cubicBezTo>
                  <a:lnTo>
                    <a:pt x="12077" y="24815"/>
                  </a:lnTo>
                  <a:cubicBezTo>
                    <a:pt x="11455" y="23431"/>
                    <a:pt x="10439" y="20726"/>
                    <a:pt x="9016" y="16814"/>
                  </a:cubicBezTo>
                  <a:lnTo>
                    <a:pt x="2578" y="25615"/>
                  </a:lnTo>
                  <a:cubicBezTo>
                    <a:pt x="2311" y="26034"/>
                    <a:pt x="1866" y="26288"/>
                    <a:pt x="1384" y="26326"/>
                  </a:cubicBezTo>
                  <a:cubicBezTo>
                    <a:pt x="1130" y="26326"/>
                    <a:pt x="888" y="26250"/>
                    <a:pt x="673" y="26123"/>
                  </a:cubicBezTo>
                  <a:cubicBezTo>
                    <a:pt x="253" y="25895"/>
                    <a:pt x="0" y="25463"/>
                    <a:pt x="12" y="24980"/>
                  </a:cubicBezTo>
                  <a:cubicBezTo>
                    <a:pt x="0" y="24891"/>
                    <a:pt x="0" y="24802"/>
                    <a:pt x="12" y="24701"/>
                  </a:cubicBezTo>
                  <a:cubicBezTo>
                    <a:pt x="165" y="24294"/>
                    <a:pt x="393" y="23913"/>
                    <a:pt x="698" y="23596"/>
                  </a:cubicBezTo>
                  <a:cubicBezTo>
                    <a:pt x="2857" y="20815"/>
                    <a:pt x="5245" y="17487"/>
                    <a:pt x="7848" y="13626"/>
                  </a:cubicBezTo>
                  <a:lnTo>
                    <a:pt x="7061" y="11467"/>
                  </a:lnTo>
                  <a:cubicBezTo>
                    <a:pt x="4648" y="4965"/>
                    <a:pt x="3416" y="1625"/>
                    <a:pt x="3416" y="1396"/>
                  </a:cubicBezTo>
                  <a:cubicBezTo>
                    <a:pt x="3428" y="1155"/>
                    <a:pt x="3479" y="927"/>
                    <a:pt x="3594" y="711"/>
                  </a:cubicBezTo>
                  <a:cubicBezTo>
                    <a:pt x="3797" y="292"/>
                    <a:pt x="4229" y="25"/>
                    <a:pt x="4698" y="38"/>
                  </a:cubicBezTo>
                  <a:cubicBezTo>
                    <a:pt x="5245" y="0"/>
                    <a:pt x="5753" y="304"/>
                    <a:pt x="5981" y="800"/>
                  </a:cubicBezTo>
                  <a:lnTo>
                    <a:pt x="9778" y="11048"/>
                  </a:lnTo>
                  <a:lnTo>
                    <a:pt x="17398" y="685"/>
                  </a:lnTo>
                  <a:cubicBezTo>
                    <a:pt x="17665" y="292"/>
                    <a:pt x="18110" y="63"/>
                    <a:pt x="18579" y="63"/>
                  </a:cubicBezTo>
                  <a:cubicBezTo>
                    <a:pt x="18795" y="50"/>
                    <a:pt x="19011" y="101"/>
                    <a:pt x="19214" y="203"/>
                  </a:cubicBezTo>
                  <a:cubicBezTo>
                    <a:pt x="19646" y="444"/>
                    <a:pt x="19900" y="927"/>
                    <a:pt x="19862" y="1422"/>
                  </a:cubicBezTo>
                  <a:cubicBezTo>
                    <a:pt x="19900" y="1625"/>
                    <a:pt x="19900" y="1841"/>
                    <a:pt x="19862" y="204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9" name="Free Form 3143">
              <a:extLst>
                <a:ext uri="{FF2B5EF4-FFF2-40B4-BE49-F238E27FC236}">
                  <a16:creationId xmlns:a16="http://schemas.microsoft.com/office/drawing/2014/main" id="{1DDA86B9-4AD8-AB5C-0552-F350696725C1}"/>
                </a:ext>
              </a:extLst>
            </p:cNvPr>
            <p:cNvSpPr/>
            <p:nvPr/>
          </p:nvSpPr>
          <p:spPr>
            <a:xfrm>
              <a:off x="26291970" y="30715302"/>
              <a:ext cx="20904" cy="35280"/>
            </a:xfrm>
            <a:custGeom>
              <a:avLst/>
              <a:gdLst/>
              <a:ahLst/>
              <a:cxnLst/>
              <a:rect l="0" t="0" r="0" b="0"/>
              <a:pathLst>
                <a:path w="20903" h="35280">
                  <a:moveTo>
                    <a:pt x="19545" y="25"/>
                  </a:moveTo>
                  <a:cubicBezTo>
                    <a:pt x="19773" y="25"/>
                    <a:pt x="19989" y="76"/>
                    <a:pt x="20192" y="165"/>
                  </a:cubicBezTo>
                  <a:cubicBezTo>
                    <a:pt x="20637" y="406"/>
                    <a:pt x="20903" y="863"/>
                    <a:pt x="20903" y="1358"/>
                  </a:cubicBezTo>
                  <a:cubicBezTo>
                    <a:pt x="19062" y="16090"/>
                    <a:pt x="18071" y="24066"/>
                    <a:pt x="17843" y="25234"/>
                  </a:cubicBezTo>
                  <a:cubicBezTo>
                    <a:pt x="17500" y="27469"/>
                    <a:pt x="16662" y="29590"/>
                    <a:pt x="15404" y="31457"/>
                  </a:cubicBezTo>
                  <a:cubicBezTo>
                    <a:pt x="13652" y="33883"/>
                    <a:pt x="10807" y="35280"/>
                    <a:pt x="7823" y="35178"/>
                  </a:cubicBezTo>
                  <a:cubicBezTo>
                    <a:pt x="6553" y="35115"/>
                    <a:pt x="5308" y="34784"/>
                    <a:pt x="4190" y="34213"/>
                  </a:cubicBezTo>
                  <a:cubicBezTo>
                    <a:pt x="2489" y="33514"/>
                    <a:pt x="1066" y="32283"/>
                    <a:pt x="152" y="30682"/>
                  </a:cubicBezTo>
                  <a:cubicBezTo>
                    <a:pt x="50" y="30479"/>
                    <a:pt x="0" y="30238"/>
                    <a:pt x="12" y="30009"/>
                  </a:cubicBezTo>
                  <a:cubicBezTo>
                    <a:pt x="12" y="29768"/>
                    <a:pt x="76" y="29539"/>
                    <a:pt x="177" y="29323"/>
                  </a:cubicBezTo>
                  <a:cubicBezTo>
                    <a:pt x="419" y="28904"/>
                    <a:pt x="863" y="28638"/>
                    <a:pt x="1346" y="28638"/>
                  </a:cubicBezTo>
                  <a:cubicBezTo>
                    <a:pt x="1765" y="28663"/>
                    <a:pt x="2146" y="28866"/>
                    <a:pt x="2400" y="29209"/>
                  </a:cubicBezTo>
                  <a:cubicBezTo>
                    <a:pt x="3644" y="31165"/>
                    <a:pt x="5753" y="32397"/>
                    <a:pt x="8077" y="32537"/>
                  </a:cubicBezTo>
                  <a:cubicBezTo>
                    <a:pt x="9867" y="32524"/>
                    <a:pt x="11544" y="31673"/>
                    <a:pt x="12610" y="30238"/>
                  </a:cubicBezTo>
                  <a:cubicBezTo>
                    <a:pt x="14185" y="28168"/>
                    <a:pt x="15049" y="25666"/>
                    <a:pt x="15112" y="23075"/>
                  </a:cubicBezTo>
                  <a:cubicBezTo>
                    <a:pt x="14668" y="23774"/>
                    <a:pt x="14109" y="24383"/>
                    <a:pt x="13436" y="24866"/>
                  </a:cubicBezTo>
                  <a:cubicBezTo>
                    <a:pt x="12255" y="25742"/>
                    <a:pt x="10820" y="26212"/>
                    <a:pt x="9347" y="26199"/>
                  </a:cubicBezTo>
                  <a:lnTo>
                    <a:pt x="8585" y="26199"/>
                  </a:lnTo>
                  <a:cubicBezTo>
                    <a:pt x="6832" y="25793"/>
                    <a:pt x="5346" y="24625"/>
                    <a:pt x="4521" y="23024"/>
                  </a:cubicBezTo>
                  <a:cubicBezTo>
                    <a:pt x="3187" y="20713"/>
                    <a:pt x="2527" y="18084"/>
                    <a:pt x="2616" y="15417"/>
                  </a:cubicBezTo>
                  <a:cubicBezTo>
                    <a:pt x="2616" y="14020"/>
                    <a:pt x="2616" y="12572"/>
                    <a:pt x="2819" y="11150"/>
                  </a:cubicBezTo>
                  <a:cubicBezTo>
                    <a:pt x="3022" y="8826"/>
                    <a:pt x="3530" y="5473"/>
                    <a:pt x="4356" y="1333"/>
                  </a:cubicBezTo>
                  <a:cubicBezTo>
                    <a:pt x="4343" y="1193"/>
                    <a:pt x="4343" y="1066"/>
                    <a:pt x="4356" y="939"/>
                  </a:cubicBezTo>
                  <a:cubicBezTo>
                    <a:pt x="4508" y="380"/>
                    <a:pt x="5003" y="0"/>
                    <a:pt x="5575" y="0"/>
                  </a:cubicBezTo>
                  <a:cubicBezTo>
                    <a:pt x="5816" y="0"/>
                    <a:pt x="6057" y="63"/>
                    <a:pt x="6261" y="190"/>
                  </a:cubicBezTo>
                  <a:cubicBezTo>
                    <a:pt x="6667" y="406"/>
                    <a:pt x="6921" y="825"/>
                    <a:pt x="6908" y="1269"/>
                  </a:cubicBezTo>
                  <a:cubicBezTo>
                    <a:pt x="6794" y="3009"/>
                    <a:pt x="6591" y="4749"/>
                    <a:pt x="6286" y="6464"/>
                  </a:cubicBezTo>
                  <a:cubicBezTo>
                    <a:pt x="5841" y="9105"/>
                    <a:pt x="5549" y="11760"/>
                    <a:pt x="5410" y="14414"/>
                  </a:cubicBezTo>
                  <a:cubicBezTo>
                    <a:pt x="5333" y="16522"/>
                    <a:pt x="5676" y="18618"/>
                    <a:pt x="6426" y="20586"/>
                  </a:cubicBezTo>
                  <a:cubicBezTo>
                    <a:pt x="7200" y="22453"/>
                    <a:pt x="8331" y="23418"/>
                    <a:pt x="9778" y="23418"/>
                  </a:cubicBezTo>
                  <a:cubicBezTo>
                    <a:pt x="9931" y="23443"/>
                    <a:pt x="10096" y="23443"/>
                    <a:pt x="10261" y="23418"/>
                  </a:cubicBezTo>
                  <a:cubicBezTo>
                    <a:pt x="11721" y="22948"/>
                    <a:pt x="12941" y="21932"/>
                    <a:pt x="13665" y="20586"/>
                  </a:cubicBezTo>
                  <a:cubicBezTo>
                    <a:pt x="15036" y="18706"/>
                    <a:pt x="16001" y="16573"/>
                    <a:pt x="16509" y="14312"/>
                  </a:cubicBezTo>
                  <a:lnTo>
                    <a:pt x="18237" y="1333"/>
                  </a:lnTo>
                  <a:cubicBezTo>
                    <a:pt x="18249" y="1117"/>
                    <a:pt x="18313" y="914"/>
                    <a:pt x="18402" y="736"/>
                  </a:cubicBezTo>
                  <a:cubicBezTo>
                    <a:pt x="18618" y="292"/>
                    <a:pt x="19062" y="12"/>
                    <a:pt x="19545" y="2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0" name="Free Form 3144">
              <a:extLst>
                <a:ext uri="{FF2B5EF4-FFF2-40B4-BE49-F238E27FC236}">
                  <a16:creationId xmlns:a16="http://schemas.microsoft.com/office/drawing/2014/main" id="{1BA353F2-DC2A-86FF-9143-41E132A47176}"/>
                </a:ext>
              </a:extLst>
            </p:cNvPr>
            <p:cNvSpPr/>
            <p:nvPr/>
          </p:nvSpPr>
          <p:spPr>
            <a:xfrm>
              <a:off x="26480835" y="30693444"/>
              <a:ext cx="1422" cy="69493"/>
            </a:xfrm>
            <a:custGeom>
              <a:avLst/>
              <a:gdLst/>
              <a:ahLst/>
              <a:cxnLst/>
              <a:rect l="0" t="0" r="0" b="0"/>
              <a:pathLst>
                <a:path w="1422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422" y="15557"/>
                    <a:pt x="1422" y="34746"/>
                  </a:cubicBezTo>
                  <a:cubicBezTo>
                    <a:pt x="1422" y="53936"/>
                    <a:pt x="1104" y="69493"/>
                    <a:pt x="711" y="69493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1" name="Free Form 3145">
              <a:extLst>
                <a:ext uri="{FF2B5EF4-FFF2-40B4-BE49-F238E27FC236}">
                  <a16:creationId xmlns:a16="http://schemas.microsoft.com/office/drawing/2014/main" id="{7C7921ED-9F41-2838-E304-08A81BA0855F}"/>
                </a:ext>
              </a:extLst>
            </p:cNvPr>
            <p:cNvSpPr/>
            <p:nvPr/>
          </p:nvSpPr>
          <p:spPr>
            <a:xfrm>
              <a:off x="26171433" y="30693444"/>
              <a:ext cx="1422" cy="69493"/>
            </a:xfrm>
            <a:custGeom>
              <a:avLst/>
              <a:gdLst/>
              <a:ahLst/>
              <a:cxnLst/>
              <a:rect l="0" t="0" r="0" b="0"/>
              <a:pathLst>
                <a:path w="1422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422" y="15557"/>
                    <a:pt x="1422" y="34746"/>
                  </a:cubicBezTo>
                  <a:cubicBezTo>
                    <a:pt x="1422" y="53936"/>
                    <a:pt x="1104" y="69493"/>
                    <a:pt x="711" y="6949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2" name="Free Form 3146">
              <a:extLst>
                <a:ext uri="{FF2B5EF4-FFF2-40B4-BE49-F238E27FC236}">
                  <a16:creationId xmlns:a16="http://schemas.microsoft.com/office/drawing/2014/main" id="{12A3E957-CB13-76E8-9843-181D7402B365}"/>
                </a:ext>
              </a:extLst>
            </p:cNvPr>
            <p:cNvSpPr/>
            <p:nvPr/>
          </p:nvSpPr>
          <p:spPr>
            <a:xfrm>
              <a:off x="26487475" y="30693444"/>
              <a:ext cx="1397" cy="69493"/>
            </a:xfrm>
            <a:custGeom>
              <a:avLst/>
              <a:gdLst/>
              <a:ahLst/>
              <a:cxnLst/>
              <a:rect l="0" t="0" r="0" b="0"/>
              <a:pathLst>
                <a:path w="1396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396" y="15557"/>
                    <a:pt x="1396" y="34746"/>
                  </a:cubicBezTo>
                  <a:cubicBezTo>
                    <a:pt x="1396" y="53936"/>
                    <a:pt x="1079" y="69493"/>
                    <a:pt x="711" y="69493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3" name="Free Form 3147">
              <a:extLst>
                <a:ext uri="{FF2B5EF4-FFF2-40B4-BE49-F238E27FC236}">
                  <a16:creationId xmlns:a16="http://schemas.microsoft.com/office/drawing/2014/main" id="{2D673382-5ABD-13BC-0A97-0D043611E1F6}"/>
                </a:ext>
              </a:extLst>
            </p:cNvPr>
            <p:cNvSpPr/>
            <p:nvPr/>
          </p:nvSpPr>
          <p:spPr>
            <a:xfrm>
              <a:off x="26165186" y="30693444"/>
              <a:ext cx="1397" cy="69493"/>
            </a:xfrm>
            <a:custGeom>
              <a:avLst/>
              <a:gdLst/>
              <a:ahLst/>
              <a:cxnLst/>
              <a:rect l="0" t="0" r="0" b="0"/>
              <a:pathLst>
                <a:path w="1396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396" y="15557"/>
                    <a:pt x="1396" y="34746"/>
                  </a:cubicBezTo>
                  <a:cubicBezTo>
                    <a:pt x="1396" y="53936"/>
                    <a:pt x="1142" y="69493"/>
                    <a:pt x="711" y="6949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4" name="Free Form 3148">
              <a:extLst>
                <a:ext uri="{FF2B5EF4-FFF2-40B4-BE49-F238E27FC236}">
                  <a16:creationId xmlns:a16="http://schemas.microsoft.com/office/drawing/2014/main" id="{B88896A2-7A95-E237-3877-7096E31702F0}"/>
                </a:ext>
              </a:extLst>
            </p:cNvPr>
            <p:cNvSpPr/>
            <p:nvPr/>
          </p:nvSpPr>
          <p:spPr>
            <a:xfrm>
              <a:off x="26348394" y="30704880"/>
              <a:ext cx="81787" cy="42786"/>
            </a:xfrm>
            <a:custGeom>
              <a:avLst/>
              <a:gdLst/>
              <a:ahLst/>
              <a:cxnLst/>
              <a:rect l="0" t="0" r="0" b="0"/>
              <a:pathLst>
                <a:path w="81787" h="42785">
                  <a:moveTo>
                    <a:pt x="41477" y="0"/>
                  </a:moveTo>
                  <a:lnTo>
                    <a:pt x="41477" y="0"/>
                  </a:lnTo>
                  <a:lnTo>
                    <a:pt x="81418" y="32257"/>
                  </a:lnTo>
                  <a:lnTo>
                    <a:pt x="81787" y="32537"/>
                  </a:lnTo>
                  <a:lnTo>
                    <a:pt x="81342" y="32537"/>
                  </a:lnTo>
                  <a:lnTo>
                    <a:pt x="76034" y="33921"/>
                  </a:lnTo>
                  <a:lnTo>
                    <a:pt x="42303" y="42785"/>
                  </a:lnTo>
                  <a:lnTo>
                    <a:pt x="11721" y="29806"/>
                  </a:lnTo>
                  <a:lnTo>
                    <a:pt x="3060" y="26085"/>
                  </a:lnTo>
                  <a:lnTo>
                    <a:pt x="761" y="25094"/>
                  </a:lnTo>
                  <a:lnTo>
                    <a:pt x="203" y="24840"/>
                  </a:lnTo>
                  <a:lnTo>
                    <a:pt x="0" y="24840"/>
                  </a:lnTo>
                  <a:lnTo>
                    <a:pt x="203" y="24840"/>
                  </a:lnTo>
                  <a:lnTo>
                    <a:pt x="800" y="25069"/>
                  </a:lnTo>
                  <a:lnTo>
                    <a:pt x="3124" y="26009"/>
                  </a:lnTo>
                  <a:lnTo>
                    <a:pt x="11810" y="29616"/>
                  </a:lnTo>
                  <a:lnTo>
                    <a:pt x="42468" y="42417"/>
                  </a:lnTo>
                  <a:lnTo>
                    <a:pt x="75856" y="33438"/>
                  </a:lnTo>
                  <a:lnTo>
                    <a:pt x="81164" y="32029"/>
                  </a:lnTo>
                  <a:lnTo>
                    <a:pt x="81164" y="32422"/>
                  </a:lnTo>
                  <a:lnTo>
                    <a:pt x="41274" y="88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5" name="Free Form 3149">
              <a:extLst>
                <a:ext uri="{FF2B5EF4-FFF2-40B4-BE49-F238E27FC236}">
                  <a16:creationId xmlns:a16="http://schemas.microsoft.com/office/drawing/2014/main" id="{71EFC107-59D0-E1C5-7605-773A7A02A8D2}"/>
                </a:ext>
              </a:extLst>
            </p:cNvPr>
            <p:cNvSpPr/>
            <p:nvPr/>
          </p:nvSpPr>
          <p:spPr>
            <a:xfrm>
              <a:off x="26423233" y="30731993"/>
              <a:ext cx="8255" cy="8572"/>
            </a:xfrm>
            <a:custGeom>
              <a:avLst/>
              <a:gdLst/>
              <a:ahLst/>
              <a:cxnLst/>
              <a:rect l="0" t="0" r="0" b="0"/>
              <a:pathLst>
                <a:path w="8254" h="8572">
                  <a:moveTo>
                    <a:pt x="2920" y="0"/>
                  </a:moveTo>
                  <a:lnTo>
                    <a:pt x="5105" y="2044"/>
                  </a:lnTo>
                  <a:lnTo>
                    <a:pt x="8026" y="1422"/>
                  </a:lnTo>
                  <a:lnTo>
                    <a:pt x="6756" y="4114"/>
                  </a:lnTo>
                  <a:lnTo>
                    <a:pt x="8254" y="6705"/>
                  </a:lnTo>
                  <a:lnTo>
                    <a:pt x="5283" y="6337"/>
                  </a:lnTo>
                  <a:lnTo>
                    <a:pt x="3289" y="8572"/>
                  </a:lnTo>
                  <a:lnTo>
                    <a:pt x="2717" y="5626"/>
                  </a:lnTo>
                  <a:lnTo>
                    <a:pt x="0" y="4406"/>
                  </a:lnTo>
                  <a:lnTo>
                    <a:pt x="2603" y="2984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6" name="Free Form 3150">
              <a:extLst>
                <a:ext uri="{FF2B5EF4-FFF2-40B4-BE49-F238E27FC236}">
                  <a16:creationId xmlns:a16="http://schemas.microsoft.com/office/drawing/2014/main" id="{0244F2C1-53F6-6511-E5D9-B29B2820718D}"/>
                </a:ext>
              </a:extLst>
            </p:cNvPr>
            <p:cNvSpPr/>
            <p:nvPr/>
          </p:nvSpPr>
          <p:spPr>
            <a:xfrm>
              <a:off x="26386101" y="30744712"/>
              <a:ext cx="5423" cy="5512"/>
            </a:xfrm>
            <a:custGeom>
              <a:avLst/>
              <a:gdLst/>
              <a:ahLst/>
              <a:cxnLst/>
              <a:rect l="0" t="0" r="0" b="0"/>
              <a:pathLst>
                <a:path w="5422" h="5511">
                  <a:moveTo>
                    <a:pt x="1727" y="0"/>
                  </a:moveTo>
                  <a:lnTo>
                    <a:pt x="3200" y="1219"/>
                  </a:lnTo>
                  <a:lnTo>
                    <a:pt x="5079" y="711"/>
                  </a:lnTo>
                  <a:lnTo>
                    <a:pt x="4368" y="2501"/>
                  </a:lnTo>
                  <a:lnTo>
                    <a:pt x="5422" y="4114"/>
                  </a:lnTo>
                  <a:lnTo>
                    <a:pt x="3479" y="3975"/>
                  </a:lnTo>
                  <a:lnTo>
                    <a:pt x="2298" y="5511"/>
                  </a:lnTo>
                  <a:lnTo>
                    <a:pt x="1816" y="3632"/>
                  </a:lnTo>
                  <a:lnTo>
                    <a:pt x="0" y="2959"/>
                  </a:lnTo>
                  <a:lnTo>
                    <a:pt x="1638" y="1930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7" name="Free Form 3151">
              <a:extLst>
                <a:ext uri="{FF2B5EF4-FFF2-40B4-BE49-F238E27FC236}">
                  <a16:creationId xmlns:a16="http://schemas.microsoft.com/office/drawing/2014/main" id="{97E8BF80-21A5-86F0-1B82-602EDFEB0908}"/>
                </a:ext>
              </a:extLst>
            </p:cNvPr>
            <p:cNvSpPr/>
            <p:nvPr/>
          </p:nvSpPr>
          <p:spPr>
            <a:xfrm>
              <a:off x="26345468" y="30725610"/>
              <a:ext cx="6668" cy="6756"/>
            </a:xfrm>
            <a:custGeom>
              <a:avLst/>
              <a:gdLst/>
              <a:ahLst/>
              <a:cxnLst/>
              <a:rect l="0" t="0" r="0" b="0"/>
              <a:pathLst>
                <a:path w="6667" h="6756">
                  <a:moveTo>
                    <a:pt x="0" y="1727"/>
                  </a:moveTo>
                  <a:lnTo>
                    <a:pt x="2387" y="1866"/>
                  </a:lnTo>
                  <a:lnTo>
                    <a:pt x="3860" y="0"/>
                  </a:lnTo>
                  <a:lnTo>
                    <a:pt x="4457" y="2298"/>
                  </a:lnTo>
                  <a:lnTo>
                    <a:pt x="6667" y="3111"/>
                  </a:lnTo>
                  <a:lnTo>
                    <a:pt x="4660" y="4394"/>
                  </a:lnTo>
                  <a:lnTo>
                    <a:pt x="4571" y="6756"/>
                  </a:lnTo>
                  <a:lnTo>
                    <a:pt x="2755" y="5245"/>
                  </a:lnTo>
                  <a:lnTo>
                    <a:pt x="457" y="5905"/>
                  </a:lnTo>
                  <a:lnTo>
                    <a:pt x="1333" y="368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8" name="Free Form 3152">
              <a:extLst>
                <a:ext uri="{FF2B5EF4-FFF2-40B4-BE49-F238E27FC236}">
                  <a16:creationId xmlns:a16="http://schemas.microsoft.com/office/drawing/2014/main" id="{DA1C59C4-C3C4-854D-21C0-C2459AD237F0}"/>
                </a:ext>
              </a:extLst>
            </p:cNvPr>
            <p:cNvSpPr/>
            <p:nvPr/>
          </p:nvSpPr>
          <p:spPr>
            <a:xfrm>
              <a:off x="26444070" y="30703689"/>
              <a:ext cx="6667" cy="6756"/>
            </a:xfrm>
            <a:custGeom>
              <a:avLst/>
              <a:gdLst/>
              <a:ahLst/>
              <a:cxnLst/>
              <a:rect l="0" t="0" r="0" b="0"/>
              <a:pathLst>
                <a:path w="6667" h="6756">
                  <a:moveTo>
                    <a:pt x="0" y="1701"/>
                  </a:moveTo>
                  <a:lnTo>
                    <a:pt x="2387" y="1866"/>
                  </a:lnTo>
                  <a:lnTo>
                    <a:pt x="3835" y="0"/>
                  </a:lnTo>
                  <a:lnTo>
                    <a:pt x="4432" y="2298"/>
                  </a:lnTo>
                  <a:lnTo>
                    <a:pt x="6667" y="3124"/>
                  </a:lnTo>
                  <a:lnTo>
                    <a:pt x="4660" y="4368"/>
                  </a:lnTo>
                  <a:lnTo>
                    <a:pt x="4571" y="6756"/>
                  </a:lnTo>
                  <a:lnTo>
                    <a:pt x="2755" y="5257"/>
                  </a:lnTo>
                  <a:lnTo>
                    <a:pt x="457" y="5905"/>
                  </a:lnTo>
                  <a:lnTo>
                    <a:pt x="1333" y="368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9" name="Free Form 3153">
              <a:extLst>
                <a:ext uri="{FF2B5EF4-FFF2-40B4-BE49-F238E27FC236}">
                  <a16:creationId xmlns:a16="http://schemas.microsoft.com/office/drawing/2014/main" id="{B43351DA-8C42-FB8C-A915-36CF57839AB4}"/>
                </a:ext>
              </a:extLst>
            </p:cNvPr>
            <p:cNvSpPr/>
            <p:nvPr/>
          </p:nvSpPr>
          <p:spPr>
            <a:xfrm>
              <a:off x="26387940" y="30702752"/>
              <a:ext cx="4229" cy="4318"/>
            </a:xfrm>
            <a:custGeom>
              <a:avLst/>
              <a:gdLst/>
              <a:ahLst/>
              <a:cxnLst/>
              <a:rect l="0" t="0" r="0" b="0"/>
              <a:pathLst>
                <a:path w="4229" h="4317">
                  <a:moveTo>
                    <a:pt x="0" y="1104"/>
                  </a:moveTo>
                  <a:lnTo>
                    <a:pt x="1511" y="1193"/>
                  </a:lnTo>
                  <a:lnTo>
                    <a:pt x="2438" y="0"/>
                  </a:lnTo>
                  <a:lnTo>
                    <a:pt x="2806" y="1473"/>
                  </a:lnTo>
                  <a:lnTo>
                    <a:pt x="4229" y="1981"/>
                  </a:lnTo>
                  <a:lnTo>
                    <a:pt x="2959" y="2781"/>
                  </a:lnTo>
                  <a:lnTo>
                    <a:pt x="2895" y="4317"/>
                  </a:lnTo>
                  <a:lnTo>
                    <a:pt x="1727" y="3352"/>
                  </a:lnTo>
                  <a:lnTo>
                    <a:pt x="279" y="3771"/>
                  </a:lnTo>
                  <a:lnTo>
                    <a:pt x="825" y="2349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0" name="Free Form 3154">
              <a:extLst>
                <a:ext uri="{FF2B5EF4-FFF2-40B4-BE49-F238E27FC236}">
                  <a16:creationId xmlns:a16="http://schemas.microsoft.com/office/drawing/2014/main" id="{6A13FF8F-79D5-76F6-4A9C-A387F08A3AF6}"/>
                </a:ext>
              </a:extLst>
            </p:cNvPr>
            <p:cNvSpPr/>
            <p:nvPr/>
          </p:nvSpPr>
          <p:spPr>
            <a:xfrm>
              <a:off x="26389669" y="30704477"/>
              <a:ext cx="57746" cy="2756"/>
            </a:xfrm>
            <a:custGeom>
              <a:avLst/>
              <a:gdLst/>
              <a:ahLst/>
              <a:cxnLst/>
              <a:rect l="0" t="0" r="0" b="0"/>
              <a:pathLst>
                <a:path w="57746" h="2755">
                  <a:moveTo>
                    <a:pt x="57720" y="2616"/>
                  </a:moveTo>
                  <a:cubicBezTo>
                    <a:pt x="57720" y="2755"/>
                    <a:pt x="44805" y="2336"/>
                    <a:pt x="28879" y="1650"/>
                  </a:cubicBezTo>
                  <a:cubicBezTo>
                    <a:pt x="12953" y="965"/>
                    <a:pt x="0" y="292"/>
                    <a:pt x="0" y="152"/>
                  </a:cubicBezTo>
                  <a:cubicBezTo>
                    <a:pt x="0" y="0"/>
                    <a:pt x="12953" y="431"/>
                    <a:pt x="28879" y="1117"/>
                  </a:cubicBezTo>
                  <a:cubicBezTo>
                    <a:pt x="44805" y="1790"/>
                    <a:pt x="57746" y="2412"/>
                    <a:pt x="57720" y="2616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1" name="Free Form 3155">
              <a:extLst>
                <a:ext uri="{FF2B5EF4-FFF2-40B4-BE49-F238E27FC236}">
                  <a16:creationId xmlns:a16="http://schemas.microsoft.com/office/drawing/2014/main" id="{B5E25119-4195-C99D-6EB1-32FE44157E0C}"/>
                </a:ext>
              </a:extLst>
            </p:cNvPr>
            <p:cNvSpPr/>
            <p:nvPr/>
          </p:nvSpPr>
          <p:spPr>
            <a:xfrm>
              <a:off x="26072205" y="30661808"/>
              <a:ext cx="394560" cy="31915"/>
            </a:xfrm>
            <a:custGeom>
              <a:avLst/>
              <a:gdLst/>
              <a:ahLst/>
              <a:cxnLst/>
              <a:rect l="0" t="0" r="0" b="0"/>
              <a:pathLst>
                <a:path w="394559" h="31914">
                  <a:moveTo>
                    <a:pt x="389720" y="31914"/>
                  </a:moveTo>
                  <a:lnTo>
                    <a:pt x="6248" y="31914"/>
                  </a:lnTo>
                  <a:cubicBezTo>
                    <a:pt x="1219" y="20561"/>
                    <a:pt x="0" y="9715"/>
                    <a:pt x="6248" y="0"/>
                  </a:cubicBezTo>
                  <a:lnTo>
                    <a:pt x="389720" y="0"/>
                  </a:lnTo>
                  <a:cubicBezTo>
                    <a:pt x="394559" y="10083"/>
                    <a:pt x="394559" y="21831"/>
                    <a:pt x="389720" y="31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2" name="Rectangle 3156">
              <a:extLst>
                <a:ext uri="{FF2B5EF4-FFF2-40B4-BE49-F238E27FC236}">
                  <a16:creationId xmlns:a16="http://schemas.microsoft.com/office/drawing/2014/main" id="{A5BD57E7-903A-DA2C-4851-D20FD280E680}"/>
                </a:ext>
              </a:extLst>
            </p:cNvPr>
            <p:cNvSpPr/>
            <p:nvPr/>
          </p:nvSpPr>
          <p:spPr>
            <a:xfrm>
              <a:off x="26157867" y="30482691"/>
              <a:ext cx="207757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3" name="Free Form 3157">
              <a:extLst>
                <a:ext uri="{FF2B5EF4-FFF2-40B4-BE49-F238E27FC236}">
                  <a16:creationId xmlns:a16="http://schemas.microsoft.com/office/drawing/2014/main" id="{0D61860E-B26E-3715-B788-5005EBBF39B4}"/>
                </a:ext>
              </a:extLst>
            </p:cNvPr>
            <p:cNvSpPr/>
            <p:nvPr/>
          </p:nvSpPr>
          <p:spPr>
            <a:xfrm>
              <a:off x="26086291" y="30662603"/>
              <a:ext cx="6870" cy="31318"/>
            </a:xfrm>
            <a:custGeom>
              <a:avLst/>
              <a:gdLst/>
              <a:ahLst/>
              <a:cxnLst/>
              <a:rect l="0" t="0" r="0" b="0"/>
              <a:pathLst>
                <a:path w="6870" h="31317">
                  <a:moveTo>
                    <a:pt x="6870" y="31317"/>
                  </a:moveTo>
                  <a:cubicBezTo>
                    <a:pt x="5600" y="30263"/>
                    <a:pt x="4571" y="28942"/>
                    <a:pt x="3860" y="27457"/>
                  </a:cubicBezTo>
                  <a:cubicBezTo>
                    <a:pt x="1879" y="23964"/>
                    <a:pt x="685" y="20091"/>
                    <a:pt x="342" y="16103"/>
                  </a:cubicBezTo>
                  <a:cubicBezTo>
                    <a:pt x="0" y="12115"/>
                    <a:pt x="495" y="8102"/>
                    <a:pt x="1816" y="4317"/>
                  </a:cubicBezTo>
                  <a:cubicBezTo>
                    <a:pt x="2260" y="2730"/>
                    <a:pt x="3047" y="1257"/>
                    <a:pt x="4114" y="0"/>
                  </a:cubicBezTo>
                  <a:cubicBezTo>
                    <a:pt x="3784" y="1574"/>
                    <a:pt x="3327" y="3124"/>
                    <a:pt x="2755" y="4635"/>
                  </a:cubicBezTo>
                  <a:cubicBezTo>
                    <a:pt x="711" y="12077"/>
                    <a:pt x="1409" y="20002"/>
                    <a:pt x="4737" y="26974"/>
                  </a:cubicBezTo>
                  <a:cubicBezTo>
                    <a:pt x="5562" y="28371"/>
                    <a:pt x="6273" y="29819"/>
                    <a:pt x="6870" y="3131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4" name="Free Form 3158">
              <a:extLst>
                <a:ext uri="{FF2B5EF4-FFF2-40B4-BE49-F238E27FC236}">
                  <a16:creationId xmlns:a16="http://schemas.microsoft.com/office/drawing/2014/main" id="{B6007B31-12A8-114C-3143-DC04E06C660C}"/>
                </a:ext>
              </a:extLst>
            </p:cNvPr>
            <p:cNvSpPr/>
            <p:nvPr/>
          </p:nvSpPr>
          <p:spPr>
            <a:xfrm>
              <a:off x="26093758" y="30662629"/>
              <a:ext cx="7722" cy="31292"/>
            </a:xfrm>
            <a:custGeom>
              <a:avLst/>
              <a:gdLst/>
              <a:ahLst/>
              <a:cxnLst/>
              <a:rect l="0" t="0" r="0" b="0"/>
              <a:pathLst>
                <a:path w="7721" h="31292">
                  <a:moveTo>
                    <a:pt x="7721" y="31292"/>
                  </a:moveTo>
                  <a:cubicBezTo>
                    <a:pt x="6438" y="30238"/>
                    <a:pt x="5397" y="28917"/>
                    <a:pt x="4686" y="27431"/>
                  </a:cubicBezTo>
                  <a:cubicBezTo>
                    <a:pt x="736" y="20370"/>
                    <a:pt x="0" y="11963"/>
                    <a:pt x="2641" y="4317"/>
                  </a:cubicBezTo>
                  <a:cubicBezTo>
                    <a:pt x="3086" y="2730"/>
                    <a:pt x="3873" y="1257"/>
                    <a:pt x="4965" y="0"/>
                  </a:cubicBezTo>
                  <a:cubicBezTo>
                    <a:pt x="4597" y="1574"/>
                    <a:pt x="4152" y="3124"/>
                    <a:pt x="3606" y="4635"/>
                  </a:cubicBezTo>
                  <a:cubicBezTo>
                    <a:pt x="2590" y="8331"/>
                    <a:pt x="2247" y="12179"/>
                    <a:pt x="2578" y="15989"/>
                  </a:cubicBezTo>
                  <a:cubicBezTo>
                    <a:pt x="2882" y="19799"/>
                    <a:pt x="3848" y="23520"/>
                    <a:pt x="5422" y="26999"/>
                  </a:cubicBezTo>
                  <a:cubicBezTo>
                    <a:pt x="6273" y="28384"/>
                    <a:pt x="7035" y="29819"/>
                    <a:pt x="7721" y="31292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5" name="Free Form 3159">
              <a:extLst>
                <a:ext uri="{FF2B5EF4-FFF2-40B4-BE49-F238E27FC236}">
                  <a16:creationId xmlns:a16="http://schemas.microsoft.com/office/drawing/2014/main" id="{A3BF38FB-51A6-8269-76FC-D4ABA9CDB32A}"/>
                </a:ext>
              </a:extLst>
            </p:cNvPr>
            <p:cNvSpPr/>
            <p:nvPr/>
          </p:nvSpPr>
          <p:spPr>
            <a:xfrm>
              <a:off x="26446398" y="30661925"/>
              <a:ext cx="5639" cy="31229"/>
            </a:xfrm>
            <a:custGeom>
              <a:avLst/>
              <a:gdLst/>
              <a:ahLst/>
              <a:cxnLst/>
              <a:rect l="0" t="0" r="0" b="0"/>
              <a:pathLst>
                <a:path w="5638" h="31228">
                  <a:moveTo>
                    <a:pt x="0" y="31228"/>
                  </a:moveTo>
                  <a:cubicBezTo>
                    <a:pt x="1587" y="26174"/>
                    <a:pt x="2539" y="20929"/>
                    <a:pt x="2832" y="15646"/>
                  </a:cubicBezTo>
                  <a:cubicBezTo>
                    <a:pt x="2641" y="10350"/>
                    <a:pt x="1803" y="5092"/>
                    <a:pt x="342" y="0"/>
                  </a:cubicBezTo>
                  <a:cubicBezTo>
                    <a:pt x="5638" y="9753"/>
                    <a:pt x="5549" y="21538"/>
                    <a:pt x="139" y="31228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6" name="Free Form 3160">
              <a:extLst>
                <a:ext uri="{FF2B5EF4-FFF2-40B4-BE49-F238E27FC236}">
                  <a16:creationId xmlns:a16="http://schemas.microsoft.com/office/drawing/2014/main" id="{799D5D28-24DA-3D10-0BE9-D1679218E6CC}"/>
                </a:ext>
              </a:extLst>
            </p:cNvPr>
            <p:cNvSpPr/>
            <p:nvPr/>
          </p:nvSpPr>
          <p:spPr>
            <a:xfrm>
              <a:off x="26438812" y="30662517"/>
              <a:ext cx="3861" cy="30581"/>
            </a:xfrm>
            <a:custGeom>
              <a:avLst/>
              <a:gdLst/>
              <a:ahLst/>
              <a:cxnLst/>
              <a:rect l="0" t="0" r="0" b="0"/>
              <a:pathLst>
                <a:path w="3860" h="30581">
                  <a:moveTo>
                    <a:pt x="457" y="30581"/>
                  </a:moveTo>
                  <a:cubicBezTo>
                    <a:pt x="38" y="30581"/>
                    <a:pt x="1650" y="23736"/>
                    <a:pt x="1625" y="15277"/>
                  </a:cubicBezTo>
                  <a:cubicBezTo>
                    <a:pt x="1600" y="6819"/>
                    <a:pt x="0" y="88"/>
                    <a:pt x="431" y="0"/>
                  </a:cubicBezTo>
                  <a:cubicBezTo>
                    <a:pt x="3860" y="9905"/>
                    <a:pt x="3860" y="20675"/>
                    <a:pt x="431" y="30581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7" name="Free Form 3161">
              <a:extLst>
                <a:ext uri="{FF2B5EF4-FFF2-40B4-BE49-F238E27FC236}">
                  <a16:creationId xmlns:a16="http://schemas.microsoft.com/office/drawing/2014/main" id="{C0D9F776-C732-1FBB-A71C-569BC73C549D}"/>
                </a:ext>
              </a:extLst>
            </p:cNvPr>
            <p:cNvSpPr/>
            <p:nvPr/>
          </p:nvSpPr>
          <p:spPr>
            <a:xfrm>
              <a:off x="24885656" y="29674210"/>
              <a:ext cx="269224" cy="61442"/>
            </a:xfrm>
            <a:custGeom>
              <a:avLst/>
              <a:gdLst/>
              <a:ahLst/>
              <a:cxnLst/>
              <a:rect l="0" t="0" r="0" b="0"/>
              <a:pathLst>
                <a:path w="269224" h="61441">
                  <a:moveTo>
                    <a:pt x="269224" y="61441"/>
                  </a:moveTo>
                  <a:cubicBezTo>
                    <a:pt x="268970" y="61403"/>
                    <a:pt x="268716" y="61327"/>
                    <a:pt x="268487" y="61213"/>
                  </a:cubicBezTo>
                  <a:lnTo>
                    <a:pt x="266417" y="60387"/>
                  </a:lnTo>
                  <a:lnTo>
                    <a:pt x="258518" y="57098"/>
                  </a:lnTo>
                  <a:lnTo>
                    <a:pt x="229613" y="44716"/>
                  </a:lnTo>
                  <a:lnTo>
                    <a:pt x="134504" y="3301"/>
                  </a:lnTo>
                  <a:lnTo>
                    <a:pt x="131215" y="1854"/>
                  </a:lnTo>
                  <a:lnTo>
                    <a:pt x="131900" y="1854"/>
                  </a:lnTo>
                  <a:lnTo>
                    <a:pt x="38721" y="41592"/>
                  </a:lnTo>
                  <a:lnTo>
                    <a:pt x="10528" y="53441"/>
                  </a:lnTo>
                  <a:lnTo>
                    <a:pt x="2832" y="56552"/>
                  </a:lnTo>
                  <a:cubicBezTo>
                    <a:pt x="1917" y="56971"/>
                    <a:pt x="965" y="57301"/>
                    <a:pt x="0" y="57555"/>
                  </a:cubicBezTo>
                  <a:cubicBezTo>
                    <a:pt x="863" y="57060"/>
                    <a:pt x="1752" y="56628"/>
                    <a:pt x="2666" y="56247"/>
                  </a:cubicBezTo>
                  <a:lnTo>
                    <a:pt x="10210" y="52844"/>
                  </a:lnTo>
                  <a:lnTo>
                    <a:pt x="38175" y="40487"/>
                  </a:lnTo>
                  <a:lnTo>
                    <a:pt x="131164" y="177"/>
                  </a:lnTo>
                  <a:lnTo>
                    <a:pt x="131507" y="0"/>
                  </a:lnTo>
                  <a:lnTo>
                    <a:pt x="131875" y="177"/>
                  </a:lnTo>
                  <a:lnTo>
                    <a:pt x="135164" y="1625"/>
                  </a:lnTo>
                  <a:lnTo>
                    <a:pt x="230045" y="43497"/>
                  </a:lnTo>
                  <a:lnTo>
                    <a:pt x="258721" y="56387"/>
                  </a:lnTo>
                  <a:lnTo>
                    <a:pt x="266697" y="60083"/>
                  </a:lnTo>
                  <a:lnTo>
                    <a:pt x="268691" y="61048"/>
                  </a:lnTo>
                  <a:cubicBezTo>
                    <a:pt x="268881" y="61149"/>
                    <a:pt x="269059" y="61289"/>
                    <a:pt x="269224" y="6144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8" name="Rectangle 3162">
              <a:extLst>
                <a:ext uri="{FF2B5EF4-FFF2-40B4-BE49-F238E27FC236}">
                  <a16:creationId xmlns:a16="http://schemas.microsoft.com/office/drawing/2014/main" id="{204C4354-5E78-81A2-796C-B0D0B4E7EC3B}"/>
                </a:ext>
              </a:extLst>
            </p:cNvPr>
            <p:cNvSpPr/>
            <p:nvPr/>
          </p:nvSpPr>
          <p:spPr>
            <a:xfrm>
              <a:off x="24692453" y="29756615"/>
              <a:ext cx="610774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9" name="Rectangle 3163">
              <a:extLst>
                <a:ext uri="{FF2B5EF4-FFF2-40B4-BE49-F238E27FC236}">
                  <a16:creationId xmlns:a16="http://schemas.microsoft.com/office/drawing/2014/main" id="{E86DB70F-557A-1D2C-87DF-20A35F658449}"/>
                </a:ext>
              </a:extLst>
            </p:cNvPr>
            <p:cNvSpPr/>
            <p:nvPr/>
          </p:nvSpPr>
          <p:spPr>
            <a:xfrm>
              <a:off x="24713802" y="29757853"/>
              <a:ext cx="570365" cy="388078"/>
            </a:xfrm>
            <a:prstGeom prst="rect">
              <a:avLst/>
            </a:pr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0" name="Free Form 3164">
              <a:extLst>
                <a:ext uri="{FF2B5EF4-FFF2-40B4-BE49-F238E27FC236}">
                  <a16:creationId xmlns:a16="http://schemas.microsoft.com/office/drawing/2014/main" id="{629A5DDE-6980-C54B-C88E-E23A37713CCF}"/>
                </a:ext>
              </a:extLst>
            </p:cNvPr>
            <p:cNvSpPr/>
            <p:nvPr/>
          </p:nvSpPr>
          <p:spPr>
            <a:xfrm>
              <a:off x="24839772" y="29925558"/>
              <a:ext cx="92150" cy="91414"/>
            </a:xfrm>
            <a:custGeom>
              <a:avLst/>
              <a:gdLst/>
              <a:ahLst/>
              <a:cxnLst/>
              <a:rect l="0" t="0" r="0" b="0"/>
              <a:pathLst>
                <a:path w="92150" h="91413">
                  <a:moveTo>
                    <a:pt x="0" y="0"/>
                  </a:moveTo>
                  <a:cubicBezTo>
                    <a:pt x="0" y="0"/>
                    <a:pt x="596" y="70039"/>
                    <a:pt x="4140" y="91413"/>
                  </a:cubicBezTo>
                  <a:lnTo>
                    <a:pt x="92150" y="87248"/>
                  </a:lnTo>
                  <a:cubicBezTo>
                    <a:pt x="92150" y="87248"/>
                    <a:pt x="84428" y="18402"/>
                    <a:pt x="87413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1" name="Free Form 3165">
              <a:extLst>
                <a:ext uri="{FF2B5EF4-FFF2-40B4-BE49-F238E27FC236}">
                  <a16:creationId xmlns:a16="http://schemas.microsoft.com/office/drawing/2014/main" id="{C33CF276-E8F8-98D2-1A0D-40C4E76C8FD0}"/>
                </a:ext>
              </a:extLst>
            </p:cNvPr>
            <p:cNvSpPr/>
            <p:nvPr/>
          </p:nvSpPr>
          <p:spPr>
            <a:xfrm>
              <a:off x="24863163" y="29935287"/>
              <a:ext cx="41478" cy="50038"/>
            </a:xfrm>
            <a:custGeom>
              <a:avLst/>
              <a:gdLst/>
              <a:ahLst/>
              <a:cxnLst/>
              <a:rect l="0" t="0" r="0" b="0"/>
              <a:pathLst>
                <a:path w="41477" h="50037">
                  <a:moveTo>
                    <a:pt x="19875" y="177"/>
                  </a:moveTo>
                  <a:lnTo>
                    <a:pt x="20218" y="177"/>
                  </a:lnTo>
                  <a:lnTo>
                    <a:pt x="21157" y="177"/>
                  </a:lnTo>
                  <a:cubicBezTo>
                    <a:pt x="22377" y="139"/>
                    <a:pt x="23609" y="203"/>
                    <a:pt x="24815" y="380"/>
                  </a:cubicBezTo>
                  <a:cubicBezTo>
                    <a:pt x="26784" y="622"/>
                    <a:pt x="28701" y="1181"/>
                    <a:pt x="30492" y="2019"/>
                  </a:cubicBezTo>
                  <a:cubicBezTo>
                    <a:pt x="32841" y="3174"/>
                    <a:pt x="34924" y="4825"/>
                    <a:pt x="36601" y="6845"/>
                  </a:cubicBezTo>
                  <a:cubicBezTo>
                    <a:pt x="38632" y="9334"/>
                    <a:pt x="40068" y="12242"/>
                    <a:pt x="40804" y="15366"/>
                  </a:cubicBezTo>
                  <a:cubicBezTo>
                    <a:pt x="41477" y="19011"/>
                    <a:pt x="41160" y="22770"/>
                    <a:pt x="39864" y="26237"/>
                  </a:cubicBezTo>
                  <a:cubicBezTo>
                    <a:pt x="39229" y="28117"/>
                    <a:pt x="38404" y="29933"/>
                    <a:pt x="37426" y="31660"/>
                  </a:cubicBezTo>
                  <a:cubicBezTo>
                    <a:pt x="36423" y="33426"/>
                    <a:pt x="35432" y="35216"/>
                    <a:pt x="34581" y="37147"/>
                  </a:cubicBezTo>
                  <a:cubicBezTo>
                    <a:pt x="32841" y="41122"/>
                    <a:pt x="31648" y="45313"/>
                    <a:pt x="31038" y="49605"/>
                  </a:cubicBezTo>
                  <a:lnTo>
                    <a:pt x="31038" y="49885"/>
                  </a:lnTo>
                  <a:lnTo>
                    <a:pt x="30746" y="49885"/>
                  </a:lnTo>
                  <a:lnTo>
                    <a:pt x="22059" y="50037"/>
                  </a:lnTo>
                  <a:lnTo>
                    <a:pt x="12979" y="50037"/>
                  </a:lnTo>
                  <a:lnTo>
                    <a:pt x="12661" y="50037"/>
                  </a:lnTo>
                  <a:lnTo>
                    <a:pt x="12661" y="49694"/>
                  </a:lnTo>
                  <a:cubicBezTo>
                    <a:pt x="12280" y="45402"/>
                    <a:pt x="10832" y="41274"/>
                    <a:pt x="8458" y="37680"/>
                  </a:cubicBezTo>
                  <a:cubicBezTo>
                    <a:pt x="7378" y="35889"/>
                    <a:pt x="6248" y="34188"/>
                    <a:pt x="5168" y="32486"/>
                  </a:cubicBezTo>
                  <a:cubicBezTo>
                    <a:pt x="4051" y="30873"/>
                    <a:pt x="3009" y="29196"/>
                    <a:pt x="2070" y="27457"/>
                  </a:cubicBezTo>
                  <a:cubicBezTo>
                    <a:pt x="469" y="24129"/>
                    <a:pt x="0" y="20383"/>
                    <a:pt x="711" y="16763"/>
                  </a:cubicBezTo>
                  <a:cubicBezTo>
                    <a:pt x="1219" y="13639"/>
                    <a:pt x="2374" y="10667"/>
                    <a:pt x="4089" y="8013"/>
                  </a:cubicBezTo>
                  <a:cubicBezTo>
                    <a:pt x="5575" y="5880"/>
                    <a:pt x="7505" y="4114"/>
                    <a:pt x="9766" y="2844"/>
                  </a:cubicBezTo>
                  <a:cubicBezTo>
                    <a:pt x="11467" y="1904"/>
                    <a:pt x="13284" y="1219"/>
                    <a:pt x="15163" y="774"/>
                  </a:cubicBezTo>
                  <a:cubicBezTo>
                    <a:pt x="16344" y="495"/>
                    <a:pt x="17551" y="292"/>
                    <a:pt x="18770" y="177"/>
                  </a:cubicBezTo>
                  <a:lnTo>
                    <a:pt x="19481" y="177"/>
                  </a:lnTo>
                  <a:lnTo>
                    <a:pt x="19786" y="177"/>
                  </a:lnTo>
                  <a:lnTo>
                    <a:pt x="19481" y="177"/>
                  </a:lnTo>
                  <a:lnTo>
                    <a:pt x="18541" y="177"/>
                  </a:lnTo>
                  <a:cubicBezTo>
                    <a:pt x="17348" y="317"/>
                    <a:pt x="16154" y="546"/>
                    <a:pt x="14998" y="863"/>
                  </a:cubicBezTo>
                  <a:cubicBezTo>
                    <a:pt x="13144" y="1333"/>
                    <a:pt x="11366" y="2057"/>
                    <a:pt x="9715" y="3022"/>
                  </a:cubicBezTo>
                  <a:cubicBezTo>
                    <a:pt x="7518" y="4279"/>
                    <a:pt x="5638" y="6007"/>
                    <a:pt x="4203" y="8102"/>
                  </a:cubicBezTo>
                  <a:cubicBezTo>
                    <a:pt x="2539" y="10680"/>
                    <a:pt x="1447" y="13588"/>
                    <a:pt x="965" y="16611"/>
                  </a:cubicBezTo>
                  <a:cubicBezTo>
                    <a:pt x="279" y="20129"/>
                    <a:pt x="774" y="23774"/>
                    <a:pt x="2362" y="26974"/>
                  </a:cubicBezTo>
                  <a:cubicBezTo>
                    <a:pt x="3289" y="28688"/>
                    <a:pt x="4317" y="30339"/>
                    <a:pt x="5422" y="31952"/>
                  </a:cubicBezTo>
                  <a:cubicBezTo>
                    <a:pt x="6502" y="33616"/>
                    <a:pt x="7670" y="35331"/>
                    <a:pt x="8750" y="37147"/>
                  </a:cubicBezTo>
                  <a:cubicBezTo>
                    <a:pt x="11188" y="40830"/>
                    <a:pt x="12674" y="45059"/>
                    <a:pt x="13068" y="49465"/>
                  </a:cubicBezTo>
                  <a:lnTo>
                    <a:pt x="12750" y="49123"/>
                  </a:lnTo>
                  <a:lnTo>
                    <a:pt x="21831" y="48983"/>
                  </a:lnTo>
                  <a:lnTo>
                    <a:pt x="30517" y="48983"/>
                  </a:lnTo>
                  <a:lnTo>
                    <a:pt x="30187" y="49288"/>
                  </a:lnTo>
                  <a:cubicBezTo>
                    <a:pt x="30797" y="44919"/>
                    <a:pt x="32029" y="40664"/>
                    <a:pt x="33819" y="36626"/>
                  </a:cubicBezTo>
                  <a:cubicBezTo>
                    <a:pt x="34657" y="34696"/>
                    <a:pt x="35610" y="32791"/>
                    <a:pt x="36651" y="30949"/>
                  </a:cubicBezTo>
                  <a:cubicBezTo>
                    <a:pt x="37629" y="29260"/>
                    <a:pt x="38442" y="27482"/>
                    <a:pt x="39090" y="25641"/>
                  </a:cubicBezTo>
                  <a:cubicBezTo>
                    <a:pt x="40372" y="22275"/>
                    <a:pt x="40703" y="18630"/>
                    <a:pt x="40055" y="15087"/>
                  </a:cubicBezTo>
                  <a:cubicBezTo>
                    <a:pt x="39344" y="12052"/>
                    <a:pt x="37972" y="9220"/>
                    <a:pt x="36029" y="6794"/>
                  </a:cubicBezTo>
                  <a:cubicBezTo>
                    <a:pt x="34416" y="4813"/>
                    <a:pt x="32397" y="3187"/>
                    <a:pt x="30124" y="2019"/>
                  </a:cubicBezTo>
                  <a:cubicBezTo>
                    <a:pt x="28384" y="1193"/>
                    <a:pt x="26542" y="609"/>
                    <a:pt x="24650" y="292"/>
                  </a:cubicBezTo>
                  <a:cubicBezTo>
                    <a:pt x="23456" y="101"/>
                    <a:pt x="22250" y="0"/>
                    <a:pt x="21043" y="12"/>
                  </a:cubicBezTo>
                  <a:lnTo>
                    <a:pt x="19760" y="12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2" name="Free Form 3166">
              <a:extLst>
                <a:ext uri="{FF2B5EF4-FFF2-40B4-BE49-F238E27FC236}">
                  <a16:creationId xmlns:a16="http://schemas.microsoft.com/office/drawing/2014/main" id="{751B1D51-D212-7F2C-A634-BA3750DD6083}"/>
                </a:ext>
              </a:extLst>
            </p:cNvPr>
            <p:cNvSpPr/>
            <p:nvPr/>
          </p:nvSpPr>
          <p:spPr>
            <a:xfrm>
              <a:off x="24872338" y="29951961"/>
              <a:ext cx="23305" cy="32588"/>
            </a:xfrm>
            <a:custGeom>
              <a:avLst/>
              <a:gdLst/>
              <a:ahLst/>
              <a:cxnLst/>
              <a:rect l="0" t="0" r="0" b="0"/>
              <a:pathLst>
                <a:path w="23304" h="32587">
                  <a:moveTo>
                    <a:pt x="15214" y="32308"/>
                  </a:moveTo>
                  <a:lnTo>
                    <a:pt x="15214" y="32029"/>
                  </a:lnTo>
                  <a:lnTo>
                    <a:pt x="15214" y="31203"/>
                  </a:lnTo>
                  <a:lnTo>
                    <a:pt x="14731" y="28079"/>
                  </a:lnTo>
                  <a:cubicBezTo>
                    <a:pt x="14363" y="25234"/>
                    <a:pt x="13766" y="21399"/>
                    <a:pt x="13372" y="16471"/>
                  </a:cubicBezTo>
                  <a:cubicBezTo>
                    <a:pt x="13372" y="15239"/>
                    <a:pt x="13195" y="13969"/>
                    <a:pt x="13144" y="12598"/>
                  </a:cubicBezTo>
                  <a:cubicBezTo>
                    <a:pt x="13080" y="11239"/>
                    <a:pt x="13144" y="9766"/>
                    <a:pt x="13144" y="8432"/>
                  </a:cubicBezTo>
                  <a:cubicBezTo>
                    <a:pt x="13182" y="6908"/>
                    <a:pt x="13512" y="5422"/>
                    <a:pt x="14134" y="4025"/>
                  </a:cubicBezTo>
                  <a:cubicBezTo>
                    <a:pt x="14795" y="2539"/>
                    <a:pt x="15989" y="1333"/>
                    <a:pt x="17487" y="685"/>
                  </a:cubicBezTo>
                  <a:cubicBezTo>
                    <a:pt x="19125" y="0"/>
                    <a:pt x="21005" y="355"/>
                    <a:pt x="22288" y="1587"/>
                  </a:cubicBezTo>
                  <a:cubicBezTo>
                    <a:pt x="22935" y="2209"/>
                    <a:pt x="23304" y="3073"/>
                    <a:pt x="23304" y="3975"/>
                  </a:cubicBezTo>
                  <a:cubicBezTo>
                    <a:pt x="23278" y="4889"/>
                    <a:pt x="22961" y="5778"/>
                    <a:pt x="22402" y="6502"/>
                  </a:cubicBezTo>
                  <a:cubicBezTo>
                    <a:pt x="21843" y="7226"/>
                    <a:pt x="21119" y="7810"/>
                    <a:pt x="20294" y="8204"/>
                  </a:cubicBezTo>
                  <a:cubicBezTo>
                    <a:pt x="19468" y="8610"/>
                    <a:pt x="18592" y="8902"/>
                    <a:pt x="17678" y="9080"/>
                  </a:cubicBezTo>
                  <a:cubicBezTo>
                    <a:pt x="15811" y="9461"/>
                    <a:pt x="13919" y="9664"/>
                    <a:pt x="12001" y="9702"/>
                  </a:cubicBezTo>
                  <a:cubicBezTo>
                    <a:pt x="10109" y="9804"/>
                    <a:pt x="8204" y="9715"/>
                    <a:pt x="6324" y="9448"/>
                  </a:cubicBezTo>
                  <a:cubicBezTo>
                    <a:pt x="5422" y="9309"/>
                    <a:pt x="4533" y="9055"/>
                    <a:pt x="3682" y="8686"/>
                  </a:cubicBezTo>
                  <a:cubicBezTo>
                    <a:pt x="2844" y="8331"/>
                    <a:pt x="2082" y="7785"/>
                    <a:pt x="1473" y="7099"/>
                  </a:cubicBezTo>
                  <a:cubicBezTo>
                    <a:pt x="850" y="6451"/>
                    <a:pt x="406" y="5651"/>
                    <a:pt x="203" y="4775"/>
                  </a:cubicBezTo>
                  <a:cubicBezTo>
                    <a:pt x="0" y="3886"/>
                    <a:pt x="114" y="2971"/>
                    <a:pt x="507" y="2158"/>
                  </a:cubicBezTo>
                  <a:cubicBezTo>
                    <a:pt x="863" y="1346"/>
                    <a:pt x="1523" y="698"/>
                    <a:pt x="2349" y="368"/>
                  </a:cubicBezTo>
                  <a:cubicBezTo>
                    <a:pt x="3149" y="25"/>
                    <a:pt x="4051" y="25"/>
                    <a:pt x="4851" y="368"/>
                  </a:cubicBezTo>
                  <a:cubicBezTo>
                    <a:pt x="5587" y="736"/>
                    <a:pt x="6222" y="1282"/>
                    <a:pt x="6692" y="1955"/>
                  </a:cubicBezTo>
                  <a:cubicBezTo>
                    <a:pt x="7150" y="2616"/>
                    <a:pt x="7467" y="3365"/>
                    <a:pt x="7632" y="4140"/>
                  </a:cubicBezTo>
                  <a:cubicBezTo>
                    <a:pt x="7924" y="5626"/>
                    <a:pt x="8077" y="7124"/>
                    <a:pt x="8089" y="8623"/>
                  </a:cubicBezTo>
                  <a:cubicBezTo>
                    <a:pt x="8089" y="11467"/>
                    <a:pt x="8369" y="14312"/>
                    <a:pt x="8508" y="16662"/>
                  </a:cubicBezTo>
                  <a:cubicBezTo>
                    <a:pt x="8737" y="21577"/>
                    <a:pt x="8940" y="25552"/>
                    <a:pt x="9080" y="28333"/>
                  </a:cubicBezTo>
                  <a:cubicBezTo>
                    <a:pt x="9080" y="29692"/>
                    <a:pt x="9080" y="30746"/>
                    <a:pt x="9220" y="31482"/>
                  </a:cubicBezTo>
                  <a:lnTo>
                    <a:pt x="9220" y="32308"/>
                  </a:lnTo>
                  <a:lnTo>
                    <a:pt x="9220" y="32587"/>
                  </a:lnTo>
                  <a:cubicBezTo>
                    <a:pt x="9207" y="32498"/>
                    <a:pt x="9207" y="32397"/>
                    <a:pt x="9220" y="32308"/>
                  </a:cubicBezTo>
                  <a:lnTo>
                    <a:pt x="9220" y="31482"/>
                  </a:lnTo>
                  <a:cubicBezTo>
                    <a:pt x="9220" y="30771"/>
                    <a:pt x="9220" y="29692"/>
                    <a:pt x="9029" y="28333"/>
                  </a:cubicBezTo>
                  <a:cubicBezTo>
                    <a:pt x="8851" y="25488"/>
                    <a:pt x="8623" y="21602"/>
                    <a:pt x="8343" y="16687"/>
                  </a:cubicBezTo>
                  <a:cubicBezTo>
                    <a:pt x="8343" y="14223"/>
                    <a:pt x="8064" y="11531"/>
                    <a:pt x="7886" y="8623"/>
                  </a:cubicBezTo>
                  <a:cubicBezTo>
                    <a:pt x="7848" y="7150"/>
                    <a:pt x="7696" y="5664"/>
                    <a:pt x="7429" y="4203"/>
                  </a:cubicBezTo>
                  <a:cubicBezTo>
                    <a:pt x="7277" y="3441"/>
                    <a:pt x="6972" y="2730"/>
                    <a:pt x="6527" y="2095"/>
                  </a:cubicBezTo>
                  <a:cubicBezTo>
                    <a:pt x="6083" y="1460"/>
                    <a:pt x="5473" y="939"/>
                    <a:pt x="4762" y="596"/>
                  </a:cubicBezTo>
                  <a:cubicBezTo>
                    <a:pt x="4025" y="292"/>
                    <a:pt x="3200" y="292"/>
                    <a:pt x="2463" y="596"/>
                  </a:cubicBezTo>
                  <a:cubicBezTo>
                    <a:pt x="1727" y="939"/>
                    <a:pt x="1117" y="1523"/>
                    <a:pt x="761" y="2273"/>
                  </a:cubicBezTo>
                  <a:cubicBezTo>
                    <a:pt x="406" y="3035"/>
                    <a:pt x="304" y="3886"/>
                    <a:pt x="482" y="4711"/>
                  </a:cubicBezTo>
                  <a:cubicBezTo>
                    <a:pt x="673" y="5549"/>
                    <a:pt x="1092" y="6311"/>
                    <a:pt x="1701" y="6921"/>
                  </a:cubicBezTo>
                  <a:cubicBezTo>
                    <a:pt x="2959" y="8191"/>
                    <a:pt x="4610" y="8991"/>
                    <a:pt x="6388" y="9169"/>
                  </a:cubicBezTo>
                  <a:cubicBezTo>
                    <a:pt x="8267" y="9423"/>
                    <a:pt x="10172" y="9524"/>
                    <a:pt x="12064" y="9448"/>
                  </a:cubicBezTo>
                  <a:cubicBezTo>
                    <a:pt x="13919" y="9397"/>
                    <a:pt x="15760" y="9182"/>
                    <a:pt x="17576" y="8801"/>
                  </a:cubicBezTo>
                  <a:cubicBezTo>
                    <a:pt x="18440" y="8623"/>
                    <a:pt x="19291" y="8356"/>
                    <a:pt x="20103" y="7975"/>
                  </a:cubicBezTo>
                  <a:cubicBezTo>
                    <a:pt x="20891" y="7594"/>
                    <a:pt x="21589" y="7035"/>
                    <a:pt x="22110" y="6324"/>
                  </a:cubicBezTo>
                  <a:cubicBezTo>
                    <a:pt x="22656" y="5664"/>
                    <a:pt x="22961" y="4838"/>
                    <a:pt x="22961" y="3975"/>
                  </a:cubicBezTo>
                  <a:cubicBezTo>
                    <a:pt x="22974" y="3136"/>
                    <a:pt x="22643" y="2336"/>
                    <a:pt x="22021" y="1752"/>
                  </a:cubicBezTo>
                  <a:cubicBezTo>
                    <a:pt x="20815" y="622"/>
                    <a:pt x="19062" y="292"/>
                    <a:pt x="17513" y="901"/>
                  </a:cubicBezTo>
                  <a:cubicBezTo>
                    <a:pt x="16090" y="1549"/>
                    <a:pt x="14947" y="2692"/>
                    <a:pt x="14300" y="4114"/>
                  </a:cubicBezTo>
                  <a:cubicBezTo>
                    <a:pt x="13639" y="5473"/>
                    <a:pt x="13245" y="6946"/>
                    <a:pt x="13144" y="8458"/>
                  </a:cubicBezTo>
                  <a:cubicBezTo>
                    <a:pt x="13068" y="9855"/>
                    <a:pt x="13068" y="11239"/>
                    <a:pt x="13144" y="12636"/>
                  </a:cubicBezTo>
                  <a:cubicBezTo>
                    <a:pt x="13144" y="13969"/>
                    <a:pt x="13144" y="15277"/>
                    <a:pt x="13347" y="16497"/>
                  </a:cubicBezTo>
                  <a:cubicBezTo>
                    <a:pt x="13715" y="21399"/>
                    <a:pt x="14249" y="25348"/>
                    <a:pt x="14617" y="28079"/>
                  </a:cubicBezTo>
                  <a:lnTo>
                    <a:pt x="15049" y="31228"/>
                  </a:lnTo>
                  <a:lnTo>
                    <a:pt x="15049" y="32054"/>
                  </a:lnTo>
                  <a:cubicBezTo>
                    <a:pt x="15112" y="32130"/>
                    <a:pt x="15163" y="32219"/>
                    <a:pt x="15214" y="3230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3" name="Free Form 3167">
              <a:extLst>
                <a:ext uri="{FF2B5EF4-FFF2-40B4-BE49-F238E27FC236}">
                  <a16:creationId xmlns:a16="http://schemas.microsoft.com/office/drawing/2014/main" id="{D2AC5376-E971-0FEA-5419-2E7C8D1EFD21}"/>
                </a:ext>
              </a:extLst>
            </p:cNvPr>
            <p:cNvSpPr/>
            <p:nvPr/>
          </p:nvSpPr>
          <p:spPr>
            <a:xfrm>
              <a:off x="24875999" y="29984013"/>
              <a:ext cx="18618" cy="18453"/>
            </a:xfrm>
            <a:custGeom>
              <a:avLst/>
              <a:gdLst/>
              <a:ahLst/>
              <a:cxnLst/>
              <a:rect l="0" t="0" r="0" b="0"/>
              <a:pathLst>
                <a:path w="18618" h="18452">
                  <a:moveTo>
                    <a:pt x="0" y="711"/>
                  </a:moveTo>
                  <a:cubicBezTo>
                    <a:pt x="0" y="711"/>
                    <a:pt x="0" y="1790"/>
                    <a:pt x="228" y="3555"/>
                  </a:cubicBezTo>
                  <a:cubicBezTo>
                    <a:pt x="457" y="5308"/>
                    <a:pt x="457" y="8204"/>
                    <a:pt x="596" y="11163"/>
                  </a:cubicBezTo>
                  <a:lnTo>
                    <a:pt x="596" y="10959"/>
                  </a:lnTo>
                  <a:lnTo>
                    <a:pt x="6502" y="17779"/>
                  </a:lnTo>
                  <a:lnTo>
                    <a:pt x="6184" y="17779"/>
                  </a:lnTo>
                  <a:lnTo>
                    <a:pt x="13030" y="17373"/>
                  </a:lnTo>
                  <a:lnTo>
                    <a:pt x="12750" y="17513"/>
                  </a:lnTo>
                  <a:lnTo>
                    <a:pt x="16154" y="13372"/>
                  </a:lnTo>
                  <a:lnTo>
                    <a:pt x="17856" y="11302"/>
                  </a:lnTo>
                  <a:lnTo>
                    <a:pt x="17856" y="11556"/>
                  </a:lnTo>
                  <a:cubicBezTo>
                    <a:pt x="17856" y="7556"/>
                    <a:pt x="17690" y="3746"/>
                    <a:pt x="17602" y="203"/>
                  </a:cubicBezTo>
                  <a:lnTo>
                    <a:pt x="17970" y="571"/>
                  </a:lnTo>
                  <a:lnTo>
                    <a:pt x="5194" y="711"/>
                  </a:lnTo>
                  <a:lnTo>
                    <a:pt x="1498" y="711"/>
                  </a:lnTo>
                  <a:lnTo>
                    <a:pt x="139" y="711"/>
                  </a:lnTo>
                  <a:cubicBezTo>
                    <a:pt x="533" y="673"/>
                    <a:pt x="939" y="673"/>
                    <a:pt x="1333" y="711"/>
                  </a:cubicBezTo>
                  <a:lnTo>
                    <a:pt x="4940" y="507"/>
                  </a:lnTo>
                  <a:lnTo>
                    <a:pt x="17944" y="0"/>
                  </a:lnTo>
                  <a:lnTo>
                    <a:pt x="18313" y="0"/>
                  </a:lnTo>
                  <a:lnTo>
                    <a:pt x="18313" y="368"/>
                  </a:lnTo>
                  <a:cubicBezTo>
                    <a:pt x="18313" y="3809"/>
                    <a:pt x="18516" y="7607"/>
                    <a:pt x="18618" y="11721"/>
                  </a:cubicBezTo>
                  <a:lnTo>
                    <a:pt x="18618" y="11899"/>
                  </a:lnTo>
                  <a:lnTo>
                    <a:pt x="16916" y="13969"/>
                  </a:lnTo>
                  <a:lnTo>
                    <a:pt x="13512" y="18110"/>
                  </a:lnTo>
                  <a:lnTo>
                    <a:pt x="13347" y="18110"/>
                  </a:lnTo>
                  <a:lnTo>
                    <a:pt x="6502" y="18452"/>
                  </a:lnTo>
                  <a:lnTo>
                    <a:pt x="6299" y="18452"/>
                  </a:lnTo>
                  <a:lnTo>
                    <a:pt x="622" y="11556"/>
                  </a:lnTo>
                  <a:lnTo>
                    <a:pt x="622" y="3746"/>
                  </a:lnTo>
                  <a:cubicBezTo>
                    <a:pt x="330" y="2755"/>
                    <a:pt x="126" y="1739"/>
                    <a:pt x="0" y="71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4" name="Free Form 3168">
              <a:extLst>
                <a:ext uri="{FF2B5EF4-FFF2-40B4-BE49-F238E27FC236}">
                  <a16:creationId xmlns:a16="http://schemas.microsoft.com/office/drawing/2014/main" id="{FF94B3CA-50B9-8FE1-3538-387A2B06D44A}"/>
                </a:ext>
              </a:extLst>
            </p:cNvPr>
            <p:cNvSpPr/>
            <p:nvPr/>
          </p:nvSpPr>
          <p:spPr>
            <a:xfrm>
              <a:off x="24876560" y="29991949"/>
              <a:ext cx="17069" cy="3073"/>
            </a:xfrm>
            <a:custGeom>
              <a:avLst/>
              <a:gdLst/>
              <a:ahLst/>
              <a:cxnLst/>
              <a:rect l="0" t="0" r="0" b="0"/>
              <a:pathLst>
                <a:path w="17068" h="3073">
                  <a:moveTo>
                    <a:pt x="17068" y="2539"/>
                  </a:moveTo>
                  <a:cubicBezTo>
                    <a:pt x="16840" y="2476"/>
                    <a:pt x="16624" y="2387"/>
                    <a:pt x="16420" y="2285"/>
                  </a:cubicBezTo>
                  <a:cubicBezTo>
                    <a:pt x="15849" y="2006"/>
                    <a:pt x="15252" y="1765"/>
                    <a:pt x="14655" y="1574"/>
                  </a:cubicBezTo>
                  <a:cubicBezTo>
                    <a:pt x="10020" y="0"/>
                    <a:pt x="4927" y="431"/>
                    <a:pt x="634" y="2768"/>
                  </a:cubicBezTo>
                  <a:lnTo>
                    <a:pt x="0" y="3073"/>
                  </a:lnTo>
                  <a:lnTo>
                    <a:pt x="571" y="2654"/>
                  </a:lnTo>
                  <a:cubicBezTo>
                    <a:pt x="977" y="2425"/>
                    <a:pt x="1536" y="2120"/>
                    <a:pt x="2273" y="1777"/>
                  </a:cubicBezTo>
                  <a:cubicBezTo>
                    <a:pt x="4229" y="914"/>
                    <a:pt x="6337" y="431"/>
                    <a:pt x="8470" y="355"/>
                  </a:cubicBezTo>
                  <a:cubicBezTo>
                    <a:pt x="10591" y="279"/>
                    <a:pt x="12725" y="634"/>
                    <a:pt x="14706" y="1409"/>
                  </a:cubicBezTo>
                  <a:cubicBezTo>
                    <a:pt x="15316" y="1625"/>
                    <a:pt x="15900" y="1879"/>
                    <a:pt x="16471" y="217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5" name="Free Form 3169">
              <a:extLst>
                <a:ext uri="{FF2B5EF4-FFF2-40B4-BE49-F238E27FC236}">
                  <a16:creationId xmlns:a16="http://schemas.microsoft.com/office/drawing/2014/main" id="{80630E27-84B4-3625-DC9B-8FBCD2276A1B}"/>
                </a:ext>
              </a:extLst>
            </p:cNvPr>
            <p:cNvSpPr/>
            <p:nvPr/>
          </p:nvSpPr>
          <p:spPr>
            <a:xfrm>
              <a:off x="24876560" y="29989502"/>
              <a:ext cx="17069" cy="2883"/>
            </a:xfrm>
            <a:custGeom>
              <a:avLst/>
              <a:gdLst/>
              <a:ahLst/>
              <a:cxnLst/>
              <a:rect l="0" t="0" r="0" b="0"/>
              <a:pathLst>
                <a:path w="17068" h="2882">
                  <a:moveTo>
                    <a:pt x="17068" y="2374"/>
                  </a:moveTo>
                  <a:lnTo>
                    <a:pt x="16420" y="2095"/>
                  </a:lnTo>
                  <a:cubicBezTo>
                    <a:pt x="16014" y="1917"/>
                    <a:pt x="15417" y="1663"/>
                    <a:pt x="14655" y="1409"/>
                  </a:cubicBezTo>
                  <a:cubicBezTo>
                    <a:pt x="10655" y="0"/>
                    <a:pt x="6273" y="126"/>
                    <a:pt x="2362" y="1777"/>
                  </a:cubicBezTo>
                  <a:lnTo>
                    <a:pt x="634" y="2578"/>
                  </a:lnTo>
                  <a:cubicBezTo>
                    <a:pt x="444" y="2705"/>
                    <a:pt x="228" y="2819"/>
                    <a:pt x="0" y="2882"/>
                  </a:cubicBezTo>
                  <a:cubicBezTo>
                    <a:pt x="190" y="2743"/>
                    <a:pt x="380" y="2603"/>
                    <a:pt x="571" y="2489"/>
                  </a:cubicBezTo>
                  <a:cubicBezTo>
                    <a:pt x="1117" y="2158"/>
                    <a:pt x="1689" y="1866"/>
                    <a:pt x="2273" y="1612"/>
                  </a:cubicBezTo>
                  <a:cubicBezTo>
                    <a:pt x="4229" y="723"/>
                    <a:pt x="6324" y="241"/>
                    <a:pt x="8470" y="190"/>
                  </a:cubicBezTo>
                  <a:cubicBezTo>
                    <a:pt x="10591" y="126"/>
                    <a:pt x="12712" y="469"/>
                    <a:pt x="14706" y="1206"/>
                  </a:cubicBezTo>
                  <a:cubicBezTo>
                    <a:pt x="15316" y="1435"/>
                    <a:pt x="15912" y="1701"/>
                    <a:pt x="16471" y="2006"/>
                  </a:cubicBezTo>
                  <a:cubicBezTo>
                    <a:pt x="16687" y="2108"/>
                    <a:pt x="16878" y="2235"/>
                    <a:pt x="17068" y="2374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6" name="Free Form 3170">
              <a:extLst>
                <a:ext uri="{FF2B5EF4-FFF2-40B4-BE49-F238E27FC236}">
                  <a16:creationId xmlns:a16="http://schemas.microsoft.com/office/drawing/2014/main" id="{CC14B55E-8B68-1376-8C81-8142EAD12831}"/>
                </a:ext>
              </a:extLst>
            </p:cNvPr>
            <p:cNvSpPr/>
            <p:nvPr/>
          </p:nvSpPr>
          <p:spPr>
            <a:xfrm>
              <a:off x="24876390" y="29986600"/>
              <a:ext cx="17068" cy="3200"/>
            </a:xfrm>
            <a:custGeom>
              <a:avLst/>
              <a:gdLst/>
              <a:ahLst/>
              <a:cxnLst/>
              <a:rect l="0" t="0" r="0" b="0"/>
              <a:pathLst>
                <a:path w="17068" h="3200">
                  <a:moveTo>
                    <a:pt x="17068" y="2666"/>
                  </a:moveTo>
                  <a:lnTo>
                    <a:pt x="16446" y="2412"/>
                  </a:lnTo>
                  <a:cubicBezTo>
                    <a:pt x="15862" y="2133"/>
                    <a:pt x="15265" y="1904"/>
                    <a:pt x="14655" y="1701"/>
                  </a:cubicBezTo>
                  <a:cubicBezTo>
                    <a:pt x="12674" y="1015"/>
                    <a:pt x="10591" y="698"/>
                    <a:pt x="8496" y="761"/>
                  </a:cubicBezTo>
                  <a:cubicBezTo>
                    <a:pt x="6388" y="825"/>
                    <a:pt x="4305" y="1269"/>
                    <a:pt x="2362" y="2070"/>
                  </a:cubicBezTo>
                  <a:cubicBezTo>
                    <a:pt x="1777" y="2311"/>
                    <a:pt x="1206" y="2590"/>
                    <a:pt x="660" y="2895"/>
                  </a:cubicBezTo>
                  <a:lnTo>
                    <a:pt x="0" y="3200"/>
                  </a:lnTo>
                  <a:lnTo>
                    <a:pt x="596" y="2781"/>
                  </a:lnTo>
                  <a:cubicBezTo>
                    <a:pt x="1155" y="2451"/>
                    <a:pt x="1727" y="2158"/>
                    <a:pt x="2311" y="1904"/>
                  </a:cubicBezTo>
                  <a:cubicBezTo>
                    <a:pt x="6222" y="139"/>
                    <a:pt x="10693" y="0"/>
                    <a:pt x="14706" y="1536"/>
                  </a:cubicBezTo>
                  <a:cubicBezTo>
                    <a:pt x="15316" y="1752"/>
                    <a:pt x="15900" y="2006"/>
                    <a:pt x="16471" y="229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7" name="Free Form 3171">
              <a:extLst>
                <a:ext uri="{FF2B5EF4-FFF2-40B4-BE49-F238E27FC236}">
                  <a16:creationId xmlns:a16="http://schemas.microsoft.com/office/drawing/2014/main" id="{3ABD6FC9-51EA-E4E4-9C2E-7FF1574ADD2E}"/>
                </a:ext>
              </a:extLst>
            </p:cNvPr>
            <p:cNvSpPr/>
            <p:nvPr/>
          </p:nvSpPr>
          <p:spPr>
            <a:xfrm>
              <a:off x="24741939" y="29811029"/>
              <a:ext cx="91985" cy="91414"/>
            </a:xfrm>
            <a:custGeom>
              <a:avLst/>
              <a:gdLst/>
              <a:ahLst/>
              <a:cxnLst/>
              <a:rect l="0" t="0" r="0" b="0"/>
              <a:pathLst>
                <a:path w="91985" h="91413">
                  <a:moveTo>
                    <a:pt x="0" y="0"/>
                  </a:moveTo>
                  <a:cubicBezTo>
                    <a:pt x="0" y="0"/>
                    <a:pt x="596" y="70065"/>
                    <a:pt x="4140" y="91413"/>
                  </a:cubicBezTo>
                  <a:lnTo>
                    <a:pt x="91985" y="87273"/>
                  </a:lnTo>
                  <a:cubicBezTo>
                    <a:pt x="91985" y="87273"/>
                    <a:pt x="84289" y="18427"/>
                    <a:pt x="87248" y="0"/>
                  </a:cubicBez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8" name="Free Form 3172">
              <a:extLst>
                <a:ext uri="{FF2B5EF4-FFF2-40B4-BE49-F238E27FC236}">
                  <a16:creationId xmlns:a16="http://schemas.microsoft.com/office/drawing/2014/main" id="{1D49E588-94C2-2807-D910-E836DE84B860}"/>
                </a:ext>
              </a:extLst>
            </p:cNvPr>
            <p:cNvSpPr/>
            <p:nvPr/>
          </p:nvSpPr>
          <p:spPr>
            <a:xfrm>
              <a:off x="24756987" y="29839989"/>
              <a:ext cx="58965" cy="4280"/>
            </a:xfrm>
            <a:custGeom>
              <a:avLst/>
              <a:gdLst/>
              <a:ahLst/>
              <a:cxnLst/>
              <a:rect l="0" t="0" r="0" b="0"/>
              <a:pathLst>
                <a:path w="58965" h="4279">
                  <a:moveTo>
                    <a:pt x="58965" y="482"/>
                  </a:moveTo>
                  <a:cubicBezTo>
                    <a:pt x="58965" y="965"/>
                    <a:pt x="45821" y="2133"/>
                    <a:pt x="29527" y="3124"/>
                  </a:cubicBezTo>
                  <a:cubicBezTo>
                    <a:pt x="19710" y="3975"/>
                    <a:pt x="9855" y="4279"/>
                    <a:pt x="0" y="4025"/>
                  </a:cubicBezTo>
                  <a:cubicBezTo>
                    <a:pt x="0" y="3543"/>
                    <a:pt x="13144" y="2362"/>
                    <a:pt x="29438" y="1396"/>
                  </a:cubicBezTo>
                  <a:cubicBezTo>
                    <a:pt x="45732" y="419"/>
                    <a:pt x="58940" y="0"/>
                    <a:pt x="58965" y="4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9" name="Free Form 3173">
              <a:extLst>
                <a:ext uri="{FF2B5EF4-FFF2-40B4-BE49-F238E27FC236}">
                  <a16:creationId xmlns:a16="http://schemas.microsoft.com/office/drawing/2014/main" id="{A76A2036-76BA-9CAB-E060-AA71175C1F4F}"/>
                </a:ext>
              </a:extLst>
            </p:cNvPr>
            <p:cNvSpPr/>
            <p:nvPr/>
          </p:nvSpPr>
          <p:spPr>
            <a:xfrm>
              <a:off x="24757015" y="29855121"/>
              <a:ext cx="58965" cy="4292"/>
            </a:xfrm>
            <a:custGeom>
              <a:avLst/>
              <a:gdLst/>
              <a:ahLst/>
              <a:cxnLst/>
              <a:rect l="0" t="0" r="0" b="0"/>
              <a:pathLst>
                <a:path w="58965" h="4292">
                  <a:moveTo>
                    <a:pt x="58965" y="253"/>
                  </a:moveTo>
                  <a:cubicBezTo>
                    <a:pt x="58965" y="736"/>
                    <a:pt x="45821" y="1930"/>
                    <a:pt x="29527" y="2895"/>
                  </a:cubicBezTo>
                  <a:cubicBezTo>
                    <a:pt x="13233" y="3860"/>
                    <a:pt x="25" y="4292"/>
                    <a:pt x="0" y="3797"/>
                  </a:cubicBezTo>
                  <a:cubicBezTo>
                    <a:pt x="9753" y="2374"/>
                    <a:pt x="19583" y="1498"/>
                    <a:pt x="29438" y="1193"/>
                  </a:cubicBezTo>
                  <a:cubicBezTo>
                    <a:pt x="39255" y="317"/>
                    <a:pt x="49110" y="0"/>
                    <a:pt x="58965" y="25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0" name="Free Form 3174">
              <a:extLst>
                <a:ext uri="{FF2B5EF4-FFF2-40B4-BE49-F238E27FC236}">
                  <a16:creationId xmlns:a16="http://schemas.microsoft.com/office/drawing/2014/main" id="{3D37BC61-8A3C-9CC1-C194-AA4F7BAF9B5C}"/>
                </a:ext>
              </a:extLst>
            </p:cNvPr>
            <p:cNvSpPr/>
            <p:nvPr/>
          </p:nvSpPr>
          <p:spPr>
            <a:xfrm>
              <a:off x="24767457" y="29869360"/>
              <a:ext cx="33591" cy="3048"/>
            </a:xfrm>
            <a:custGeom>
              <a:avLst/>
              <a:gdLst/>
              <a:ahLst/>
              <a:cxnLst/>
              <a:rect l="0" t="0" r="0" b="0"/>
              <a:pathLst>
                <a:path w="33591" h="3047">
                  <a:moveTo>
                    <a:pt x="33591" y="495"/>
                  </a:moveTo>
                  <a:cubicBezTo>
                    <a:pt x="33591" y="977"/>
                    <a:pt x="26123" y="1828"/>
                    <a:pt x="16840" y="2374"/>
                  </a:cubicBezTo>
                  <a:cubicBezTo>
                    <a:pt x="11252" y="2984"/>
                    <a:pt x="5613" y="3047"/>
                    <a:pt x="0" y="2539"/>
                  </a:cubicBezTo>
                  <a:cubicBezTo>
                    <a:pt x="0" y="2057"/>
                    <a:pt x="7467" y="1206"/>
                    <a:pt x="16725" y="660"/>
                  </a:cubicBezTo>
                  <a:cubicBezTo>
                    <a:pt x="22326" y="50"/>
                    <a:pt x="27977" y="0"/>
                    <a:pt x="33591" y="49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1" name="Free Form 3175">
              <a:extLst>
                <a:ext uri="{FF2B5EF4-FFF2-40B4-BE49-F238E27FC236}">
                  <a16:creationId xmlns:a16="http://schemas.microsoft.com/office/drawing/2014/main" id="{B2CE6926-D11B-6E2E-7D4B-2DA990DE2D35}"/>
                </a:ext>
              </a:extLst>
            </p:cNvPr>
            <p:cNvSpPr/>
            <p:nvPr/>
          </p:nvSpPr>
          <p:spPr>
            <a:xfrm>
              <a:off x="24737849" y="30017203"/>
              <a:ext cx="92011" cy="91413"/>
            </a:xfrm>
            <a:custGeom>
              <a:avLst/>
              <a:gdLst/>
              <a:ahLst/>
              <a:cxnLst/>
              <a:rect l="0" t="0" r="0" b="0"/>
              <a:pathLst>
                <a:path w="92010" h="91413">
                  <a:moveTo>
                    <a:pt x="0" y="0"/>
                  </a:moveTo>
                  <a:cubicBezTo>
                    <a:pt x="0" y="0"/>
                    <a:pt x="596" y="70039"/>
                    <a:pt x="4178" y="91413"/>
                  </a:cubicBezTo>
                  <a:lnTo>
                    <a:pt x="92010" y="87273"/>
                  </a:lnTo>
                  <a:cubicBezTo>
                    <a:pt x="92010" y="87273"/>
                    <a:pt x="84212" y="18313"/>
                    <a:pt x="87184" y="0"/>
                  </a:cubicBez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2" name="Free Form 3176">
              <a:extLst>
                <a:ext uri="{FF2B5EF4-FFF2-40B4-BE49-F238E27FC236}">
                  <a16:creationId xmlns:a16="http://schemas.microsoft.com/office/drawing/2014/main" id="{CD1C7FC4-243F-61BE-01B5-C573E7120386}"/>
                </a:ext>
              </a:extLst>
            </p:cNvPr>
            <p:cNvSpPr/>
            <p:nvPr/>
          </p:nvSpPr>
          <p:spPr>
            <a:xfrm>
              <a:off x="24752726" y="30046277"/>
              <a:ext cx="58940" cy="4279"/>
            </a:xfrm>
            <a:custGeom>
              <a:avLst/>
              <a:gdLst/>
              <a:ahLst/>
              <a:cxnLst/>
              <a:rect l="0" t="0" r="0" b="0"/>
              <a:pathLst>
                <a:path w="58940" h="4279">
                  <a:moveTo>
                    <a:pt x="58940" y="253"/>
                  </a:moveTo>
                  <a:cubicBezTo>
                    <a:pt x="58940" y="736"/>
                    <a:pt x="45795" y="1930"/>
                    <a:pt x="29527" y="2895"/>
                  </a:cubicBezTo>
                  <a:cubicBezTo>
                    <a:pt x="13258" y="3860"/>
                    <a:pt x="25" y="4279"/>
                    <a:pt x="0" y="3797"/>
                  </a:cubicBezTo>
                  <a:cubicBezTo>
                    <a:pt x="9740" y="2374"/>
                    <a:pt x="19570" y="1498"/>
                    <a:pt x="29412" y="1193"/>
                  </a:cubicBezTo>
                  <a:cubicBezTo>
                    <a:pt x="39229" y="317"/>
                    <a:pt x="49084" y="0"/>
                    <a:pt x="58940" y="25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3" name="Free Form 3177">
              <a:extLst>
                <a:ext uri="{FF2B5EF4-FFF2-40B4-BE49-F238E27FC236}">
                  <a16:creationId xmlns:a16="http://schemas.microsoft.com/office/drawing/2014/main" id="{FC547971-894E-3F49-3C15-6FD9FA2797E1}"/>
                </a:ext>
              </a:extLst>
            </p:cNvPr>
            <p:cNvSpPr/>
            <p:nvPr/>
          </p:nvSpPr>
          <p:spPr>
            <a:xfrm>
              <a:off x="24752842" y="30060895"/>
              <a:ext cx="58965" cy="4521"/>
            </a:xfrm>
            <a:custGeom>
              <a:avLst/>
              <a:gdLst/>
              <a:ahLst/>
              <a:cxnLst/>
              <a:rect l="0" t="0" r="0" b="0"/>
              <a:pathLst>
                <a:path w="58965" h="4521">
                  <a:moveTo>
                    <a:pt x="58965" y="482"/>
                  </a:moveTo>
                  <a:cubicBezTo>
                    <a:pt x="58965" y="965"/>
                    <a:pt x="45821" y="2133"/>
                    <a:pt x="29552" y="3124"/>
                  </a:cubicBezTo>
                  <a:cubicBezTo>
                    <a:pt x="13284" y="4114"/>
                    <a:pt x="50" y="4521"/>
                    <a:pt x="25" y="4038"/>
                  </a:cubicBezTo>
                  <a:cubicBezTo>
                    <a:pt x="0" y="3543"/>
                    <a:pt x="13169" y="2387"/>
                    <a:pt x="29438" y="1396"/>
                  </a:cubicBezTo>
                  <a:cubicBezTo>
                    <a:pt x="45706" y="393"/>
                    <a:pt x="58825" y="0"/>
                    <a:pt x="58965" y="4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4" name="Free Form 3178">
              <a:extLst>
                <a:ext uri="{FF2B5EF4-FFF2-40B4-BE49-F238E27FC236}">
                  <a16:creationId xmlns:a16="http://schemas.microsoft.com/office/drawing/2014/main" id="{762EA3CB-9087-D1C1-2D17-E797AF4583FF}"/>
                </a:ext>
              </a:extLst>
            </p:cNvPr>
            <p:cNvSpPr/>
            <p:nvPr/>
          </p:nvSpPr>
          <p:spPr>
            <a:xfrm>
              <a:off x="24763283" y="30075460"/>
              <a:ext cx="33592" cy="2984"/>
            </a:xfrm>
            <a:custGeom>
              <a:avLst/>
              <a:gdLst/>
              <a:ahLst/>
              <a:cxnLst/>
              <a:rect l="0" t="0" r="0" b="0"/>
              <a:pathLst>
                <a:path w="33591" h="2984">
                  <a:moveTo>
                    <a:pt x="33591" y="482"/>
                  </a:moveTo>
                  <a:cubicBezTo>
                    <a:pt x="33591" y="965"/>
                    <a:pt x="26123" y="1790"/>
                    <a:pt x="16865" y="2362"/>
                  </a:cubicBezTo>
                  <a:cubicBezTo>
                    <a:pt x="7607" y="2920"/>
                    <a:pt x="38" y="2984"/>
                    <a:pt x="0" y="2501"/>
                  </a:cubicBezTo>
                  <a:cubicBezTo>
                    <a:pt x="5511" y="1320"/>
                    <a:pt x="11125" y="698"/>
                    <a:pt x="16751" y="622"/>
                  </a:cubicBezTo>
                  <a:cubicBezTo>
                    <a:pt x="26034" y="88"/>
                    <a:pt x="33565" y="0"/>
                    <a:pt x="33591" y="4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5" name="Free Form 3179">
              <a:extLst>
                <a:ext uri="{FF2B5EF4-FFF2-40B4-BE49-F238E27FC236}">
                  <a16:creationId xmlns:a16="http://schemas.microsoft.com/office/drawing/2014/main" id="{559AD8C7-032E-EE23-0315-0C2F221F80EE}"/>
                </a:ext>
              </a:extLst>
            </p:cNvPr>
            <p:cNvSpPr/>
            <p:nvPr/>
          </p:nvSpPr>
          <p:spPr>
            <a:xfrm>
              <a:off x="24977864" y="29829598"/>
              <a:ext cx="260906" cy="205090"/>
            </a:xfrm>
            <a:custGeom>
              <a:avLst/>
              <a:gdLst/>
              <a:ahLst/>
              <a:cxnLst/>
              <a:rect l="0" t="0" r="0" b="0"/>
              <a:pathLst>
                <a:path w="260906" h="205090">
                  <a:moveTo>
                    <a:pt x="0" y="0"/>
                  </a:moveTo>
                  <a:lnTo>
                    <a:pt x="8686" y="202054"/>
                  </a:lnTo>
                  <a:lnTo>
                    <a:pt x="260906" y="205090"/>
                  </a:lnTo>
                  <a:lnTo>
                    <a:pt x="249577" y="2666"/>
                  </a:ln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6" name="Rectangle 3180">
              <a:extLst>
                <a:ext uri="{FF2B5EF4-FFF2-40B4-BE49-F238E27FC236}">
                  <a16:creationId xmlns:a16="http://schemas.microsoft.com/office/drawing/2014/main" id="{7864DE51-DBCB-E2C4-61E3-07F36732F399}"/>
                </a:ext>
              </a:extLst>
            </p:cNvPr>
            <p:cNvSpPr/>
            <p:nvPr/>
          </p:nvSpPr>
          <p:spPr>
            <a:xfrm>
              <a:off x="24974938" y="29728696"/>
              <a:ext cx="250516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7" name="Free Form 3181">
              <a:extLst>
                <a:ext uri="{FF2B5EF4-FFF2-40B4-BE49-F238E27FC236}">
                  <a16:creationId xmlns:a16="http://schemas.microsoft.com/office/drawing/2014/main" id="{71B837ED-4C6C-D63B-8574-56B51956CE4E}"/>
                </a:ext>
              </a:extLst>
            </p:cNvPr>
            <p:cNvSpPr/>
            <p:nvPr/>
          </p:nvSpPr>
          <p:spPr>
            <a:xfrm>
              <a:off x="24974548" y="29826922"/>
              <a:ext cx="251623" cy="190815"/>
            </a:xfrm>
            <a:custGeom>
              <a:avLst/>
              <a:gdLst/>
              <a:ahLst/>
              <a:cxnLst/>
              <a:rect l="0" t="0" r="0" b="0"/>
              <a:pathLst>
                <a:path w="251622" h="190815">
                  <a:moveTo>
                    <a:pt x="250911" y="190421"/>
                  </a:moveTo>
                  <a:lnTo>
                    <a:pt x="250911" y="186903"/>
                  </a:lnTo>
                  <a:lnTo>
                    <a:pt x="250911" y="176820"/>
                  </a:lnTo>
                  <a:cubicBezTo>
                    <a:pt x="250911" y="167930"/>
                    <a:pt x="250911" y="155014"/>
                    <a:pt x="250708" y="138530"/>
                  </a:cubicBezTo>
                  <a:cubicBezTo>
                    <a:pt x="250708" y="105535"/>
                    <a:pt x="250517" y="58343"/>
                    <a:pt x="250339" y="1231"/>
                  </a:cubicBezTo>
                  <a:lnTo>
                    <a:pt x="251050" y="1943"/>
                  </a:lnTo>
                  <a:lnTo>
                    <a:pt x="558" y="2108"/>
                  </a:lnTo>
                  <a:lnTo>
                    <a:pt x="1409" y="1231"/>
                  </a:lnTo>
                  <a:lnTo>
                    <a:pt x="1409" y="190421"/>
                  </a:lnTo>
                  <a:lnTo>
                    <a:pt x="647" y="189634"/>
                  </a:lnTo>
                  <a:lnTo>
                    <a:pt x="181354" y="190028"/>
                  </a:lnTo>
                  <a:lnTo>
                    <a:pt x="232737" y="190218"/>
                  </a:lnTo>
                  <a:lnTo>
                    <a:pt x="246428" y="190218"/>
                  </a:lnTo>
                  <a:lnTo>
                    <a:pt x="249946" y="190218"/>
                  </a:lnTo>
                  <a:lnTo>
                    <a:pt x="251165" y="190218"/>
                  </a:lnTo>
                  <a:lnTo>
                    <a:pt x="250034" y="190218"/>
                  </a:lnTo>
                  <a:lnTo>
                    <a:pt x="246593" y="190218"/>
                  </a:lnTo>
                  <a:lnTo>
                    <a:pt x="233080" y="190218"/>
                  </a:lnTo>
                  <a:lnTo>
                    <a:pt x="181976" y="190421"/>
                  </a:lnTo>
                  <a:lnTo>
                    <a:pt x="761" y="190815"/>
                  </a:lnTo>
                  <a:lnTo>
                    <a:pt x="0" y="190815"/>
                  </a:lnTo>
                  <a:lnTo>
                    <a:pt x="0" y="190053"/>
                  </a:lnTo>
                  <a:lnTo>
                    <a:pt x="0" y="863"/>
                  </a:lnTo>
                  <a:lnTo>
                    <a:pt x="0" y="0"/>
                  </a:lnTo>
                  <a:lnTo>
                    <a:pt x="876" y="0"/>
                  </a:lnTo>
                  <a:lnTo>
                    <a:pt x="251368" y="0"/>
                  </a:lnTo>
                  <a:lnTo>
                    <a:pt x="251622" y="0"/>
                  </a:lnTo>
                  <a:lnTo>
                    <a:pt x="251622" y="685"/>
                  </a:lnTo>
                  <a:cubicBezTo>
                    <a:pt x="251482" y="57974"/>
                    <a:pt x="251330" y="105332"/>
                    <a:pt x="251254" y="138441"/>
                  </a:cubicBezTo>
                  <a:cubicBezTo>
                    <a:pt x="251254" y="154849"/>
                    <a:pt x="251114" y="167714"/>
                    <a:pt x="251076" y="176566"/>
                  </a:cubicBezTo>
                  <a:lnTo>
                    <a:pt x="251076" y="186510"/>
                  </a:lnTo>
                  <a:cubicBezTo>
                    <a:pt x="251076" y="188808"/>
                    <a:pt x="250911" y="190421"/>
                    <a:pt x="250911" y="19042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8" name="Rectangle 3182">
              <a:extLst>
                <a:ext uri="{FF2B5EF4-FFF2-40B4-BE49-F238E27FC236}">
                  <a16:creationId xmlns:a16="http://schemas.microsoft.com/office/drawing/2014/main" id="{72DF82EA-7437-6537-28E7-5A658F5C7EA4}"/>
                </a:ext>
              </a:extLst>
            </p:cNvPr>
            <p:cNvSpPr/>
            <p:nvPr/>
          </p:nvSpPr>
          <p:spPr>
            <a:xfrm>
              <a:off x="25005150" y="29738100"/>
              <a:ext cx="101548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9" name="Free Form 3183">
              <a:extLst>
                <a:ext uri="{FF2B5EF4-FFF2-40B4-BE49-F238E27FC236}">
                  <a16:creationId xmlns:a16="http://schemas.microsoft.com/office/drawing/2014/main" id="{FADE66A4-3552-AB61-EC1A-7D21CCC6A380}"/>
                </a:ext>
              </a:extLst>
            </p:cNvPr>
            <p:cNvSpPr/>
            <p:nvPr/>
          </p:nvSpPr>
          <p:spPr>
            <a:xfrm>
              <a:off x="25004013" y="29867212"/>
              <a:ext cx="103961" cy="129094"/>
            </a:xfrm>
            <a:custGeom>
              <a:avLst/>
              <a:gdLst/>
              <a:ahLst/>
              <a:cxnLst/>
              <a:rect l="0" t="0" r="0" b="0"/>
              <a:pathLst>
                <a:path w="103961" h="129094">
                  <a:moveTo>
                    <a:pt x="102716" y="128840"/>
                  </a:moveTo>
                  <a:cubicBezTo>
                    <a:pt x="102691" y="128624"/>
                    <a:pt x="102691" y="128408"/>
                    <a:pt x="102716" y="128179"/>
                  </a:cubicBezTo>
                  <a:lnTo>
                    <a:pt x="102716" y="126363"/>
                  </a:lnTo>
                  <a:lnTo>
                    <a:pt x="102716" y="119378"/>
                  </a:lnTo>
                  <a:cubicBezTo>
                    <a:pt x="102716" y="113219"/>
                    <a:pt x="102716" y="104342"/>
                    <a:pt x="102513" y="93153"/>
                  </a:cubicBezTo>
                  <a:cubicBezTo>
                    <a:pt x="102513" y="70662"/>
                    <a:pt x="102284" y="38836"/>
                    <a:pt x="102119" y="1028"/>
                  </a:cubicBezTo>
                  <a:lnTo>
                    <a:pt x="102919" y="1790"/>
                  </a:lnTo>
                  <a:lnTo>
                    <a:pt x="1358" y="1790"/>
                  </a:lnTo>
                  <a:cubicBezTo>
                    <a:pt x="1168" y="1993"/>
                    <a:pt x="2984" y="177"/>
                    <a:pt x="2209" y="965"/>
                  </a:cubicBezTo>
                  <a:lnTo>
                    <a:pt x="2209" y="18491"/>
                  </a:lnTo>
                  <a:lnTo>
                    <a:pt x="2209" y="35712"/>
                  </a:lnTo>
                  <a:lnTo>
                    <a:pt x="2209" y="68884"/>
                  </a:lnTo>
                  <a:lnTo>
                    <a:pt x="2209" y="128725"/>
                  </a:lnTo>
                  <a:lnTo>
                    <a:pt x="1473" y="128014"/>
                  </a:lnTo>
                  <a:lnTo>
                    <a:pt x="75005" y="128382"/>
                  </a:lnTo>
                  <a:lnTo>
                    <a:pt x="95642" y="128560"/>
                  </a:lnTo>
                  <a:lnTo>
                    <a:pt x="101129" y="128560"/>
                  </a:lnTo>
                  <a:lnTo>
                    <a:pt x="103059" y="128560"/>
                  </a:lnTo>
                  <a:cubicBezTo>
                    <a:pt x="102462" y="128598"/>
                    <a:pt x="101865" y="128598"/>
                    <a:pt x="101268" y="128560"/>
                  </a:cubicBezTo>
                  <a:lnTo>
                    <a:pt x="95934" y="128560"/>
                  </a:lnTo>
                  <a:lnTo>
                    <a:pt x="75462" y="128725"/>
                  </a:lnTo>
                  <a:lnTo>
                    <a:pt x="1473" y="129094"/>
                  </a:lnTo>
                  <a:lnTo>
                    <a:pt x="761" y="129094"/>
                  </a:lnTo>
                  <a:lnTo>
                    <a:pt x="761" y="128382"/>
                  </a:lnTo>
                  <a:lnTo>
                    <a:pt x="761" y="68541"/>
                  </a:lnTo>
                  <a:lnTo>
                    <a:pt x="761" y="35381"/>
                  </a:lnTo>
                  <a:lnTo>
                    <a:pt x="761" y="1079"/>
                  </a:lnTo>
                  <a:cubicBezTo>
                    <a:pt x="0" y="1841"/>
                    <a:pt x="1816" y="0"/>
                    <a:pt x="1650" y="203"/>
                  </a:cubicBezTo>
                  <a:lnTo>
                    <a:pt x="103199" y="203"/>
                  </a:lnTo>
                  <a:lnTo>
                    <a:pt x="103961" y="203"/>
                  </a:lnTo>
                  <a:lnTo>
                    <a:pt x="103961" y="965"/>
                  </a:lnTo>
                  <a:cubicBezTo>
                    <a:pt x="103795" y="38988"/>
                    <a:pt x="103681" y="70979"/>
                    <a:pt x="103567" y="93610"/>
                  </a:cubicBezTo>
                  <a:cubicBezTo>
                    <a:pt x="103567" y="104710"/>
                    <a:pt x="103427" y="113485"/>
                    <a:pt x="103364" y="119670"/>
                  </a:cubicBezTo>
                  <a:lnTo>
                    <a:pt x="103364" y="126477"/>
                  </a:lnTo>
                  <a:lnTo>
                    <a:pt x="103364" y="128217"/>
                  </a:lnTo>
                  <a:cubicBezTo>
                    <a:pt x="103173" y="128446"/>
                    <a:pt x="102957" y="128662"/>
                    <a:pt x="102716" y="12884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0" name="Rectangle 3184">
              <a:extLst>
                <a:ext uri="{FF2B5EF4-FFF2-40B4-BE49-F238E27FC236}">
                  <a16:creationId xmlns:a16="http://schemas.microsoft.com/office/drawing/2014/main" id="{C8B24C48-A3C4-A213-CD6E-C8BD7F34C815}"/>
                </a:ext>
              </a:extLst>
            </p:cNvPr>
            <p:cNvSpPr/>
            <p:nvPr/>
          </p:nvSpPr>
          <p:spPr>
            <a:xfrm>
              <a:off x="25009037" y="29654172"/>
              <a:ext cx="194651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1" name="Free Form 3185">
              <a:extLst>
                <a:ext uri="{FF2B5EF4-FFF2-40B4-BE49-F238E27FC236}">
                  <a16:creationId xmlns:a16="http://schemas.microsoft.com/office/drawing/2014/main" id="{E99E9C10-79C7-72BF-5B14-0A45850FFA86}"/>
                </a:ext>
              </a:extLst>
            </p:cNvPr>
            <p:cNvSpPr/>
            <p:nvPr/>
          </p:nvSpPr>
          <p:spPr>
            <a:xfrm>
              <a:off x="25008332" y="29837660"/>
              <a:ext cx="195807" cy="20078"/>
            </a:xfrm>
            <a:custGeom>
              <a:avLst/>
              <a:gdLst/>
              <a:ahLst/>
              <a:cxnLst/>
              <a:rect l="0" t="0" r="0" b="0"/>
              <a:pathLst>
                <a:path w="195806" h="20078">
                  <a:moveTo>
                    <a:pt x="195349" y="19760"/>
                  </a:moveTo>
                  <a:cubicBezTo>
                    <a:pt x="195311" y="19341"/>
                    <a:pt x="195311" y="18910"/>
                    <a:pt x="195349" y="18478"/>
                  </a:cubicBezTo>
                  <a:lnTo>
                    <a:pt x="195349" y="14909"/>
                  </a:lnTo>
                  <a:cubicBezTo>
                    <a:pt x="195349" y="11721"/>
                    <a:pt x="195349" y="7188"/>
                    <a:pt x="195146" y="1333"/>
                  </a:cubicBezTo>
                  <a:lnTo>
                    <a:pt x="195489" y="1676"/>
                  </a:lnTo>
                  <a:cubicBezTo>
                    <a:pt x="162672" y="1993"/>
                    <a:pt x="87857" y="2184"/>
                    <a:pt x="876" y="2184"/>
                  </a:cubicBezTo>
                  <a:lnTo>
                    <a:pt x="1752" y="1333"/>
                  </a:lnTo>
                  <a:lnTo>
                    <a:pt x="1752" y="19697"/>
                  </a:lnTo>
                  <a:lnTo>
                    <a:pt x="876" y="18821"/>
                  </a:lnTo>
                  <a:lnTo>
                    <a:pt x="138847" y="19189"/>
                  </a:lnTo>
                  <a:lnTo>
                    <a:pt x="180249" y="19443"/>
                  </a:lnTo>
                  <a:lnTo>
                    <a:pt x="191602" y="19443"/>
                  </a:lnTo>
                  <a:lnTo>
                    <a:pt x="194434" y="19443"/>
                  </a:lnTo>
                  <a:lnTo>
                    <a:pt x="195489" y="19443"/>
                  </a:lnTo>
                  <a:lnTo>
                    <a:pt x="194561" y="19443"/>
                  </a:lnTo>
                  <a:lnTo>
                    <a:pt x="191717" y="19443"/>
                  </a:lnTo>
                  <a:lnTo>
                    <a:pt x="180642" y="19443"/>
                  </a:lnTo>
                  <a:lnTo>
                    <a:pt x="139444" y="19697"/>
                  </a:lnTo>
                  <a:lnTo>
                    <a:pt x="850" y="20078"/>
                  </a:lnTo>
                  <a:lnTo>
                    <a:pt x="0" y="20078"/>
                  </a:lnTo>
                  <a:lnTo>
                    <a:pt x="0" y="850"/>
                  </a:lnTo>
                  <a:lnTo>
                    <a:pt x="850" y="0"/>
                  </a:lnTo>
                  <a:cubicBezTo>
                    <a:pt x="87832" y="0"/>
                    <a:pt x="162672" y="203"/>
                    <a:pt x="195463" y="507"/>
                  </a:cubicBezTo>
                  <a:lnTo>
                    <a:pt x="195806" y="507"/>
                  </a:lnTo>
                  <a:lnTo>
                    <a:pt x="195806" y="850"/>
                  </a:lnTo>
                  <a:cubicBezTo>
                    <a:pt x="195806" y="6781"/>
                    <a:pt x="195806" y="11379"/>
                    <a:pt x="195603" y="14617"/>
                  </a:cubicBezTo>
                  <a:lnTo>
                    <a:pt x="195603" y="18148"/>
                  </a:lnTo>
                  <a:cubicBezTo>
                    <a:pt x="195577" y="18694"/>
                    <a:pt x="195489" y="19227"/>
                    <a:pt x="195349" y="197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2" name="Rectangle 3186">
              <a:extLst>
                <a:ext uri="{FF2B5EF4-FFF2-40B4-BE49-F238E27FC236}">
                  <a16:creationId xmlns:a16="http://schemas.microsoft.com/office/drawing/2014/main" id="{BC9C985C-C08F-92C5-01B9-4DF2EDAC309C}"/>
                </a:ext>
              </a:extLst>
            </p:cNvPr>
            <p:cNvSpPr/>
            <p:nvPr/>
          </p:nvSpPr>
          <p:spPr>
            <a:xfrm>
              <a:off x="25119171" y="29712706"/>
              <a:ext cx="84519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3" name="Free Form 3187">
              <a:extLst>
                <a:ext uri="{FF2B5EF4-FFF2-40B4-BE49-F238E27FC236}">
                  <a16:creationId xmlns:a16="http://schemas.microsoft.com/office/drawing/2014/main" id="{B516672F-5179-D567-78AC-118D9CC4235C}"/>
                </a:ext>
              </a:extLst>
            </p:cNvPr>
            <p:cNvSpPr/>
            <p:nvPr/>
          </p:nvSpPr>
          <p:spPr>
            <a:xfrm>
              <a:off x="25117513" y="29866699"/>
              <a:ext cx="86905" cy="78816"/>
            </a:xfrm>
            <a:custGeom>
              <a:avLst/>
              <a:gdLst/>
              <a:ahLst/>
              <a:cxnLst/>
              <a:rect l="0" t="0" r="0" b="0"/>
              <a:pathLst>
                <a:path w="86905" h="78815">
                  <a:moveTo>
                    <a:pt x="86168" y="78561"/>
                  </a:moveTo>
                  <a:cubicBezTo>
                    <a:pt x="86130" y="78066"/>
                    <a:pt x="86130" y="77570"/>
                    <a:pt x="86168" y="77088"/>
                  </a:cubicBezTo>
                  <a:lnTo>
                    <a:pt x="86168" y="72909"/>
                  </a:lnTo>
                  <a:cubicBezTo>
                    <a:pt x="86168" y="69138"/>
                    <a:pt x="86168" y="63854"/>
                    <a:pt x="85965" y="57212"/>
                  </a:cubicBezTo>
                  <a:cubicBezTo>
                    <a:pt x="85965" y="43636"/>
                    <a:pt x="85774" y="24510"/>
                    <a:pt x="85597" y="1536"/>
                  </a:cubicBezTo>
                  <a:lnTo>
                    <a:pt x="86333" y="2273"/>
                  </a:lnTo>
                  <a:lnTo>
                    <a:pt x="1816" y="2273"/>
                  </a:lnTo>
                  <a:lnTo>
                    <a:pt x="2666" y="1422"/>
                  </a:lnTo>
                  <a:lnTo>
                    <a:pt x="2666" y="22097"/>
                  </a:lnTo>
                  <a:lnTo>
                    <a:pt x="2666" y="41960"/>
                  </a:lnTo>
                  <a:lnTo>
                    <a:pt x="2666" y="78421"/>
                  </a:lnTo>
                  <a:lnTo>
                    <a:pt x="1930" y="77685"/>
                  </a:lnTo>
                  <a:lnTo>
                    <a:pt x="62889" y="78053"/>
                  </a:lnTo>
                  <a:lnTo>
                    <a:pt x="80212" y="78243"/>
                  </a:lnTo>
                  <a:lnTo>
                    <a:pt x="84809" y="78243"/>
                  </a:lnTo>
                  <a:lnTo>
                    <a:pt x="86447" y="78243"/>
                  </a:lnTo>
                  <a:cubicBezTo>
                    <a:pt x="85965" y="78294"/>
                    <a:pt x="85470" y="78294"/>
                    <a:pt x="84974" y="78243"/>
                  </a:cubicBezTo>
                  <a:lnTo>
                    <a:pt x="80517" y="78243"/>
                  </a:lnTo>
                  <a:lnTo>
                    <a:pt x="63486" y="78447"/>
                  </a:lnTo>
                  <a:lnTo>
                    <a:pt x="2044" y="78815"/>
                  </a:lnTo>
                  <a:lnTo>
                    <a:pt x="774" y="78815"/>
                  </a:lnTo>
                  <a:lnTo>
                    <a:pt x="774" y="78053"/>
                  </a:lnTo>
                  <a:lnTo>
                    <a:pt x="774" y="41592"/>
                  </a:lnTo>
                  <a:lnTo>
                    <a:pt x="774" y="21729"/>
                  </a:lnTo>
                  <a:lnTo>
                    <a:pt x="774" y="1054"/>
                  </a:lnTo>
                  <a:cubicBezTo>
                    <a:pt x="0" y="1816"/>
                    <a:pt x="1816" y="0"/>
                    <a:pt x="1650" y="203"/>
                  </a:cubicBezTo>
                  <a:lnTo>
                    <a:pt x="86168" y="203"/>
                  </a:lnTo>
                  <a:lnTo>
                    <a:pt x="86905" y="203"/>
                  </a:lnTo>
                  <a:lnTo>
                    <a:pt x="86905" y="939"/>
                  </a:lnTo>
                  <a:cubicBezTo>
                    <a:pt x="86740" y="24104"/>
                    <a:pt x="86625" y="43522"/>
                    <a:pt x="86536" y="57073"/>
                  </a:cubicBezTo>
                  <a:cubicBezTo>
                    <a:pt x="86536" y="63651"/>
                    <a:pt x="86371" y="68884"/>
                    <a:pt x="86333" y="72605"/>
                  </a:cubicBezTo>
                  <a:lnTo>
                    <a:pt x="86333" y="76656"/>
                  </a:lnTo>
                  <a:cubicBezTo>
                    <a:pt x="86371" y="77304"/>
                    <a:pt x="86308" y="77939"/>
                    <a:pt x="86168" y="7856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4" name="Rectangle 3188">
              <a:extLst>
                <a:ext uri="{FF2B5EF4-FFF2-40B4-BE49-F238E27FC236}">
                  <a16:creationId xmlns:a16="http://schemas.microsoft.com/office/drawing/2014/main" id="{D89FF686-3467-B75D-6063-B93B841C7D89}"/>
                </a:ext>
              </a:extLst>
            </p:cNvPr>
            <p:cNvSpPr/>
            <p:nvPr/>
          </p:nvSpPr>
          <p:spPr>
            <a:xfrm>
              <a:off x="25119171" y="29782670"/>
              <a:ext cx="84519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5" name="Free Form 3189">
              <a:extLst>
                <a:ext uri="{FF2B5EF4-FFF2-40B4-BE49-F238E27FC236}">
                  <a16:creationId xmlns:a16="http://schemas.microsoft.com/office/drawing/2014/main" id="{F2C5538D-300B-DD05-D8DE-19CA8678DA70}"/>
                </a:ext>
              </a:extLst>
            </p:cNvPr>
            <p:cNvSpPr/>
            <p:nvPr/>
          </p:nvSpPr>
          <p:spPr>
            <a:xfrm>
              <a:off x="25118288" y="29956048"/>
              <a:ext cx="86016" cy="40347"/>
            </a:xfrm>
            <a:custGeom>
              <a:avLst/>
              <a:gdLst/>
              <a:ahLst/>
              <a:cxnLst/>
              <a:rect l="0" t="0" r="0" b="0"/>
              <a:pathLst>
                <a:path w="86016" h="40347">
                  <a:moveTo>
                    <a:pt x="85393" y="40004"/>
                  </a:moveTo>
                  <a:cubicBezTo>
                    <a:pt x="85292" y="39064"/>
                    <a:pt x="85241" y="38112"/>
                    <a:pt x="85254" y="37159"/>
                  </a:cubicBezTo>
                  <a:cubicBezTo>
                    <a:pt x="85254" y="35229"/>
                    <a:pt x="85254" y="32651"/>
                    <a:pt x="85114" y="29387"/>
                  </a:cubicBezTo>
                  <a:cubicBezTo>
                    <a:pt x="85114" y="22567"/>
                    <a:pt x="84911" y="13004"/>
                    <a:pt x="84771" y="1282"/>
                  </a:cubicBezTo>
                  <a:lnTo>
                    <a:pt x="85393" y="1904"/>
                  </a:lnTo>
                  <a:lnTo>
                    <a:pt x="876" y="2133"/>
                  </a:lnTo>
                  <a:cubicBezTo>
                    <a:pt x="114" y="2895"/>
                    <a:pt x="1892" y="1079"/>
                    <a:pt x="1727" y="1282"/>
                  </a:cubicBezTo>
                  <a:lnTo>
                    <a:pt x="1727" y="11302"/>
                  </a:lnTo>
                  <a:lnTo>
                    <a:pt x="1727" y="21157"/>
                  </a:lnTo>
                  <a:lnTo>
                    <a:pt x="1727" y="39915"/>
                  </a:lnTo>
                  <a:lnTo>
                    <a:pt x="927" y="39090"/>
                  </a:lnTo>
                  <a:lnTo>
                    <a:pt x="61378" y="39496"/>
                  </a:lnTo>
                  <a:lnTo>
                    <a:pt x="78980" y="39725"/>
                  </a:lnTo>
                  <a:lnTo>
                    <a:pt x="83742" y="39725"/>
                  </a:lnTo>
                  <a:lnTo>
                    <a:pt x="85457" y="39725"/>
                  </a:lnTo>
                  <a:cubicBezTo>
                    <a:pt x="84949" y="39750"/>
                    <a:pt x="84454" y="39750"/>
                    <a:pt x="83946" y="39725"/>
                  </a:cubicBezTo>
                  <a:lnTo>
                    <a:pt x="79348" y="39725"/>
                  </a:lnTo>
                  <a:lnTo>
                    <a:pt x="61911" y="39941"/>
                  </a:lnTo>
                  <a:lnTo>
                    <a:pt x="927" y="40347"/>
                  </a:lnTo>
                  <a:lnTo>
                    <a:pt x="0" y="40347"/>
                  </a:lnTo>
                  <a:lnTo>
                    <a:pt x="0" y="39521"/>
                  </a:lnTo>
                  <a:lnTo>
                    <a:pt x="0" y="20751"/>
                  </a:lnTo>
                  <a:lnTo>
                    <a:pt x="0" y="10896"/>
                  </a:lnTo>
                  <a:lnTo>
                    <a:pt x="0" y="876"/>
                  </a:lnTo>
                  <a:lnTo>
                    <a:pt x="876" y="0"/>
                  </a:lnTo>
                  <a:lnTo>
                    <a:pt x="85393" y="253"/>
                  </a:lnTo>
                  <a:lnTo>
                    <a:pt x="86016" y="253"/>
                  </a:lnTo>
                  <a:lnTo>
                    <a:pt x="86016" y="876"/>
                  </a:lnTo>
                  <a:cubicBezTo>
                    <a:pt x="85876" y="12776"/>
                    <a:pt x="85762" y="22453"/>
                    <a:pt x="85673" y="29273"/>
                  </a:cubicBezTo>
                  <a:cubicBezTo>
                    <a:pt x="85673" y="32448"/>
                    <a:pt x="85673" y="34950"/>
                    <a:pt x="85533" y="36905"/>
                  </a:cubicBezTo>
                  <a:cubicBezTo>
                    <a:pt x="85558" y="37947"/>
                    <a:pt x="85508" y="38975"/>
                    <a:pt x="85393" y="4000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6" name="Free Form 3190">
              <a:extLst>
                <a:ext uri="{FF2B5EF4-FFF2-40B4-BE49-F238E27FC236}">
                  <a16:creationId xmlns:a16="http://schemas.microsoft.com/office/drawing/2014/main" id="{7EE41E5B-04B2-A34C-0E58-1B5696060BF6}"/>
                </a:ext>
              </a:extLst>
            </p:cNvPr>
            <p:cNvSpPr/>
            <p:nvPr/>
          </p:nvSpPr>
          <p:spPr>
            <a:xfrm>
              <a:off x="25005029" y="29868464"/>
              <a:ext cx="99059" cy="127583"/>
            </a:xfrm>
            <a:custGeom>
              <a:avLst/>
              <a:gdLst/>
              <a:ahLst/>
              <a:cxnLst/>
              <a:rect l="0" t="0" r="0" b="0"/>
              <a:pathLst>
                <a:path w="99058" h="127582">
                  <a:moveTo>
                    <a:pt x="99058" y="0"/>
                  </a:moveTo>
                  <a:cubicBezTo>
                    <a:pt x="67626" y="43408"/>
                    <a:pt x="31457" y="84149"/>
                    <a:pt x="0" y="1275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7" name="Free Form 3191">
              <a:extLst>
                <a:ext uri="{FF2B5EF4-FFF2-40B4-BE49-F238E27FC236}">
                  <a16:creationId xmlns:a16="http://schemas.microsoft.com/office/drawing/2014/main" id="{031EA6DA-274C-ABC4-F4F3-7E539A37B047}"/>
                </a:ext>
              </a:extLst>
            </p:cNvPr>
            <p:cNvSpPr/>
            <p:nvPr/>
          </p:nvSpPr>
          <p:spPr>
            <a:xfrm>
              <a:off x="25005147" y="29868431"/>
              <a:ext cx="98970" cy="127621"/>
            </a:xfrm>
            <a:custGeom>
              <a:avLst/>
              <a:gdLst/>
              <a:ahLst/>
              <a:cxnLst/>
              <a:rect l="0" t="0" r="0" b="0"/>
              <a:pathLst>
                <a:path w="98970" h="127620">
                  <a:moveTo>
                    <a:pt x="0" y="127620"/>
                  </a:moveTo>
                  <a:cubicBezTo>
                    <a:pt x="241" y="127125"/>
                    <a:pt x="520" y="126643"/>
                    <a:pt x="850" y="126198"/>
                  </a:cubicBezTo>
                  <a:lnTo>
                    <a:pt x="3492" y="122312"/>
                  </a:lnTo>
                  <a:cubicBezTo>
                    <a:pt x="5816" y="118934"/>
                    <a:pt x="9169" y="114133"/>
                    <a:pt x="13652" y="108291"/>
                  </a:cubicBezTo>
                  <a:cubicBezTo>
                    <a:pt x="22402" y="96531"/>
                    <a:pt x="34861" y="80656"/>
                    <a:pt x="48856" y="63283"/>
                  </a:cubicBezTo>
                  <a:cubicBezTo>
                    <a:pt x="62851" y="45910"/>
                    <a:pt x="75462" y="30149"/>
                    <a:pt x="84428" y="18630"/>
                  </a:cubicBezTo>
                  <a:lnTo>
                    <a:pt x="95020" y="4940"/>
                  </a:lnTo>
                  <a:lnTo>
                    <a:pt x="97865" y="1257"/>
                  </a:lnTo>
                  <a:cubicBezTo>
                    <a:pt x="98538" y="406"/>
                    <a:pt x="98906" y="0"/>
                    <a:pt x="98970" y="38"/>
                  </a:cubicBezTo>
                  <a:cubicBezTo>
                    <a:pt x="98766" y="546"/>
                    <a:pt x="98487" y="1015"/>
                    <a:pt x="98144" y="1447"/>
                  </a:cubicBezTo>
                  <a:lnTo>
                    <a:pt x="95477" y="5346"/>
                  </a:lnTo>
                  <a:cubicBezTo>
                    <a:pt x="93178" y="8724"/>
                    <a:pt x="89800" y="13487"/>
                    <a:pt x="85317" y="19367"/>
                  </a:cubicBezTo>
                  <a:cubicBezTo>
                    <a:pt x="76592" y="31089"/>
                    <a:pt x="64108" y="46989"/>
                    <a:pt x="50113" y="64362"/>
                  </a:cubicBezTo>
                  <a:cubicBezTo>
                    <a:pt x="36118" y="81736"/>
                    <a:pt x="23596" y="97496"/>
                    <a:pt x="14617" y="109028"/>
                  </a:cubicBezTo>
                  <a:lnTo>
                    <a:pt x="4025" y="122706"/>
                  </a:lnTo>
                  <a:lnTo>
                    <a:pt x="1193" y="126401"/>
                  </a:lnTo>
                  <a:cubicBezTo>
                    <a:pt x="850" y="126858"/>
                    <a:pt x="457" y="127278"/>
                    <a:pt x="0" y="12762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8" name="Free Form 3192">
              <a:extLst>
                <a:ext uri="{FF2B5EF4-FFF2-40B4-BE49-F238E27FC236}">
                  <a16:creationId xmlns:a16="http://schemas.microsoft.com/office/drawing/2014/main" id="{E2F8F3D4-6C44-AD08-4D8E-BF7D82656C3E}"/>
                </a:ext>
              </a:extLst>
            </p:cNvPr>
            <p:cNvSpPr/>
            <p:nvPr/>
          </p:nvSpPr>
          <p:spPr>
            <a:xfrm>
              <a:off x="25004775" y="29867949"/>
              <a:ext cx="102323" cy="128383"/>
            </a:xfrm>
            <a:custGeom>
              <a:avLst/>
              <a:gdLst/>
              <a:ahLst/>
              <a:cxnLst/>
              <a:rect l="0" t="0" r="0" b="0"/>
              <a:pathLst>
                <a:path w="102322" h="128382">
                  <a:moveTo>
                    <a:pt x="101954" y="128103"/>
                  </a:moveTo>
                  <a:cubicBezTo>
                    <a:pt x="101560" y="128382"/>
                    <a:pt x="78535" y="100024"/>
                    <a:pt x="50481" y="64731"/>
                  </a:cubicBezTo>
                  <a:cubicBezTo>
                    <a:pt x="22427" y="29450"/>
                    <a:pt x="0" y="571"/>
                    <a:pt x="368" y="292"/>
                  </a:cubicBezTo>
                  <a:cubicBezTo>
                    <a:pt x="736" y="0"/>
                    <a:pt x="23799" y="28371"/>
                    <a:pt x="51840" y="63651"/>
                  </a:cubicBezTo>
                  <a:cubicBezTo>
                    <a:pt x="79894" y="98944"/>
                    <a:pt x="102322" y="127824"/>
                    <a:pt x="101954" y="12810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9" name="Free Form 3193">
              <a:extLst>
                <a:ext uri="{FF2B5EF4-FFF2-40B4-BE49-F238E27FC236}">
                  <a16:creationId xmlns:a16="http://schemas.microsoft.com/office/drawing/2014/main" id="{568919DD-96E1-C2F4-48D7-9718AF3C6FD8}"/>
                </a:ext>
              </a:extLst>
            </p:cNvPr>
            <p:cNvSpPr/>
            <p:nvPr/>
          </p:nvSpPr>
          <p:spPr>
            <a:xfrm>
              <a:off x="24954714" y="29852519"/>
              <a:ext cx="31838" cy="31863"/>
            </a:xfrm>
            <a:custGeom>
              <a:avLst/>
              <a:gdLst/>
              <a:ahLst/>
              <a:cxnLst/>
              <a:rect l="0" t="0" r="0" b="0"/>
              <a:pathLst>
                <a:path w="31838" h="31863">
                  <a:moveTo>
                    <a:pt x="31838" y="16001"/>
                  </a:moveTo>
                  <a:cubicBezTo>
                    <a:pt x="31787" y="24777"/>
                    <a:pt x="24637" y="31863"/>
                    <a:pt x="15849" y="31813"/>
                  </a:cubicBezTo>
                  <a:cubicBezTo>
                    <a:pt x="7073" y="31762"/>
                    <a:pt x="0" y="24612"/>
                    <a:pt x="38" y="15836"/>
                  </a:cubicBezTo>
                  <a:cubicBezTo>
                    <a:pt x="88" y="7086"/>
                    <a:pt x="7188" y="12"/>
                    <a:pt x="15938" y="12"/>
                  </a:cubicBezTo>
                  <a:cubicBezTo>
                    <a:pt x="24701" y="0"/>
                    <a:pt x="31825" y="7099"/>
                    <a:pt x="31838" y="15862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0" name="Free Form 3194">
              <a:extLst>
                <a:ext uri="{FF2B5EF4-FFF2-40B4-BE49-F238E27FC236}">
                  <a16:creationId xmlns:a16="http://schemas.microsoft.com/office/drawing/2014/main" id="{71E7A61B-DD9F-2AE6-C052-DF067C4D5348}"/>
                </a:ext>
              </a:extLst>
            </p:cNvPr>
            <p:cNvSpPr/>
            <p:nvPr/>
          </p:nvSpPr>
          <p:spPr>
            <a:xfrm>
              <a:off x="25214599" y="29813949"/>
              <a:ext cx="31825" cy="31813"/>
            </a:xfrm>
            <a:custGeom>
              <a:avLst/>
              <a:gdLst/>
              <a:ahLst/>
              <a:cxnLst/>
              <a:rect l="0" t="0" r="0" b="0"/>
              <a:pathLst>
                <a:path w="31825" h="31813">
                  <a:moveTo>
                    <a:pt x="31813" y="15874"/>
                  </a:moveTo>
                  <a:cubicBezTo>
                    <a:pt x="31825" y="24650"/>
                    <a:pt x="24726" y="31787"/>
                    <a:pt x="15938" y="31800"/>
                  </a:cubicBezTo>
                  <a:cubicBezTo>
                    <a:pt x="7162" y="31813"/>
                    <a:pt x="25" y="24713"/>
                    <a:pt x="12" y="15938"/>
                  </a:cubicBezTo>
                  <a:cubicBezTo>
                    <a:pt x="0" y="7150"/>
                    <a:pt x="7099" y="25"/>
                    <a:pt x="15887" y="0"/>
                  </a:cubicBezTo>
                  <a:lnTo>
                    <a:pt x="15912" y="0"/>
                  </a:lnTo>
                  <a:cubicBezTo>
                    <a:pt x="24688" y="0"/>
                    <a:pt x="31800" y="7111"/>
                    <a:pt x="31813" y="1587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1" name="Rectangle 3195">
              <a:extLst>
                <a:ext uri="{FF2B5EF4-FFF2-40B4-BE49-F238E27FC236}">
                  <a16:creationId xmlns:a16="http://schemas.microsoft.com/office/drawing/2014/main" id="{8469092A-B9A5-C001-C690-6BBD1AB96945}"/>
                </a:ext>
              </a:extLst>
            </p:cNvPr>
            <p:cNvSpPr/>
            <p:nvPr/>
          </p:nvSpPr>
          <p:spPr>
            <a:xfrm>
              <a:off x="25703275" y="30077452"/>
              <a:ext cx="931471" cy="388078"/>
            </a:xfrm>
            <a:prstGeom prst="rect">
              <a:avLst/>
            </a:pr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2" name="Free Form 3196">
              <a:extLst>
                <a:ext uri="{FF2B5EF4-FFF2-40B4-BE49-F238E27FC236}">
                  <a16:creationId xmlns:a16="http://schemas.microsoft.com/office/drawing/2014/main" id="{7465D19E-C714-753C-3866-B72FE7C9A8DA}"/>
                </a:ext>
              </a:extLst>
            </p:cNvPr>
            <p:cNvSpPr/>
            <p:nvPr/>
          </p:nvSpPr>
          <p:spPr>
            <a:xfrm>
              <a:off x="25748726" y="30479742"/>
              <a:ext cx="49910" cy="49910"/>
            </a:xfrm>
            <a:custGeom>
              <a:avLst/>
              <a:gdLst/>
              <a:ahLst/>
              <a:cxnLst/>
              <a:rect l="0" t="0" r="0" b="0"/>
              <a:pathLst>
                <a:path w="49910" h="49910">
                  <a:moveTo>
                    <a:pt x="49910" y="24955"/>
                  </a:moveTo>
                  <a:cubicBezTo>
                    <a:pt x="49910" y="38734"/>
                    <a:pt x="38734" y="49910"/>
                    <a:pt x="24955" y="49910"/>
                  </a:cubicBezTo>
                  <a:cubicBezTo>
                    <a:pt x="11175" y="49910"/>
                    <a:pt x="0" y="38734"/>
                    <a:pt x="0" y="24955"/>
                  </a:cubicBezTo>
                  <a:cubicBezTo>
                    <a:pt x="0" y="11175"/>
                    <a:pt x="11175" y="0"/>
                    <a:pt x="24955" y="0"/>
                  </a:cubicBezTo>
                  <a:cubicBezTo>
                    <a:pt x="38734" y="0"/>
                    <a:pt x="49910" y="11175"/>
                    <a:pt x="49910" y="2495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3" name="Free Form 3197">
              <a:extLst>
                <a:ext uri="{FF2B5EF4-FFF2-40B4-BE49-F238E27FC236}">
                  <a16:creationId xmlns:a16="http://schemas.microsoft.com/office/drawing/2014/main" id="{A0EC2A1C-52A2-A07B-A283-4657CD09EBD2}"/>
                </a:ext>
              </a:extLst>
            </p:cNvPr>
            <p:cNvSpPr/>
            <p:nvPr/>
          </p:nvSpPr>
          <p:spPr>
            <a:xfrm>
              <a:off x="25764767" y="30493700"/>
              <a:ext cx="17856" cy="21158"/>
            </a:xfrm>
            <a:custGeom>
              <a:avLst/>
              <a:gdLst/>
              <a:ahLst/>
              <a:cxnLst/>
              <a:rect l="0" t="0" r="0" b="0"/>
              <a:pathLst>
                <a:path w="17856" h="21157">
                  <a:moveTo>
                    <a:pt x="11696" y="12445"/>
                  </a:moveTo>
                  <a:cubicBezTo>
                    <a:pt x="14706" y="10896"/>
                    <a:pt x="15887" y="7188"/>
                    <a:pt x="14325" y="4178"/>
                  </a:cubicBezTo>
                  <a:cubicBezTo>
                    <a:pt x="12776" y="1168"/>
                    <a:pt x="9080" y="0"/>
                    <a:pt x="6070" y="1549"/>
                  </a:cubicBezTo>
                  <a:cubicBezTo>
                    <a:pt x="3060" y="3098"/>
                    <a:pt x="1879" y="6807"/>
                    <a:pt x="3428" y="9816"/>
                  </a:cubicBezTo>
                  <a:cubicBezTo>
                    <a:pt x="4102" y="11112"/>
                    <a:pt x="5206" y="12115"/>
                    <a:pt x="6553" y="12674"/>
                  </a:cubicBezTo>
                  <a:cubicBezTo>
                    <a:pt x="3047" y="14058"/>
                    <a:pt x="546" y="17221"/>
                    <a:pt x="0" y="20967"/>
                  </a:cubicBezTo>
                  <a:lnTo>
                    <a:pt x="0" y="21157"/>
                  </a:lnTo>
                  <a:lnTo>
                    <a:pt x="17856" y="21157"/>
                  </a:lnTo>
                  <a:lnTo>
                    <a:pt x="17856" y="20967"/>
                  </a:lnTo>
                  <a:cubicBezTo>
                    <a:pt x="17475" y="17233"/>
                    <a:pt x="15125" y="13982"/>
                    <a:pt x="11696" y="1244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4" name="Free Form 3198">
              <a:extLst>
                <a:ext uri="{FF2B5EF4-FFF2-40B4-BE49-F238E27FC236}">
                  <a16:creationId xmlns:a16="http://schemas.microsoft.com/office/drawing/2014/main" id="{0CB9FC6C-5FFB-AC00-607E-F48091D42584}"/>
                </a:ext>
              </a:extLst>
            </p:cNvPr>
            <p:cNvSpPr/>
            <p:nvPr/>
          </p:nvSpPr>
          <p:spPr>
            <a:xfrm>
              <a:off x="25821065" y="30499074"/>
              <a:ext cx="230363" cy="889"/>
            </a:xfrm>
            <a:custGeom>
              <a:avLst/>
              <a:gdLst/>
              <a:ahLst/>
              <a:cxnLst/>
              <a:rect l="0" t="0" r="0" b="0"/>
              <a:pathLst>
                <a:path w="230362" h="888">
                  <a:moveTo>
                    <a:pt x="230362" y="457"/>
                  </a:moveTo>
                  <a:cubicBezTo>
                    <a:pt x="230362" y="685"/>
                    <a:pt x="178801" y="888"/>
                    <a:pt x="115213" y="888"/>
                  </a:cubicBezTo>
                  <a:cubicBezTo>
                    <a:pt x="51612" y="888"/>
                    <a:pt x="0" y="685"/>
                    <a:pt x="0" y="457"/>
                  </a:cubicBezTo>
                  <a:cubicBezTo>
                    <a:pt x="0" y="228"/>
                    <a:pt x="51561" y="0"/>
                    <a:pt x="115213" y="0"/>
                  </a:cubicBezTo>
                  <a:cubicBezTo>
                    <a:pt x="178864" y="0"/>
                    <a:pt x="230362" y="203"/>
                    <a:pt x="230362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5" name="Free Form 3199">
              <a:extLst>
                <a:ext uri="{FF2B5EF4-FFF2-40B4-BE49-F238E27FC236}">
                  <a16:creationId xmlns:a16="http://schemas.microsoft.com/office/drawing/2014/main" id="{1D113755-75D3-4526-B0CA-E7F02EC11076}"/>
                </a:ext>
              </a:extLst>
            </p:cNvPr>
            <p:cNvSpPr/>
            <p:nvPr/>
          </p:nvSpPr>
          <p:spPr>
            <a:xfrm>
              <a:off x="25817888" y="30514429"/>
              <a:ext cx="62458" cy="889"/>
            </a:xfrm>
            <a:custGeom>
              <a:avLst/>
              <a:gdLst/>
              <a:ahLst/>
              <a:cxnLst/>
              <a:rect l="0" t="0" r="0" b="0"/>
              <a:pathLst>
                <a:path w="62457" h="888">
                  <a:moveTo>
                    <a:pt x="62457" y="431"/>
                  </a:moveTo>
                  <a:cubicBezTo>
                    <a:pt x="62457" y="685"/>
                    <a:pt x="48462" y="888"/>
                    <a:pt x="31228" y="888"/>
                  </a:cubicBezTo>
                  <a:cubicBezTo>
                    <a:pt x="13995" y="888"/>
                    <a:pt x="0" y="685"/>
                    <a:pt x="0" y="431"/>
                  </a:cubicBezTo>
                  <a:cubicBezTo>
                    <a:pt x="0" y="177"/>
                    <a:pt x="13969" y="0"/>
                    <a:pt x="31228" y="0"/>
                  </a:cubicBezTo>
                  <a:cubicBezTo>
                    <a:pt x="48488" y="0"/>
                    <a:pt x="62457" y="203"/>
                    <a:pt x="6245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6" name="Free Form 3200">
              <a:extLst>
                <a:ext uri="{FF2B5EF4-FFF2-40B4-BE49-F238E27FC236}">
                  <a16:creationId xmlns:a16="http://schemas.microsoft.com/office/drawing/2014/main" id="{1F1F4644-7910-8B28-A1E8-23B74962348B}"/>
                </a:ext>
              </a:extLst>
            </p:cNvPr>
            <p:cNvSpPr/>
            <p:nvPr/>
          </p:nvSpPr>
          <p:spPr>
            <a:xfrm>
              <a:off x="26236872" y="30491723"/>
              <a:ext cx="2641" cy="7556"/>
            </a:xfrm>
            <a:custGeom>
              <a:avLst/>
              <a:gdLst/>
              <a:ahLst/>
              <a:cxnLst/>
              <a:rect l="0" t="0" r="0" b="0"/>
              <a:pathLst>
                <a:path w="2641" h="7556">
                  <a:moveTo>
                    <a:pt x="2641" y="0"/>
                  </a:moveTo>
                  <a:lnTo>
                    <a:pt x="2641" y="7556"/>
                  </a:lnTo>
                  <a:lnTo>
                    <a:pt x="1562" y="7556"/>
                  </a:lnTo>
                  <a:lnTo>
                    <a:pt x="1562" y="939"/>
                  </a:lnTo>
                  <a:lnTo>
                    <a:pt x="0" y="9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7" name="Free Form 3201">
              <a:extLst>
                <a:ext uri="{FF2B5EF4-FFF2-40B4-BE49-F238E27FC236}">
                  <a16:creationId xmlns:a16="http://schemas.microsoft.com/office/drawing/2014/main" id="{65C2E46A-79C7-0FB6-1D81-53DA77539EEE}"/>
                </a:ext>
              </a:extLst>
            </p:cNvPr>
            <p:cNvSpPr/>
            <p:nvPr/>
          </p:nvSpPr>
          <p:spPr>
            <a:xfrm>
              <a:off x="26241165" y="30491638"/>
              <a:ext cx="6160" cy="7721"/>
            </a:xfrm>
            <a:custGeom>
              <a:avLst/>
              <a:gdLst/>
              <a:ahLst/>
              <a:cxnLst/>
              <a:rect l="0" t="0" r="0" b="0"/>
              <a:pathLst>
                <a:path w="6159" h="7721">
                  <a:moveTo>
                    <a:pt x="0" y="3860"/>
                  </a:moveTo>
                  <a:cubicBezTo>
                    <a:pt x="0" y="1396"/>
                    <a:pt x="1308" y="0"/>
                    <a:pt x="3098" y="0"/>
                  </a:cubicBezTo>
                  <a:cubicBezTo>
                    <a:pt x="4876" y="0"/>
                    <a:pt x="6159" y="1396"/>
                    <a:pt x="6159" y="3860"/>
                  </a:cubicBezTo>
                  <a:cubicBezTo>
                    <a:pt x="6159" y="6337"/>
                    <a:pt x="4851" y="7721"/>
                    <a:pt x="3098" y="7721"/>
                  </a:cubicBezTo>
                  <a:cubicBezTo>
                    <a:pt x="1333" y="7721"/>
                    <a:pt x="0" y="6337"/>
                    <a:pt x="0" y="3860"/>
                  </a:cubicBezTo>
                  <a:close/>
                  <a:moveTo>
                    <a:pt x="5079" y="3860"/>
                  </a:moveTo>
                  <a:cubicBezTo>
                    <a:pt x="5079" y="1930"/>
                    <a:pt x="4254" y="1015"/>
                    <a:pt x="3098" y="1015"/>
                  </a:cubicBezTo>
                  <a:cubicBezTo>
                    <a:pt x="1930" y="1015"/>
                    <a:pt x="1079" y="1993"/>
                    <a:pt x="1079" y="3860"/>
                  </a:cubicBezTo>
                  <a:cubicBezTo>
                    <a:pt x="1079" y="5740"/>
                    <a:pt x="1904" y="6705"/>
                    <a:pt x="3098" y="6705"/>
                  </a:cubicBezTo>
                  <a:cubicBezTo>
                    <a:pt x="4279" y="6705"/>
                    <a:pt x="5079" y="5791"/>
                    <a:pt x="5079" y="38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8" name="Free Form 3202">
              <a:extLst>
                <a:ext uri="{FF2B5EF4-FFF2-40B4-BE49-F238E27FC236}">
                  <a16:creationId xmlns:a16="http://schemas.microsoft.com/office/drawing/2014/main" id="{E6D2B2DE-E411-9377-7DF9-99B3B45D896F}"/>
                </a:ext>
              </a:extLst>
            </p:cNvPr>
            <p:cNvSpPr/>
            <p:nvPr/>
          </p:nvSpPr>
          <p:spPr>
            <a:xfrm>
              <a:off x="26248975" y="30491720"/>
              <a:ext cx="6603" cy="7557"/>
            </a:xfrm>
            <a:custGeom>
              <a:avLst/>
              <a:gdLst/>
              <a:ahLst/>
              <a:cxnLst/>
              <a:rect l="0" t="0" r="0" b="0"/>
              <a:pathLst>
                <a:path w="6603" h="7556">
                  <a:moveTo>
                    <a:pt x="2463" y="4203"/>
                  </a:moveTo>
                  <a:lnTo>
                    <a:pt x="1079" y="5587"/>
                  </a:lnTo>
                  <a:lnTo>
                    <a:pt x="1079" y="7556"/>
                  </a:lnTo>
                  <a:lnTo>
                    <a:pt x="0" y="7556"/>
                  </a:lnTo>
                  <a:lnTo>
                    <a:pt x="0" y="0"/>
                  </a:lnTo>
                  <a:lnTo>
                    <a:pt x="1079" y="0"/>
                  </a:lnTo>
                  <a:lnTo>
                    <a:pt x="1079" y="4229"/>
                  </a:lnTo>
                  <a:lnTo>
                    <a:pt x="5156" y="0"/>
                  </a:lnTo>
                  <a:lnTo>
                    <a:pt x="6413" y="0"/>
                  </a:lnTo>
                  <a:lnTo>
                    <a:pt x="3174" y="3403"/>
                  </a:lnTo>
                  <a:lnTo>
                    <a:pt x="6603" y="7556"/>
                  </a:lnTo>
                  <a:lnTo>
                    <a:pt x="5333" y="7556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9" name="Free Form 3203">
              <a:extLst>
                <a:ext uri="{FF2B5EF4-FFF2-40B4-BE49-F238E27FC236}">
                  <a16:creationId xmlns:a16="http://schemas.microsoft.com/office/drawing/2014/main" id="{7EEDA36D-E62D-60B2-3E5E-1D298108A17A}"/>
                </a:ext>
              </a:extLst>
            </p:cNvPr>
            <p:cNvSpPr/>
            <p:nvPr/>
          </p:nvSpPr>
          <p:spPr>
            <a:xfrm>
              <a:off x="26301144" y="30491728"/>
              <a:ext cx="6706" cy="7544"/>
            </a:xfrm>
            <a:custGeom>
              <a:avLst/>
              <a:gdLst/>
              <a:ahLst/>
              <a:cxnLst/>
              <a:rect l="0" t="0" r="0" b="0"/>
              <a:pathLst>
                <a:path w="6705" h="7543">
                  <a:moveTo>
                    <a:pt x="6705" y="5702"/>
                  </a:moveTo>
                  <a:lnTo>
                    <a:pt x="5257" y="5702"/>
                  </a:lnTo>
                  <a:lnTo>
                    <a:pt x="5257" y="7543"/>
                  </a:lnTo>
                  <a:lnTo>
                    <a:pt x="4203" y="7543"/>
                  </a:lnTo>
                  <a:lnTo>
                    <a:pt x="4203" y="5702"/>
                  </a:lnTo>
                  <a:lnTo>
                    <a:pt x="0" y="5702"/>
                  </a:lnTo>
                  <a:lnTo>
                    <a:pt x="0" y="4940"/>
                  </a:lnTo>
                  <a:lnTo>
                    <a:pt x="3873" y="0"/>
                  </a:lnTo>
                  <a:lnTo>
                    <a:pt x="5029" y="0"/>
                  </a:lnTo>
                  <a:lnTo>
                    <a:pt x="1346" y="4762"/>
                  </a:lnTo>
                  <a:lnTo>
                    <a:pt x="4178" y="4762"/>
                  </a:lnTo>
                  <a:lnTo>
                    <a:pt x="4178" y="3124"/>
                  </a:lnTo>
                  <a:lnTo>
                    <a:pt x="5206" y="3124"/>
                  </a:lnTo>
                  <a:lnTo>
                    <a:pt x="5206" y="4762"/>
                  </a:lnTo>
                  <a:lnTo>
                    <a:pt x="6705" y="476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0" name="Free Form 3204">
              <a:extLst>
                <a:ext uri="{FF2B5EF4-FFF2-40B4-BE49-F238E27FC236}">
                  <a16:creationId xmlns:a16="http://schemas.microsoft.com/office/drawing/2014/main" id="{2D2DE4A0-25EE-5549-F12F-6222CC3FA1F5}"/>
                </a:ext>
              </a:extLst>
            </p:cNvPr>
            <p:cNvSpPr/>
            <p:nvPr/>
          </p:nvSpPr>
          <p:spPr>
            <a:xfrm>
              <a:off x="26308561" y="30491638"/>
              <a:ext cx="6159" cy="7721"/>
            </a:xfrm>
            <a:custGeom>
              <a:avLst/>
              <a:gdLst/>
              <a:ahLst/>
              <a:cxnLst/>
              <a:rect l="0" t="0" r="0" b="0"/>
              <a:pathLst>
                <a:path w="6159" h="7721">
                  <a:moveTo>
                    <a:pt x="0" y="3860"/>
                  </a:moveTo>
                  <a:cubicBezTo>
                    <a:pt x="0" y="1396"/>
                    <a:pt x="1333" y="0"/>
                    <a:pt x="3098" y="0"/>
                  </a:cubicBezTo>
                  <a:cubicBezTo>
                    <a:pt x="4851" y="0"/>
                    <a:pt x="6159" y="1396"/>
                    <a:pt x="6159" y="3860"/>
                  </a:cubicBezTo>
                  <a:cubicBezTo>
                    <a:pt x="6159" y="6337"/>
                    <a:pt x="4851" y="7721"/>
                    <a:pt x="3098" y="7721"/>
                  </a:cubicBezTo>
                  <a:cubicBezTo>
                    <a:pt x="1333" y="7721"/>
                    <a:pt x="0" y="6337"/>
                    <a:pt x="0" y="3860"/>
                  </a:cubicBezTo>
                  <a:close/>
                  <a:moveTo>
                    <a:pt x="5079" y="3860"/>
                  </a:moveTo>
                  <a:cubicBezTo>
                    <a:pt x="5079" y="1930"/>
                    <a:pt x="4254" y="1015"/>
                    <a:pt x="3098" y="1015"/>
                  </a:cubicBezTo>
                  <a:cubicBezTo>
                    <a:pt x="1930" y="1015"/>
                    <a:pt x="1079" y="1993"/>
                    <a:pt x="1079" y="3860"/>
                  </a:cubicBezTo>
                  <a:cubicBezTo>
                    <a:pt x="1079" y="5740"/>
                    <a:pt x="1904" y="6705"/>
                    <a:pt x="3098" y="6705"/>
                  </a:cubicBezTo>
                  <a:cubicBezTo>
                    <a:pt x="4292" y="6705"/>
                    <a:pt x="4965" y="5791"/>
                    <a:pt x="4965" y="38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1" name="Free Form 3205">
              <a:extLst>
                <a:ext uri="{FF2B5EF4-FFF2-40B4-BE49-F238E27FC236}">
                  <a16:creationId xmlns:a16="http://schemas.microsoft.com/office/drawing/2014/main" id="{549D9AB2-AE24-7662-7174-B63BE25223BD}"/>
                </a:ext>
              </a:extLst>
            </p:cNvPr>
            <p:cNvSpPr/>
            <p:nvPr/>
          </p:nvSpPr>
          <p:spPr>
            <a:xfrm>
              <a:off x="26315745" y="30491638"/>
              <a:ext cx="6160" cy="7721"/>
            </a:xfrm>
            <a:custGeom>
              <a:avLst/>
              <a:gdLst/>
              <a:ahLst/>
              <a:cxnLst/>
              <a:rect l="0" t="0" r="0" b="0"/>
              <a:pathLst>
                <a:path w="6159" h="7721">
                  <a:moveTo>
                    <a:pt x="0" y="3860"/>
                  </a:moveTo>
                  <a:cubicBezTo>
                    <a:pt x="0" y="1396"/>
                    <a:pt x="1333" y="0"/>
                    <a:pt x="3098" y="0"/>
                  </a:cubicBezTo>
                  <a:cubicBezTo>
                    <a:pt x="4851" y="0"/>
                    <a:pt x="6159" y="1396"/>
                    <a:pt x="6159" y="3860"/>
                  </a:cubicBezTo>
                  <a:cubicBezTo>
                    <a:pt x="6159" y="6337"/>
                    <a:pt x="4851" y="7721"/>
                    <a:pt x="3098" y="7721"/>
                  </a:cubicBezTo>
                  <a:cubicBezTo>
                    <a:pt x="1333" y="7721"/>
                    <a:pt x="0" y="6337"/>
                    <a:pt x="0" y="3860"/>
                  </a:cubicBezTo>
                  <a:close/>
                  <a:moveTo>
                    <a:pt x="5079" y="3860"/>
                  </a:moveTo>
                  <a:cubicBezTo>
                    <a:pt x="5079" y="1930"/>
                    <a:pt x="4254" y="1015"/>
                    <a:pt x="3098" y="1015"/>
                  </a:cubicBezTo>
                  <a:cubicBezTo>
                    <a:pt x="1930" y="1015"/>
                    <a:pt x="1079" y="1993"/>
                    <a:pt x="1079" y="3860"/>
                  </a:cubicBezTo>
                  <a:cubicBezTo>
                    <a:pt x="1079" y="5740"/>
                    <a:pt x="1904" y="6705"/>
                    <a:pt x="3098" y="6705"/>
                  </a:cubicBezTo>
                  <a:cubicBezTo>
                    <a:pt x="4292" y="6705"/>
                    <a:pt x="5079" y="5791"/>
                    <a:pt x="5079" y="38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2" name="Free Form 3206">
              <a:extLst>
                <a:ext uri="{FF2B5EF4-FFF2-40B4-BE49-F238E27FC236}">
                  <a16:creationId xmlns:a16="http://schemas.microsoft.com/office/drawing/2014/main" id="{B5D56F31-F3E8-2D3C-D13C-2E462A4D80BC}"/>
                </a:ext>
              </a:extLst>
            </p:cNvPr>
            <p:cNvSpPr/>
            <p:nvPr/>
          </p:nvSpPr>
          <p:spPr>
            <a:xfrm>
              <a:off x="26343394" y="30493741"/>
              <a:ext cx="3467" cy="3467"/>
            </a:xfrm>
            <a:custGeom>
              <a:avLst/>
              <a:gdLst/>
              <a:ahLst/>
              <a:cxnLst/>
              <a:rect l="0" t="0" r="0" b="0"/>
              <a:pathLst>
                <a:path w="3467" h="3467">
                  <a:moveTo>
                    <a:pt x="3467" y="1701"/>
                  </a:moveTo>
                  <a:cubicBezTo>
                    <a:pt x="3467" y="761"/>
                    <a:pt x="2705" y="0"/>
                    <a:pt x="1765" y="0"/>
                  </a:cubicBezTo>
                  <a:lnTo>
                    <a:pt x="1739" y="0"/>
                  </a:lnTo>
                  <a:cubicBezTo>
                    <a:pt x="774" y="0"/>
                    <a:pt x="0" y="774"/>
                    <a:pt x="0" y="1727"/>
                  </a:cubicBezTo>
                  <a:cubicBezTo>
                    <a:pt x="0" y="2692"/>
                    <a:pt x="774" y="3467"/>
                    <a:pt x="1739" y="3467"/>
                  </a:cubicBezTo>
                  <a:cubicBezTo>
                    <a:pt x="2692" y="3467"/>
                    <a:pt x="3467" y="2692"/>
                    <a:pt x="3467" y="172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3" name="Free Form 3207">
              <a:extLst>
                <a:ext uri="{FF2B5EF4-FFF2-40B4-BE49-F238E27FC236}">
                  <a16:creationId xmlns:a16="http://schemas.microsoft.com/office/drawing/2014/main" id="{589765F0-D10B-E0CF-E86C-4B3099BB8546}"/>
                </a:ext>
              </a:extLst>
            </p:cNvPr>
            <p:cNvSpPr/>
            <p:nvPr/>
          </p:nvSpPr>
          <p:spPr>
            <a:xfrm>
              <a:off x="26349951" y="30493741"/>
              <a:ext cx="3467" cy="3467"/>
            </a:xfrm>
            <a:custGeom>
              <a:avLst/>
              <a:gdLst/>
              <a:ahLst/>
              <a:cxnLst/>
              <a:rect l="0" t="0" r="0" b="0"/>
              <a:pathLst>
                <a:path w="3467" h="3467">
                  <a:moveTo>
                    <a:pt x="3467" y="1701"/>
                  </a:moveTo>
                  <a:cubicBezTo>
                    <a:pt x="3467" y="761"/>
                    <a:pt x="2705" y="0"/>
                    <a:pt x="1765" y="0"/>
                  </a:cubicBezTo>
                  <a:lnTo>
                    <a:pt x="1739" y="0"/>
                  </a:lnTo>
                  <a:cubicBezTo>
                    <a:pt x="774" y="0"/>
                    <a:pt x="0" y="774"/>
                    <a:pt x="0" y="1727"/>
                  </a:cubicBezTo>
                  <a:cubicBezTo>
                    <a:pt x="0" y="2692"/>
                    <a:pt x="774" y="3467"/>
                    <a:pt x="1739" y="3467"/>
                  </a:cubicBezTo>
                  <a:cubicBezTo>
                    <a:pt x="2692" y="3467"/>
                    <a:pt x="3467" y="2692"/>
                    <a:pt x="3467" y="172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4" name="Free Form 3208">
              <a:extLst>
                <a:ext uri="{FF2B5EF4-FFF2-40B4-BE49-F238E27FC236}">
                  <a16:creationId xmlns:a16="http://schemas.microsoft.com/office/drawing/2014/main" id="{236094D7-3FC9-B921-161F-2B06767DBA0F}"/>
                </a:ext>
              </a:extLst>
            </p:cNvPr>
            <p:cNvSpPr/>
            <p:nvPr/>
          </p:nvSpPr>
          <p:spPr>
            <a:xfrm>
              <a:off x="26356509" y="30493741"/>
              <a:ext cx="3467" cy="3467"/>
            </a:xfrm>
            <a:custGeom>
              <a:avLst/>
              <a:gdLst/>
              <a:ahLst/>
              <a:cxnLst/>
              <a:rect l="0" t="0" r="0" b="0"/>
              <a:pathLst>
                <a:path w="3467" h="3467">
                  <a:moveTo>
                    <a:pt x="3467" y="1701"/>
                  </a:moveTo>
                  <a:cubicBezTo>
                    <a:pt x="3467" y="761"/>
                    <a:pt x="2705" y="0"/>
                    <a:pt x="1765" y="0"/>
                  </a:cubicBezTo>
                  <a:lnTo>
                    <a:pt x="1739" y="0"/>
                  </a:lnTo>
                  <a:cubicBezTo>
                    <a:pt x="774" y="0"/>
                    <a:pt x="0" y="774"/>
                    <a:pt x="0" y="1727"/>
                  </a:cubicBezTo>
                  <a:cubicBezTo>
                    <a:pt x="0" y="2692"/>
                    <a:pt x="774" y="3467"/>
                    <a:pt x="1739" y="3467"/>
                  </a:cubicBezTo>
                  <a:cubicBezTo>
                    <a:pt x="2692" y="3467"/>
                    <a:pt x="3467" y="2692"/>
                    <a:pt x="3467" y="172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5" name="Free Form 3209">
              <a:extLst>
                <a:ext uri="{FF2B5EF4-FFF2-40B4-BE49-F238E27FC236}">
                  <a16:creationId xmlns:a16="http://schemas.microsoft.com/office/drawing/2014/main" id="{3F0D91BB-5D3D-805F-47DE-D574CDC79BE3}"/>
                </a:ext>
              </a:extLst>
            </p:cNvPr>
            <p:cNvSpPr/>
            <p:nvPr/>
          </p:nvSpPr>
          <p:spPr>
            <a:xfrm>
              <a:off x="26209375" y="30481157"/>
              <a:ext cx="14440" cy="20535"/>
            </a:xfrm>
            <a:custGeom>
              <a:avLst/>
              <a:gdLst/>
              <a:ahLst/>
              <a:cxnLst/>
              <a:rect l="0" t="0" r="0" b="0"/>
              <a:pathLst>
                <a:path w="14439" h="20535">
                  <a:moveTo>
                    <a:pt x="14439" y="8750"/>
                  </a:moveTo>
                  <a:lnTo>
                    <a:pt x="12737" y="8750"/>
                  </a:lnTo>
                  <a:lnTo>
                    <a:pt x="8991" y="3581"/>
                  </a:lnTo>
                  <a:lnTo>
                    <a:pt x="8991" y="177"/>
                  </a:lnTo>
                  <a:cubicBezTo>
                    <a:pt x="8991" y="177"/>
                    <a:pt x="6375" y="0"/>
                    <a:pt x="6692" y="4457"/>
                  </a:cubicBezTo>
                  <a:cubicBezTo>
                    <a:pt x="6997" y="8915"/>
                    <a:pt x="6692" y="7785"/>
                    <a:pt x="6692" y="7785"/>
                  </a:cubicBezTo>
                  <a:cubicBezTo>
                    <a:pt x="4648" y="7734"/>
                    <a:pt x="2616" y="7899"/>
                    <a:pt x="609" y="8293"/>
                  </a:cubicBezTo>
                  <a:cubicBezTo>
                    <a:pt x="203" y="11264"/>
                    <a:pt x="25" y="14249"/>
                    <a:pt x="76" y="17233"/>
                  </a:cubicBezTo>
                  <a:cubicBezTo>
                    <a:pt x="0" y="18732"/>
                    <a:pt x="952" y="20078"/>
                    <a:pt x="2374" y="20497"/>
                  </a:cubicBezTo>
                  <a:cubicBezTo>
                    <a:pt x="2565" y="20535"/>
                    <a:pt x="2768" y="20535"/>
                    <a:pt x="2971" y="20497"/>
                  </a:cubicBezTo>
                  <a:cubicBezTo>
                    <a:pt x="4381" y="20497"/>
                    <a:pt x="11493" y="19367"/>
                    <a:pt x="11493" y="19367"/>
                  </a:cubicBezTo>
                  <a:lnTo>
                    <a:pt x="14325" y="19367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6" name="Free Form 3210">
              <a:extLst>
                <a:ext uri="{FF2B5EF4-FFF2-40B4-BE49-F238E27FC236}">
                  <a16:creationId xmlns:a16="http://schemas.microsoft.com/office/drawing/2014/main" id="{8B702EAF-055A-7F29-DB88-05A366D760D3}"/>
                </a:ext>
              </a:extLst>
            </p:cNvPr>
            <p:cNvSpPr/>
            <p:nvPr/>
          </p:nvSpPr>
          <p:spPr>
            <a:xfrm>
              <a:off x="26225574" y="30488998"/>
              <a:ext cx="3975" cy="11645"/>
            </a:xfrm>
            <a:custGeom>
              <a:avLst/>
              <a:gdLst/>
              <a:ahLst/>
              <a:cxnLst/>
              <a:rect l="0" t="0" r="0" b="0"/>
              <a:pathLst>
                <a:path w="3975" h="11645">
                  <a:moveTo>
                    <a:pt x="3975" y="0"/>
                  </a:moveTo>
                  <a:lnTo>
                    <a:pt x="2920" y="11645"/>
                  </a:lnTo>
                  <a:lnTo>
                    <a:pt x="0" y="11645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7" name="Free Form 3211">
              <a:extLst>
                <a:ext uri="{FF2B5EF4-FFF2-40B4-BE49-F238E27FC236}">
                  <a16:creationId xmlns:a16="http://schemas.microsoft.com/office/drawing/2014/main" id="{EACD3EF1-86BD-80FE-6B78-8039FD6BBFD8}"/>
                </a:ext>
              </a:extLst>
            </p:cNvPr>
            <p:cNvSpPr/>
            <p:nvPr/>
          </p:nvSpPr>
          <p:spPr>
            <a:xfrm>
              <a:off x="26276363" y="30487033"/>
              <a:ext cx="14453" cy="20498"/>
            </a:xfrm>
            <a:custGeom>
              <a:avLst/>
              <a:gdLst/>
              <a:ahLst/>
              <a:cxnLst/>
              <a:rect l="0" t="0" r="0" b="0"/>
              <a:pathLst>
                <a:path w="14452" h="20497">
                  <a:moveTo>
                    <a:pt x="14452" y="11760"/>
                  </a:moveTo>
                  <a:lnTo>
                    <a:pt x="12750" y="11760"/>
                  </a:lnTo>
                  <a:lnTo>
                    <a:pt x="9029" y="16928"/>
                  </a:lnTo>
                  <a:lnTo>
                    <a:pt x="9029" y="20332"/>
                  </a:lnTo>
                  <a:cubicBezTo>
                    <a:pt x="9029" y="20332"/>
                    <a:pt x="6388" y="20497"/>
                    <a:pt x="6705" y="16052"/>
                  </a:cubicBezTo>
                  <a:cubicBezTo>
                    <a:pt x="7010" y="11594"/>
                    <a:pt x="6705" y="12725"/>
                    <a:pt x="6705" y="12725"/>
                  </a:cubicBezTo>
                  <a:cubicBezTo>
                    <a:pt x="4673" y="12776"/>
                    <a:pt x="2641" y="12610"/>
                    <a:pt x="660" y="12217"/>
                  </a:cubicBezTo>
                  <a:cubicBezTo>
                    <a:pt x="228" y="9258"/>
                    <a:pt x="38" y="6286"/>
                    <a:pt x="88" y="3301"/>
                  </a:cubicBezTo>
                  <a:cubicBezTo>
                    <a:pt x="0" y="1790"/>
                    <a:pt x="965" y="431"/>
                    <a:pt x="2412" y="0"/>
                  </a:cubicBezTo>
                  <a:lnTo>
                    <a:pt x="3009" y="0"/>
                  </a:lnTo>
                  <a:cubicBezTo>
                    <a:pt x="4406" y="0"/>
                    <a:pt x="11531" y="1142"/>
                    <a:pt x="11531" y="1142"/>
                  </a:cubicBezTo>
                  <a:lnTo>
                    <a:pt x="14363" y="114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8" name="Free Form 3212">
              <a:extLst>
                <a:ext uri="{FF2B5EF4-FFF2-40B4-BE49-F238E27FC236}">
                  <a16:creationId xmlns:a16="http://schemas.microsoft.com/office/drawing/2014/main" id="{ABEA0202-3254-012B-CA86-019D2D79A07F}"/>
                </a:ext>
              </a:extLst>
            </p:cNvPr>
            <p:cNvSpPr/>
            <p:nvPr/>
          </p:nvSpPr>
          <p:spPr>
            <a:xfrm>
              <a:off x="26292691" y="30488058"/>
              <a:ext cx="3975" cy="11671"/>
            </a:xfrm>
            <a:custGeom>
              <a:avLst/>
              <a:gdLst/>
              <a:ahLst/>
              <a:cxnLst/>
              <a:rect l="0" t="0" r="0" b="0"/>
              <a:pathLst>
                <a:path w="3975" h="11671">
                  <a:moveTo>
                    <a:pt x="3975" y="11671"/>
                  </a:moveTo>
                  <a:lnTo>
                    <a:pt x="2920" y="0"/>
                  </a:lnTo>
                  <a:lnTo>
                    <a:pt x="0" y="0"/>
                  </a:lnTo>
                  <a:lnTo>
                    <a:pt x="0" y="11417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9" name="Rectangle 3213">
              <a:extLst>
                <a:ext uri="{FF2B5EF4-FFF2-40B4-BE49-F238E27FC236}">
                  <a16:creationId xmlns:a16="http://schemas.microsoft.com/office/drawing/2014/main" id="{1C60448B-0546-A820-EA0E-335D55A2993F}"/>
                </a:ext>
              </a:extLst>
            </p:cNvPr>
            <p:cNvSpPr/>
            <p:nvPr/>
          </p:nvSpPr>
          <p:spPr>
            <a:xfrm>
              <a:off x="25703275" y="29811555"/>
              <a:ext cx="931471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0" name="Free Form 3214">
              <a:extLst>
                <a:ext uri="{FF2B5EF4-FFF2-40B4-BE49-F238E27FC236}">
                  <a16:creationId xmlns:a16="http://schemas.microsoft.com/office/drawing/2014/main" id="{64ABBB14-5C2C-8D08-3965-80570A8A5B58}"/>
                </a:ext>
              </a:extLst>
            </p:cNvPr>
            <p:cNvSpPr/>
            <p:nvPr/>
          </p:nvSpPr>
          <p:spPr>
            <a:xfrm>
              <a:off x="26406817" y="30063819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1" name="Free Form 3215">
              <a:extLst>
                <a:ext uri="{FF2B5EF4-FFF2-40B4-BE49-F238E27FC236}">
                  <a16:creationId xmlns:a16="http://schemas.microsoft.com/office/drawing/2014/main" id="{BBF9F7C1-5789-936C-00BA-A3DBFEBD77EE}"/>
                </a:ext>
              </a:extLst>
            </p:cNvPr>
            <p:cNvSpPr/>
            <p:nvPr/>
          </p:nvSpPr>
          <p:spPr>
            <a:xfrm>
              <a:off x="26447934" y="30086027"/>
              <a:ext cx="16866" cy="19329"/>
            </a:xfrm>
            <a:custGeom>
              <a:avLst/>
              <a:gdLst/>
              <a:ahLst/>
              <a:cxnLst/>
              <a:rect l="0" t="0" r="0" b="0"/>
              <a:pathLst>
                <a:path w="16865" h="19329">
                  <a:moveTo>
                    <a:pt x="16065" y="8483"/>
                  </a:moveTo>
                  <a:cubicBezTo>
                    <a:pt x="16662" y="8826"/>
                    <a:pt x="16865" y="9601"/>
                    <a:pt x="16509" y="10197"/>
                  </a:cubicBezTo>
                  <a:cubicBezTo>
                    <a:pt x="16408" y="10375"/>
                    <a:pt x="16255" y="10528"/>
                    <a:pt x="16065" y="10642"/>
                  </a:cubicBezTo>
                  <a:lnTo>
                    <a:pt x="8851" y="14820"/>
                  </a:lnTo>
                  <a:lnTo>
                    <a:pt x="1866" y="18986"/>
                  </a:lnTo>
                  <a:cubicBezTo>
                    <a:pt x="1269" y="19329"/>
                    <a:pt x="507" y="19125"/>
                    <a:pt x="165" y="18529"/>
                  </a:cubicBezTo>
                  <a:cubicBezTo>
                    <a:pt x="50" y="18338"/>
                    <a:pt x="0" y="18122"/>
                    <a:pt x="0" y="17906"/>
                  </a:cubicBezTo>
                  <a:lnTo>
                    <a:pt x="0" y="1244"/>
                  </a:lnTo>
                  <a:cubicBezTo>
                    <a:pt x="0" y="558"/>
                    <a:pt x="558" y="0"/>
                    <a:pt x="1244" y="0"/>
                  </a:cubicBezTo>
                  <a:cubicBezTo>
                    <a:pt x="1473" y="0"/>
                    <a:pt x="1676" y="50"/>
                    <a:pt x="1866" y="165"/>
                  </a:cubicBezTo>
                  <a:lnTo>
                    <a:pt x="9080" y="4343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2" name="Free Form 3216">
              <a:extLst>
                <a:ext uri="{FF2B5EF4-FFF2-40B4-BE49-F238E27FC236}">
                  <a16:creationId xmlns:a16="http://schemas.microsoft.com/office/drawing/2014/main" id="{FCF231EA-F7AB-3808-F700-F4BE1930E7CB}"/>
                </a:ext>
              </a:extLst>
            </p:cNvPr>
            <p:cNvSpPr/>
            <p:nvPr/>
          </p:nvSpPr>
          <p:spPr>
            <a:xfrm>
              <a:off x="26517968" y="30070232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57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57"/>
                  </a:cubicBezTo>
                  <a:cubicBezTo>
                    <a:pt x="0" y="228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3" name="Free Form 3217">
              <a:extLst>
                <a:ext uri="{FF2B5EF4-FFF2-40B4-BE49-F238E27FC236}">
                  <a16:creationId xmlns:a16="http://schemas.microsoft.com/office/drawing/2014/main" id="{7F75CDA1-CCC2-9257-CF9B-3058790FF0B7}"/>
                </a:ext>
              </a:extLst>
            </p:cNvPr>
            <p:cNvSpPr/>
            <p:nvPr/>
          </p:nvSpPr>
          <p:spPr>
            <a:xfrm>
              <a:off x="26517968" y="30082697"/>
              <a:ext cx="75437" cy="876"/>
            </a:xfrm>
            <a:custGeom>
              <a:avLst/>
              <a:gdLst/>
              <a:ahLst/>
              <a:cxnLst/>
              <a:rect l="0" t="0" r="0" b="0"/>
              <a:pathLst>
                <a:path w="75437" h="876">
                  <a:moveTo>
                    <a:pt x="75437" y="457"/>
                  </a:moveTo>
                  <a:cubicBezTo>
                    <a:pt x="75437" y="685"/>
                    <a:pt x="58406" y="876"/>
                    <a:pt x="37705" y="876"/>
                  </a:cubicBezTo>
                  <a:cubicBezTo>
                    <a:pt x="17005" y="876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4" name="Free Form 3218">
              <a:extLst>
                <a:ext uri="{FF2B5EF4-FFF2-40B4-BE49-F238E27FC236}">
                  <a16:creationId xmlns:a16="http://schemas.microsoft.com/office/drawing/2014/main" id="{86DAA917-0E41-DCCD-4ACD-9EC35BBD30FC}"/>
                </a:ext>
              </a:extLst>
            </p:cNvPr>
            <p:cNvSpPr/>
            <p:nvPr/>
          </p:nvSpPr>
          <p:spPr>
            <a:xfrm>
              <a:off x="26517942" y="30095157"/>
              <a:ext cx="75463" cy="889"/>
            </a:xfrm>
            <a:custGeom>
              <a:avLst/>
              <a:gdLst/>
              <a:ahLst/>
              <a:cxnLst/>
              <a:rect l="0" t="0" r="0" b="0"/>
              <a:pathLst>
                <a:path w="75462" h="888">
                  <a:moveTo>
                    <a:pt x="75462" y="431"/>
                  </a:moveTo>
                  <a:cubicBezTo>
                    <a:pt x="75462" y="685"/>
                    <a:pt x="58432" y="888"/>
                    <a:pt x="37731" y="888"/>
                  </a:cubicBezTo>
                  <a:cubicBezTo>
                    <a:pt x="17030" y="888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62" y="203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5" name="Free Form 3219">
              <a:extLst>
                <a:ext uri="{FF2B5EF4-FFF2-40B4-BE49-F238E27FC236}">
                  <a16:creationId xmlns:a16="http://schemas.microsoft.com/office/drawing/2014/main" id="{12FF22E8-7065-E6A0-806D-1A221F1D0845}"/>
                </a:ext>
              </a:extLst>
            </p:cNvPr>
            <p:cNvSpPr/>
            <p:nvPr/>
          </p:nvSpPr>
          <p:spPr>
            <a:xfrm>
              <a:off x="26517942" y="30107632"/>
              <a:ext cx="75463" cy="876"/>
            </a:xfrm>
            <a:custGeom>
              <a:avLst/>
              <a:gdLst/>
              <a:ahLst/>
              <a:cxnLst/>
              <a:rect l="0" t="0" r="0" b="0"/>
              <a:pathLst>
                <a:path w="75462" h="876">
                  <a:moveTo>
                    <a:pt x="75462" y="419"/>
                  </a:moveTo>
                  <a:cubicBezTo>
                    <a:pt x="75462" y="673"/>
                    <a:pt x="58432" y="876"/>
                    <a:pt x="37731" y="876"/>
                  </a:cubicBezTo>
                  <a:cubicBezTo>
                    <a:pt x="17030" y="876"/>
                    <a:pt x="0" y="673"/>
                    <a:pt x="0" y="419"/>
                  </a:cubicBezTo>
                  <a:cubicBezTo>
                    <a:pt x="0" y="165"/>
                    <a:pt x="16865" y="0"/>
                    <a:pt x="37705" y="0"/>
                  </a:cubicBezTo>
                  <a:cubicBezTo>
                    <a:pt x="58546" y="0"/>
                    <a:pt x="75462" y="190"/>
                    <a:pt x="75462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6" name="Free Form 3220">
              <a:extLst>
                <a:ext uri="{FF2B5EF4-FFF2-40B4-BE49-F238E27FC236}">
                  <a16:creationId xmlns:a16="http://schemas.microsoft.com/office/drawing/2014/main" id="{D4E4E6E8-39FC-63A4-105C-70127FC5D98D}"/>
                </a:ext>
              </a:extLst>
            </p:cNvPr>
            <p:cNvSpPr/>
            <p:nvPr/>
          </p:nvSpPr>
          <p:spPr>
            <a:xfrm>
              <a:off x="26517968" y="30120084"/>
              <a:ext cx="75437" cy="889"/>
            </a:xfrm>
            <a:custGeom>
              <a:avLst/>
              <a:gdLst/>
              <a:ahLst/>
              <a:cxnLst/>
              <a:rect l="0" t="0" r="0" b="0"/>
              <a:pathLst>
                <a:path w="75437" h="888">
                  <a:moveTo>
                    <a:pt x="75437" y="431"/>
                  </a:moveTo>
                  <a:cubicBezTo>
                    <a:pt x="75437" y="685"/>
                    <a:pt x="58406" y="888"/>
                    <a:pt x="37705" y="888"/>
                  </a:cubicBezTo>
                  <a:cubicBezTo>
                    <a:pt x="17005" y="888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7" name="Free Form 3221">
              <a:extLst>
                <a:ext uri="{FF2B5EF4-FFF2-40B4-BE49-F238E27FC236}">
                  <a16:creationId xmlns:a16="http://schemas.microsoft.com/office/drawing/2014/main" id="{6743E44B-DA3D-4800-B529-E2597A3C6A73}"/>
                </a:ext>
              </a:extLst>
            </p:cNvPr>
            <p:cNvSpPr/>
            <p:nvPr/>
          </p:nvSpPr>
          <p:spPr>
            <a:xfrm>
              <a:off x="26406817" y="30156883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8" name="Free Form 3222">
              <a:extLst>
                <a:ext uri="{FF2B5EF4-FFF2-40B4-BE49-F238E27FC236}">
                  <a16:creationId xmlns:a16="http://schemas.microsoft.com/office/drawing/2014/main" id="{3CE627D0-ABDE-6FE1-AE2A-84C8A87AA569}"/>
                </a:ext>
              </a:extLst>
            </p:cNvPr>
            <p:cNvSpPr/>
            <p:nvPr/>
          </p:nvSpPr>
          <p:spPr>
            <a:xfrm>
              <a:off x="26447934" y="30179115"/>
              <a:ext cx="16866" cy="19303"/>
            </a:xfrm>
            <a:custGeom>
              <a:avLst/>
              <a:gdLst/>
              <a:ahLst/>
              <a:cxnLst/>
              <a:rect l="0" t="0" r="0" b="0"/>
              <a:pathLst>
                <a:path w="16865" h="19303">
                  <a:moveTo>
                    <a:pt x="16065" y="8432"/>
                  </a:moveTo>
                  <a:cubicBezTo>
                    <a:pt x="16662" y="8775"/>
                    <a:pt x="16865" y="9550"/>
                    <a:pt x="16509" y="10147"/>
                  </a:cubicBezTo>
                  <a:cubicBezTo>
                    <a:pt x="16408" y="10324"/>
                    <a:pt x="16255" y="10477"/>
                    <a:pt x="16065" y="10591"/>
                  </a:cubicBezTo>
                  <a:lnTo>
                    <a:pt x="8851" y="14757"/>
                  </a:lnTo>
                  <a:lnTo>
                    <a:pt x="1866" y="18960"/>
                  </a:lnTo>
                  <a:cubicBezTo>
                    <a:pt x="1269" y="19303"/>
                    <a:pt x="507" y="19100"/>
                    <a:pt x="165" y="18503"/>
                  </a:cubicBezTo>
                  <a:cubicBezTo>
                    <a:pt x="50" y="18313"/>
                    <a:pt x="0" y="18110"/>
                    <a:pt x="0" y="17881"/>
                  </a:cubicBezTo>
                  <a:lnTo>
                    <a:pt x="0" y="1244"/>
                  </a:lnTo>
                  <a:cubicBezTo>
                    <a:pt x="0" y="558"/>
                    <a:pt x="558" y="0"/>
                    <a:pt x="1244" y="0"/>
                  </a:cubicBezTo>
                  <a:cubicBezTo>
                    <a:pt x="1473" y="0"/>
                    <a:pt x="1676" y="63"/>
                    <a:pt x="1866" y="165"/>
                  </a:cubicBezTo>
                  <a:lnTo>
                    <a:pt x="9080" y="4317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9" name="Free Form 3223">
              <a:extLst>
                <a:ext uri="{FF2B5EF4-FFF2-40B4-BE49-F238E27FC236}">
                  <a16:creationId xmlns:a16="http://schemas.microsoft.com/office/drawing/2014/main" id="{B2BDA997-7BDE-3AC1-4E7C-F209156403F6}"/>
                </a:ext>
              </a:extLst>
            </p:cNvPr>
            <p:cNvSpPr/>
            <p:nvPr/>
          </p:nvSpPr>
          <p:spPr>
            <a:xfrm>
              <a:off x="26517968" y="30163322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31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31"/>
                  </a:cubicBezTo>
                  <a:cubicBezTo>
                    <a:pt x="0" y="177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0" name="Free Form 3224">
              <a:extLst>
                <a:ext uri="{FF2B5EF4-FFF2-40B4-BE49-F238E27FC236}">
                  <a16:creationId xmlns:a16="http://schemas.microsoft.com/office/drawing/2014/main" id="{C3AF3C28-64E9-4E63-35CD-E44EE4F5721A}"/>
                </a:ext>
              </a:extLst>
            </p:cNvPr>
            <p:cNvSpPr/>
            <p:nvPr/>
          </p:nvSpPr>
          <p:spPr>
            <a:xfrm>
              <a:off x="26517942" y="30175771"/>
              <a:ext cx="75463" cy="851"/>
            </a:xfrm>
            <a:custGeom>
              <a:avLst/>
              <a:gdLst/>
              <a:ahLst/>
              <a:cxnLst/>
              <a:rect l="0" t="0" r="0" b="0"/>
              <a:pathLst>
                <a:path w="75462" h="850">
                  <a:moveTo>
                    <a:pt x="75462" y="419"/>
                  </a:moveTo>
                  <a:cubicBezTo>
                    <a:pt x="75462" y="673"/>
                    <a:pt x="58432" y="850"/>
                    <a:pt x="37731" y="850"/>
                  </a:cubicBezTo>
                  <a:cubicBezTo>
                    <a:pt x="17030" y="850"/>
                    <a:pt x="0" y="698"/>
                    <a:pt x="0" y="419"/>
                  </a:cubicBezTo>
                  <a:cubicBezTo>
                    <a:pt x="0" y="139"/>
                    <a:pt x="16865" y="0"/>
                    <a:pt x="37705" y="0"/>
                  </a:cubicBezTo>
                  <a:cubicBezTo>
                    <a:pt x="58546" y="0"/>
                    <a:pt x="75462" y="215"/>
                    <a:pt x="75462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1" name="Free Form 3225">
              <a:extLst>
                <a:ext uri="{FF2B5EF4-FFF2-40B4-BE49-F238E27FC236}">
                  <a16:creationId xmlns:a16="http://schemas.microsoft.com/office/drawing/2014/main" id="{BA009A19-D6B4-867F-B853-8DD0DD24B8CF}"/>
                </a:ext>
              </a:extLst>
            </p:cNvPr>
            <p:cNvSpPr/>
            <p:nvPr/>
          </p:nvSpPr>
          <p:spPr>
            <a:xfrm>
              <a:off x="26517942" y="30188250"/>
              <a:ext cx="75463" cy="863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60"/>
                    <a:pt x="58432" y="863"/>
                    <a:pt x="37731" y="863"/>
                  </a:cubicBezTo>
                  <a:cubicBezTo>
                    <a:pt x="17030" y="863"/>
                    <a:pt x="0" y="660"/>
                    <a:pt x="0" y="431"/>
                  </a:cubicBezTo>
                  <a:cubicBezTo>
                    <a:pt x="0" y="203"/>
                    <a:pt x="16865" y="0"/>
                    <a:pt x="37705" y="0"/>
                  </a:cubicBezTo>
                  <a:cubicBezTo>
                    <a:pt x="58546" y="0"/>
                    <a:pt x="75462" y="177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2" name="Free Form 3226">
              <a:extLst>
                <a:ext uri="{FF2B5EF4-FFF2-40B4-BE49-F238E27FC236}">
                  <a16:creationId xmlns:a16="http://schemas.microsoft.com/office/drawing/2014/main" id="{25790696-4C36-CDB0-CCE0-A6E5DA43F48D}"/>
                </a:ext>
              </a:extLst>
            </p:cNvPr>
            <p:cNvSpPr/>
            <p:nvPr/>
          </p:nvSpPr>
          <p:spPr>
            <a:xfrm>
              <a:off x="26517968" y="30200689"/>
              <a:ext cx="75437" cy="876"/>
            </a:xfrm>
            <a:custGeom>
              <a:avLst/>
              <a:gdLst/>
              <a:ahLst/>
              <a:cxnLst/>
              <a:rect l="0" t="0" r="0" b="0"/>
              <a:pathLst>
                <a:path w="75437" h="876">
                  <a:moveTo>
                    <a:pt x="75437" y="457"/>
                  </a:moveTo>
                  <a:cubicBezTo>
                    <a:pt x="75437" y="685"/>
                    <a:pt x="58406" y="876"/>
                    <a:pt x="37705" y="876"/>
                  </a:cubicBezTo>
                  <a:cubicBezTo>
                    <a:pt x="17005" y="876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3" name="Free Form 3227">
              <a:extLst>
                <a:ext uri="{FF2B5EF4-FFF2-40B4-BE49-F238E27FC236}">
                  <a16:creationId xmlns:a16="http://schemas.microsoft.com/office/drawing/2014/main" id="{000971A7-42FE-AB13-EECF-D62DE2B20C4C}"/>
                </a:ext>
              </a:extLst>
            </p:cNvPr>
            <p:cNvSpPr/>
            <p:nvPr/>
          </p:nvSpPr>
          <p:spPr>
            <a:xfrm>
              <a:off x="26517968" y="30213101"/>
              <a:ext cx="75437" cy="939"/>
            </a:xfrm>
            <a:custGeom>
              <a:avLst/>
              <a:gdLst/>
              <a:ahLst/>
              <a:cxnLst/>
              <a:rect l="0" t="0" r="0" b="0"/>
              <a:pathLst>
                <a:path w="75437" h="939">
                  <a:moveTo>
                    <a:pt x="75437" y="507"/>
                  </a:moveTo>
                  <a:cubicBezTo>
                    <a:pt x="75437" y="736"/>
                    <a:pt x="58406" y="939"/>
                    <a:pt x="37705" y="939"/>
                  </a:cubicBezTo>
                  <a:cubicBezTo>
                    <a:pt x="17005" y="939"/>
                    <a:pt x="0" y="736"/>
                    <a:pt x="0" y="507"/>
                  </a:cubicBezTo>
                  <a:cubicBezTo>
                    <a:pt x="0" y="279"/>
                    <a:pt x="17005" y="0"/>
                    <a:pt x="37705" y="0"/>
                  </a:cubicBezTo>
                  <a:cubicBezTo>
                    <a:pt x="58406" y="0"/>
                    <a:pt x="75437" y="253"/>
                    <a:pt x="75437" y="50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4" name="Free Form 3228">
              <a:extLst>
                <a:ext uri="{FF2B5EF4-FFF2-40B4-BE49-F238E27FC236}">
                  <a16:creationId xmlns:a16="http://schemas.microsoft.com/office/drawing/2014/main" id="{10AD26BE-A339-430E-BC5E-2F13C6A1CB40}"/>
                </a:ext>
              </a:extLst>
            </p:cNvPr>
            <p:cNvSpPr/>
            <p:nvPr/>
          </p:nvSpPr>
          <p:spPr>
            <a:xfrm>
              <a:off x="26406817" y="30249976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5" name="Free Form 3229">
              <a:extLst>
                <a:ext uri="{FF2B5EF4-FFF2-40B4-BE49-F238E27FC236}">
                  <a16:creationId xmlns:a16="http://schemas.microsoft.com/office/drawing/2014/main" id="{DB20D219-2E42-8FDF-CAEB-5A7D93B483F0}"/>
                </a:ext>
              </a:extLst>
            </p:cNvPr>
            <p:cNvSpPr/>
            <p:nvPr/>
          </p:nvSpPr>
          <p:spPr>
            <a:xfrm>
              <a:off x="26447934" y="30272174"/>
              <a:ext cx="16866" cy="19342"/>
            </a:xfrm>
            <a:custGeom>
              <a:avLst/>
              <a:gdLst/>
              <a:ahLst/>
              <a:cxnLst/>
              <a:rect l="0" t="0" r="0" b="0"/>
              <a:pathLst>
                <a:path w="16865" h="19341">
                  <a:moveTo>
                    <a:pt x="16065" y="8521"/>
                  </a:moveTo>
                  <a:cubicBezTo>
                    <a:pt x="16649" y="8851"/>
                    <a:pt x="16865" y="9601"/>
                    <a:pt x="16535" y="10185"/>
                  </a:cubicBezTo>
                  <a:cubicBezTo>
                    <a:pt x="16420" y="10375"/>
                    <a:pt x="16255" y="10540"/>
                    <a:pt x="16065" y="10655"/>
                  </a:cubicBezTo>
                  <a:lnTo>
                    <a:pt x="8940" y="14744"/>
                  </a:lnTo>
                  <a:lnTo>
                    <a:pt x="1866" y="18998"/>
                  </a:lnTo>
                  <a:cubicBezTo>
                    <a:pt x="1269" y="19341"/>
                    <a:pt x="507" y="19138"/>
                    <a:pt x="165" y="18541"/>
                  </a:cubicBezTo>
                  <a:cubicBezTo>
                    <a:pt x="50" y="18351"/>
                    <a:pt x="0" y="18135"/>
                    <a:pt x="0" y="17919"/>
                  </a:cubicBezTo>
                  <a:lnTo>
                    <a:pt x="0" y="1257"/>
                  </a:lnTo>
                  <a:cubicBezTo>
                    <a:pt x="0" y="558"/>
                    <a:pt x="558" y="0"/>
                    <a:pt x="1244" y="12"/>
                  </a:cubicBezTo>
                  <a:cubicBezTo>
                    <a:pt x="1473" y="12"/>
                    <a:pt x="1676" y="63"/>
                    <a:pt x="1866" y="177"/>
                  </a:cubicBezTo>
                  <a:lnTo>
                    <a:pt x="9080" y="4343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6" name="Free Form 3230">
              <a:extLst>
                <a:ext uri="{FF2B5EF4-FFF2-40B4-BE49-F238E27FC236}">
                  <a16:creationId xmlns:a16="http://schemas.microsoft.com/office/drawing/2014/main" id="{CAB69A18-94DA-1D8B-8A74-AD9CA33CD24C}"/>
                </a:ext>
              </a:extLst>
            </p:cNvPr>
            <p:cNvSpPr/>
            <p:nvPr/>
          </p:nvSpPr>
          <p:spPr>
            <a:xfrm>
              <a:off x="26517968" y="30256391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57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57"/>
                  </a:cubicBezTo>
                  <a:cubicBezTo>
                    <a:pt x="0" y="228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7" name="Free Form 3231">
              <a:extLst>
                <a:ext uri="{FF2B5EF4-FFF2-40B4-BE49-F238E27FC236}">
                  <a16:creationId xmlns:a16="http://schemas.microsoft.com/office/drawing/2014/main" id="{73E355F4-287E-0C4E-59E7-C7E1230CBD5A}"/>
                </a:ext>
              </a:extLst>
            </p:cNvPr>
            <p:cNvSpPr/>
            <p:nvPr/>
          </p:nvSpPr>
          <p:spPr>
            <a:xfrm>
              <a:off x="26517942" y="30268854"/>
              <a:ext cx="75463" cy="877"/>
            </a:xfrm>
            <a:custGeom>
              <a:avLst/>
              <a:gdLst/>
              <a:ahLst/>
              <a:cxnLst/>
              <a:rect l="0" t="0" r="0" b="0"/>
              <a:pathLst>
                <a:path w="75462" h="876">
                  <a:moveTo>
                    <a:pt x="75462" y="457"/>
                  </a:moveTo>
                  <a:cubicBezTo>
                    <a:pt x="75462" y="685"/>
                    <a:pt x="58432" y="876"/>
                    <a:pt x="37731" y="876"/>
                  </a:cubicBezTo>
                  <a:cubicBezTo>
                    <a:pt x="17030" y="876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62" y="203"/>
                    <a:pt x="75462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8" name="Free Form 3232">
              <a:extLst>
                <a:ext uri="{FF2B5EF4-FFF2-40B4-BE49-F238E27FC236}">
                  <a16:creationId xmlns:a16="http://schemas.microsoft.com/office/drawing/2014/main" id="{01131101-3520-625A-93CC-38F862465CDD}"/>
                </a:ext>
              </a:extLst>
            </p:cNvPr>
            <p:cNvSpPr/>
            <p:nvPr/>
          </p:nvSpPr>
          <p:spPr>
            <a:xfrm>
              <a:off x="26517968" y="30281241"/>
              <a:ext cx="75437" cy="965"/>
            </a:xfrm>
            <a:custGeom>
              <a:avLst/>
              <a:gdLst/>
              <a:ahLst/>
              <a:cxnLst/>
              <a:rect l="0" t="0" r="0" b="0"/>
              <a:pathLst>
                <a:path w="75437" h="965">
                  <a:moveTo>
                    <a:pt x="75437" y="533"/>
                  </a:moveTo>
                  <a:cubicBezTo>
                    <a:pt x="75437" y="761"/>
                    <a:pt x="58406" y="965"/>
                    <a:pt x="37705" y="965"/>
                  </a:cubicBezTo>
                  <a:cubicBezTo>
                    <a:pt x="17005" y="965"/>
                    <a:pt x="0" y="761"/>
                    <a:pt x="0" y="533"/>
                  </a:cubicBezTo>
                  <a:cubicBezTo>
                    <a:pt x="0" y="304"/>
                    <a:pt x="17005" y="0"/>
                    <a:pt x="37705" y="0"/>
                  </a:cubicBezTo>
                  <a:cubicBezTo>
                    <a:pt x="58406" y="0"/>
                    <a:pt x="75437" y="279"/>
                    <a:pt x="75437" y="53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9" name="Free Form 3233">
              <a:extLst>
                <a:ext uri="{FF2B5EF4-FFF2-40B4-BE49-F238E27FC236}">
                  <a16:creationId xmlns:a16="http://schemas.microsoft.com/office/drawing/2014/main" id="{5594AB9E-A22E-BD05-20D5-531DA76833AE}"/>
                </a:ext>
              </a:extLst>
            </p:cNvPr>
            <p:cNvSpPr/>
            <p:nvPr/>
          </p:nvSpPr>
          <p:spPr>
            <a:xfrm>
              <a:off x="26517968" y="30293789"/>
              <a:ext cx="75437" cy="877"/>
            </a:xfrm>
            <a:custGeom>
              <a:avLst/>
              <a:gdLst/>
              <a:ahLst/>
              <a:cxnLst/>
              <a:rect l="0" t="0" r="0" b="0"/>
              <a:pathLst>
                <a:path w="75437" h="876">
                  <a:moveTo>
                    <a:pt x="75437" y="419"/>
                  </a:moveTo>
                  <a:cubicBezTo>
                    <a:pt x="75437" y="673"/>
                    <a:pt x="58406" y="876"/>
                    <a:pt x="37705" y="876"/>
                  </a:cubicBezTo>
                  <a:cubicBezTo>
                    <a:pt x="17005" y="876"/>
                    <a:pt x="0" y="673"/>
                    <a:pt x="0" y="419"/>
                  </a:cubicBezTo>
                  <a:cubicBezTo>
                    <a:pt x="0" y="165"/>
                    <a:pt x="16865" y="0"/>
                    <a:pt x="37705" y="0"/>
                  </a:cubicBezTo>
                  <a:cubicBezTo>
                    <a:pt x="58546" y="0"/>
                    <a:pt x="75437" y="190"/>
                    <a:pt x="75437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0" name="Free Form 3234">
              <a:extLst>
                <a:ext uri="{FF2B5EF4-FFF2-40B4-BE49-F238E27FC236}">
                  <a16:creationId xmlns:a16="http://schemas.microsoft.com/office/drawing/2014/main" id="{5E089B7C-9781-913C-7A1A-D04D80E7FDAA}"/>
                </a:ext>
              </a:extLst>
            </p:cNvPr>
            <p:cNvSpPr/>
            <p:nvPr/>
          </p:nvSpPr>
          <p:spPr>
            <a:xfrm>
              <a:off x="26517942" y="30306367"/>
              <a:ext cx="75463" cy="877"/>
            </a:xfrm>
            <a:custGeom>
              <a:avLst/>
              <a:gdLst/>
              <a:ahLst/>
              <a:cxnLst/>
              <a:rect l="0" t="0" r="0" b="0"/>
              <a:pathLst>
                <a:path w="75462" h="876">
                  <a:moveTo>
                    <a:pt x="75462" y="419"/>
                  </a:moveTo>
                  <a:cubicBezTo>
                    <a:pt x="75462" y="673"/>
                    <a:pt x="58432" y="876"/>
                    <a:pt x="37731" y="876"/>
                  </a:cubicBezTo>
                  <a:cubicBezTo>
                    <a:pt x="17030" y="876"/>
                    <a:pt x="0" y="558"/>
                    <a:pt x="0" y="419"/>
                  </a:cubicBezTo>
                  <a:cubicBezTo>
                    <a:pt x="0" y="279"/>
                    <a:pt x="16865" y="0"/>
                    <a:pt x="37705" y="0"/>
                  </a:cubicBezTo>
                  <a:cubicBezTo>
                    <a:pt x="58546" y="0"/>
                    <a:pt x="75462" y="76"/>
                    <a:pt x="75462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1" name="Free Form 3235">
              <a:extLst>
                <a:ext uri="{FF2B5EF4-FFF2-40B4-BE49-F238E27FC236}">
                  <a16:creationId xmlns:a16="http://schemas.microsoft.com/office/drawing/2014/main" id="{E96932DA-C772-6526-FB60-B813D0DC2B7A}"/>
                </a:ext>
              </a:extLst>
            </p:cNvPr>
            <p:cNvSpPr/>
            <p:nvPr/>
          </p:nvSpPr>
          <p:spPr>
            <a:xfrm>
              <a:off x="26406817" y="30343041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2" name="Free Form 3236">
              <a:extLst>
                <a:ext uri="{FF2B5EF4-FFF2-40B4-BE49-F238E27FC236}">
                  <a16:creationId xmlns:a16="http://schemas.microsoft.com/office/drawing/2014/main" id="{D4357701-6690-D6B1-F122-D31E8F47BD67}"/>
                </a:ext>
              </a:extLst>
            </p:cNvPr>
            <p:cNvSpPr/>
            <p:nvPr/>
          </p:nvSpPr>
          <p:spPr>
            <a:xfrm>
              <a:off x="26447934" y="30365163"/>
              <a:ext cx="16866" cy="19418"/>
            </a:xfrm>
            <a:custGeom>
              <a:avLst/>
              <a:gdLst/>
              <a:ahLst/>
              <a:cxnLst/>
              <a:rect l="0" t="0" r="0" b="0"/>
              <a:pathLst>
                <a:path w="16865" h="19418">
                  <a:moveTo>
                    <a:pt x="16065" y="8597"/>
                  </a:moveTo>
                  <a:cubicBezTo>
                    <a:pt x="16662" y="8940"/>
                    <a:pt x="16865" y="9715"/>
                    <a:pt x="16509" y="10312"/>
                  </a:cubicBezTo>
                  <a:cubicBezTo>
                    <a:pt x="16408" y="10490"/>
                    <a:pt x="16255" y="10642"/>
                    <a:pt x="16065" y="10756"/>
                  </a:cubicBezTo>
                  <a:lnTo>
                    <a:pt x="8851" y="14935"/>
                  </a:lnTo>
                  <a:lnTo>
                    <a:pt x="1866" y="19075"/>
                  </a:lnTo>
                  <a:cubicBezTo>
                    <a:pt x="1269" y="19418"/>
                    <a:pt x="507" y="19214"/>
                    <a:pt x="165" y="18618"/>
                  </a:cubicBezTo>
                  <a:cubicBezTo>
                    <a:pt x="50" y="18427"/>
                    <a:pt x="0" y="18211"/>
                    <a:pt x="0" y="17995"/>
                  </a:cubicBezTo>
                  <a:lnTo>
                    <a:pt x="0" y="1244"/>
                  </a:lnTo>
                  <a:cubicBezTo>
                    <a:pt x="0" y="558"/>
                    <a:pt x="558" y="0"/>
                    <a:pt x="1244" y="0"/>
                  </a:cubicBezTo>
                  <a:cubicBezTo>
                    <a:pt x="1473" y="0"/>
                    <a:pt x="1676" y="63"/>
                    <a:pt x="1866" y="165"/>
                  </a:cubicBezTo>
                  <a:lnTo>
                    <a:pt x="9080" y="4305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3" name="Free Form 3237">
              <a:extLst>
                <a:ext uri="{FF2B5EF4-FFF2-40B4-BE49-F238E27FC236}">
                  <a16:creationId xmlns:a16="http://schemas.microsoft.com/office/drawing/2014/main" id="{EAA8988F-6EC9-F715-B13D-BA6C13E4BE5E}"/>
                </a:ext>
              </a:extLst>
            </p:cNvPr>
            <p:cNvSpPr/>
            <p:nvPr/>
          </p:nvSpPr>
          <p:spPr>
            <a:xfrm>
              <a:off x="26517968" y="30349481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31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31"/>
                  </a:cubicBezTo>
                  <a:cubicBezTo>
                    <a:pt x="0" y="177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4" name="Free Form 3238">
              <a:extLst>
                <a:ext uri="{FF2B5EF4-FFF2-40B4-BE49-F238E27FC236}">
                  <a16:creationId xmlns:a16="http://schemas.microsoft.com/office/drawing/2014/main" id="{54B7E01E-375E-A70F-C1FC-5B1B2F7C15D4}"/>
                </a:ext>
              </a:extLst>
            </p:cNvPr>
            <p:cNvSpPr/>
            <p:nvPr/>
          </p:nvSpPr>
          <p:spPr>
            <a:xfrm>
              <a:off x="26517968" y="30361944"/>
              <a:ext cx="75437" cy="889"/>
            </a:xfrm>
            <a:custGeom>
              <a:avLst/>
              <a:gdLst/>
              <a:ahLst/>
              <a:cxnLst/>
              <a:rect l="0" t="0" r="0" b="0"/>
              <a:pathLst>
                <a:path w="75437" h="888">
                  <a:moveTo>
                    <a:pt x="75437" y="431"/>
                  </a:moveTo>
                  <a:cubicBezTo>
                    <a:pt x="75437" y="685"/>
                    <a:pt x="58406" y="888"/>
                    <a:pt x="37705" y="888"/>
                  </a:cubicBezTo>
                  <a:cubicBezTo>
                    <a:pt x="17005" y="888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5" name="Free Form 3239">
              <a:extLst>
                <a:ext uri="{FF2B5EF4-FFF2-40B4-BE49-F238E27FC236}">
                  <a16:creationId xmlns:a16="http://schemas.microsoft.com/office/drawing/2014/main" id="{78E630FB-99FB-01B7-0D01-FA4C412D21D0}"/>
                </a:ext>
              </a:extLst>
            </p:cNvPr>
            <p:cNvSpPr/>
            <p:nvPr/>
          </p:nvSpPr>
          <p:spPr>
            <a:xfrm>
              <a:off x="26517942" y="30374492"/>
              <a:ext cx="75463" cy="863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85"/>
                    <a:pt x="58432" y="863"/>
                    <a:pt x="37731" y="863"/>
                  </a:cubicBezTo>
                  <a:cubicBezTo>
                    <a:pt x="17030" y="863"/>
                    <a:pt x="0" y="596"/>
                    <a:pt x="0" y="431"/>
                  </a:cubicBezTo>
                  <a:cubicBezTo>
                    <a:pt x="0" y="266"/>
                    <a:pt x="16865" y="0"/>
                    <a:pt x="37705" y="0"/>
                  </a:cubicBezTo>
                  <a:cubicBezTo>
                    <a:pt x="58546" y="0"/>
                    <a:pt x="75462" y="114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6" name="Free Form 3240">
              <a:extLst>
                <a:ext uri="{FF2B5EF4-FFF2-40B4-BE49-F238E27FC236}">
                  <a16:creationId xmlns:a16="http://schemas.microsoft.com/office/drawing/2014/main" id="{CC5F0C7D-DCB1-14E5-F36D-E00EBE1819F3}"/>
                </a:ext>
              </a:extLst>
            </p:cNvPr>
            <p:cNvSpPr/>
            <p:nvPr/>
          </p:nvSpPr>
          <p:spPr>
            <a:xfrm>
              <a:off x="26517968" y="30386872"/>
              <a:ext cx="75437" cy="851"/>
            </a:xfrm>
            <a:custGeom>
              <a:avLst/>
              <a:gdLst/>
              <a:ahLst/>
              <a:cxnLst/>
              <a:rect l="0" t="0" r="0" b="0"/>
              <a:pathLst>
                <a:path w="75437" h="850">
                  <a:moveTo>
                    <a:pt x="75437" y="431"/>
                  </a:moveTo>
                  <a:cubicBezTo>
                    <a:pt x="75437" y="660"/>
                    <a:pt x="58406" y="850"/>
                    <a:pt x="37705" y="850"/>
                  </a:cubicBezTo>
                  <a:cubicBezTo>
                    <a:pt x="17005" y="850"/>
                    <a:pt x="0" y="660"/>
                    <a:pt x="0" y="431"/>
                  </a:cubicBezTo>
                  <a:cubicBezTo>
                    <a:pt x="0" y="203"/>
                    <a:pt x="16865" y="0"/>
                    <a:pt x="37705" y="0"/>
                  </a:cubicBezTo>
                  <a:cubicBezTo>
                    <a:pt x="58546" y="0"/>
                    <a:pt x="75437" y="177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7" name="Free Form 3241">
              <a:extLst>
                <a:ext uri="{FF2B5EF4-FFF2-40B4-BE49-F238E27FC236}">
                  <a16:creationId xmlns:a16="http://schemas.microsoft.com/office/drawing/2014/main" id="{6AB23822-A6AB-C7A9-5687-97D570FE0058}"/>
                </a:ext>
              </a:extLst>
            </p:cNvPr>
            <p:cNvSpPr/>
            <p:nvPr/>
          </p:nvSpPr>
          <p:spPr>
            <a:xfrm>
              <a:off x="26517968" y="30399309"/>
              <a:ext cx="75437" cy="889"/>
            </a:xfrm>
            <a:custGeom>
              <a:avLst/>
              <a:gdLst/>
              <a:ahLst/>
              <a:cxnLst/>
              <a:rect l="0" t="0" r="0" b="0"/>
              <a:pathLst>
                <a:path w="75437" h="888">
                  <a:moveTo>
                    <a:pt x="75437" y="457"/>
                  </a:moveTo>
                  <a:cubicBezTo>
                    <a:pt x="75437" y="685"/>
                    <a:pt x="58406" y="888"/>
                    <a:pt x="37705" y="888"/>
                  </a:cubicBezTo>
                  <a:cubicBezTo>
                    <a:pt x="17005" y="888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8" name="Free Form 3242">
              <a:extLst>
                <a:ext uri="{FF2B5EF4-FFF2-40B4-BE49-F238E27FC236}">
                  <a16:creationId xmlns:a16="http://schemas.microsoft.com/office/drawing/2014/main" id="{7F87CF00-4791-3ACB-42E9-973F0BE5778F}"/>
                </a:ext>
              </a:extLst>
            </p:cNvPr>
            <p:cNvSpPr/>
            <p:nvPr/>
          </p:nvSpPr>
          <p:spPr>
            <a:xfrm>
              <a:off x="26406817" y="30436133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9" name="Free Form 3243">
              <a:extLst>
                <a:ext uri="{FF2B5EF4-FFF2-40B4-BE49-F238E27FC236}">
                  <a16:creationId xmlns:a16="http://schemas.microsoft.com/office/drawing/2014/main" id="{802E78AD-BEEC-0815-981F-980E7D0565E8}"/>
                </a:ext>
              </a:extLst>
            </p:cNvPr>
            <p:cNvSpPr/>
            <p:nvPr/>
          </p:nvSpPr>
          <p:spPr>
            <a:xfrm>
              <a:off x="26447934" y="30458331"/>
              <a:ext cx="16866" cy="19342"/>
            </a:xfrm>
            <a:custGeom>
              <a:avLst/>
              <a:gdLst/>
              <a:ahLst/>
              <a:cxnLst/>
              <a:rect l="0" t="0" r="0" b="0"/>
              <a:pathLst>
                <a:path w="16865" h="19341">
                  <a:moveTo>
                    <a:pt x="16065" y="8521"/>
                  </a:moveTo>
                  <a:cubicBezTo>
                    <a:pt x="16662" y="8864"/>
                    <a:pt x="16865" y="9639"/>
                    <a:pt x="16509" y="10236"/>
                  </a:cubicBezTo>
                  <a:cubicBezTo>
                    <a:pt x="16408" y="10413"/>
                    <a:pt x="16255" y="10566"/>
                    <a:pt x="16065" y="10680"/>
                  </a:cubicBezTo>
                  <a:lnTo>
                    <a:pt x="8851" y="14820"/>
                  </a:lnTo>
                  <a:lnTo>
                    <a:pt x="1866" y="18998"/>
                  </a:lnTo>
                  <a:cubicBezTo>
                    <a:pt x="1269" y="19341"/>
                    <a:pt x="507" y="19138"/>
                    <a:pt x="165" y="18541"/>
                  </a:cubicBezTo>
                  <a:cubicBezTo>
                    <a:pt x="50" y="18351"/>
                    <a:pt x="0" y="18135"/>
                    <a:pt x="0" y="17919"/>
                  </a:cubicBezTo>
                  <a:lnTo>
                    <a:pt x="0" y="1257"/>
                  </a:lnTo>
                  <a:cubicBezTo>
                    <a:pt x="0" y="558"/>
                    <a:pt x="558" y="0"/>
                    <a:pt x="1244" y="12"/>
                  </a:cubicBezTo>
                  <a:cubicBezTo>
                    <a:pt x="1473" y="12"/>
                    <a:pt x="1676" y="63"/>
                    <a:pt x="1866" y="177"/>
                  </a:cubicBezTo>
                  <a:lnTo>
                    <a:pt x="9080" y="4343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0" name="Free Form 3244">
              <a:extLst>
                <a:ext uri="{FF2B5EF4-FFF2-40B4-BE49-F238E27FC236}">
                  <a16:creationId xmlns:a16="http://schemas.microsoft.com/office/drawing/2014/main" id="{4ED75E51-97D2-079B-95A6-A872588698A3}"/>
                </a:ext>
              </a:extLst>
            </p:cNvPr>
            <p:cNvSpPr/>
            <p:nvPr/>
          </p:nvSpPr>
          <p:spPr>
            <a:xfrm>
              <a:off x="26517968" y="30443425"/>
              <a:ext cx="65074" cy="851"/>
            </a:xfrm>
            <a:custGeom>
              <a:avLst/>
              <a:gdLst/>
              <a:ahLst/>
              <a:cxnLst/>
              <a:rect l="0" t="0" r="0" b="0"/>
              <a:pathLst>
                <a:path w="65074" h="850">
                  <a:moveTo>
                    <a:pt x="65074" y="431"/>
                  </a:moveTo>
                  <a:cubicBezTo>
                    <a:pt x="65074" y="685"/>
                    <a:pt x="50507" y="850"/>
                    <a:pt x="32537" y="850"/>
                  </a:cubicBezTo>
                  <a:cubicBezTo>
                    <a:pt x="14566" y="850"/>
                    <a:pt x="0" y="685"/>
                    <a:pt x="0" y="431"/>
                  </a:cubicBezTo>
                  <a:cubicBezTo>
                    <a:pt x="0" y="177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1" name="Free Form 3245">
              <a:extLst>
                <a:ext uri="{FF2B5EF4-FFF2-40B4-BE49-F238E27FC236}">
                  <a16:creationId xmlns:a16="http://schemas.microsoft.com/office/drawing/2014/main" id="{28A20472-5B8E-B219-F494-660BB73B0BD0}"/>
                </a:ext>
              </a:extLst>
            </p:cNvPr>
            <p:cNvSpPr/>
            <p:nvPr/>
          </p:nvSpPr>
          <p:spPr>
            <a:xfrm>
              <a:off x="26517942" y="30455690"/>
              <a:ext cx="75463" cy="863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60"/>
                    <a:pt x="58432" y="863"/>
                    <a:pt x="37731" y="863"/>
                  </a:cubicBezTo>
                  <a:cubicBezTo>
                    <a:pt x="17030" y="863"/>
                    <a:pt x="0" y="660"/>
                    <a:pt x="0" y="431"/>
                  </a:cubicBezTo>
                  <a:cubicBezTo>
                    <a:pt x="0" y="203"/>
                    <a:pt x="16865" y="0"/>
                    <a:pt x="37705" y="0"/>
                  </a:cubicBezTo>
                  <a:cubicBezTo>
                    <a:pt x="58546" y="0"/>
                    <a:pt x="75462" y="177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2" name="Free Form 3246">
              <a:extLst>
                <a:ext uri="{FF2B5EF4-FFF2-40B4-BE49-F238E27FC236}">
                  <a16:creationId xmlns:a16="http://schemas.microsoft.com/office/drawing/2014/main" id="{DDDC447F-C9E6-25AF-CCD1-78AFA377C89F}"/>
                </a:ext>
              </a:extLst>
            </p:cNvPr>
            <p:cNvSpPr/>
            <p:nvPr/>
          </p:nvSpPr>
          <p:spPr>
            <a:xfrm>
              <a:off x="26517942" y="30467926"/>
              <a:ext cx="75463" cy="864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60"/>
                    <a:pt x="58432" y="863"/>
                    <a:pt x="37731" y="863"/>
                  </a:cubicBezTo>
                  <a:cubicBezTo>
                    <a:pt x="17030" y="863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62" y="203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3" name="Free Form 3247">
              <a:extLst>
                <a:ext uri="{FF2B5EF4-FFF2-40B4-BE49-F238E27FC236}">
                  <a16:creationId xmlns:a16="http://schemas.microsoft.com/office/drawing/2014/main" id="{DAFE1D9F-FB46-FB91-1478-525E9AB23D88}"/>
                </a:ext>
              </a:extLst>
            </p:cNvPr>
            <p:cNvSpPr/>
            <p:nvPr/>
          </p:nvSpPr>
          <p:spPr>
            <a:xfrm>
              <a:off x="26517968" y="30480162"/>
              <a:ext cx="75437" cy="864"/>
            </a:xfrm>
            <a:custGeom>
              <a:avLst/>
              <a:gdLst/>
              <a:ahLst/>
              <a:cxnLst/>
              <a:rect l="0" t="0" r="0" b="0"/>
              <a:pathLst>
                <a:path w="75437" h="863">
                  <a:moveTo>
                    <a:pt x="75437" y="431"/>
                  </a:moveTo>
                  <a:cubicBezTo>
                    <a:pt x="75437" y="685"/>
                    <a:pt x="58406" y="863"/>
                    <a:pt x="37705" y="863"/>
                  </a:cubicBezTo>
                  <a:cubicBezTo>
                    <a:pt x="17005" y="863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4" name="Free Form 3248">
              <a:extLst>
                <a:ext uri="{FF2B5EF4-FFF2-40B4-BE49-F238E27FC236}">
                  <a16:creationId xmlns:a16="http://schemas.microsoft.com/office/drawing/2014/main" id="{C31BEAE5-CE8F-E91F-F1F8-2FBF5E01689D}"/>
                </a:ext>
              </a:extLst>
            </p:cNvPr>
            <p:cNvSpPr/>
            <p:nvPr/>
          </p:nvSpPr>
          <p:spPr>
            <a:xfrm>
              <a:off x="26517968" y="30492439"/>
              <a:ext cx="75437" cy="851"/>
            </a:xfrm>
            <a:custGeom>
              <a:avLst/>
              <a:gdLst/>
              <a:ahLst/>
              <a:cxnLst/>
              <a:rect l="0" t="0" r="0" b="0"/>
              <a:pathLst>
                <a:path w="75437" h="850">
                  <a:moveTo>
                    <a:pt x="75437" y="419"/>
                  </a:moveTo>
                  <a:cubicBezTo>
                    <a:pt x="75437" y="647"/>
                    <a:pt x="58406" y="850"/>
                    <a:pt x="37705" y="850"/>
                  </a:cubicBezTo>
                  <a:cubicBezTo>
                    <a:pt x="17005" y="850"/>
                    <a:pt x="0" y="647"/>
                    <a:pt x="0" y="419"/>
                  </a:cubicBezTo>
                  <a:cubicBezTo>
                    <a:pt x="0" y="190"/>
                    <a:pt x="16865" y="0"/>
                    <a:pt x="37705" y="0"/>
                  </a:cubicBezTo>
                  <a:cubicBezTo>
                    <a:pt x="58546" y="0"/>
                    <a:pt x="75437" y="165"/>
                    <a:pt x="75437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5" name="Free Form 3249">
              <a:extLst>
                <a:ext uri="{FF2B5EF4-FFF2-40B4-BE49-F238E27FC236}">
                  <a16:creationId xmlns:a16="http://schemas.microsoft.com/office/drawing/2014/main" id="{4F8CA64C-96F3-7C0F-6F85-8564A0F72F35}"/>
                </a:ext>
              </a:extLst>
            </p:cNvPr>
            <p:cNvSpPr/>
            <p:nvPr/>
          </p:nvSpPr>
          <p:spPr>
            <a:xfrm>
              <a:off x="25713972" y="29990123"/>
              <a:ext cx="8293" cy="8280"/>
            </a:xfrm>
            <a:custGeom>
              <a:avLst/>
              <a:gdLst/>
              <a:ahLst/>
              <a:cxnLst/>
              <a:rect l="0" t="0" r="0" b="0"/>
              <a:pathLst>
                <a:path w="8293" h="8280">
                  <a:moveTo>
                    <a:pt x="8293" y="4140"/>
                  </a:moveTo>
                  <a:cubicBezTo>
                    <a:pt x="8293" y="6426"/>
                    <a:pt x="6438" y="8280"/>
                    <a:pt x="4152" y="8280"/>
                  </a:cubicBezTo>
                  <a:cubicBezTo>
                    <a:pt x="1854" y="8280"/>
                    <a:pt x="0" y="6426"/>
                    <a:pt x="0" y="4140"/>
                  </a:cubicBezTo>
                  <a:cubicBezTo>
                    <a:pt x="0" y="1854"/>
                    <a:pt x="1854" y="0"/>
                    <a:pt x="4152" y="0"/>
                  </a:cubicBezTo>
                  <a:cubicBezTo>
                    <a:pt x="6438" y="0"/>
                    <a:pt x="8293" y="1854"/>
                    <a:pt x="8293" y="414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6" name="Free Form 3250">
              <a:extLst>
                <a:ext uri="{FF2B5EF4-FFF2-40B4-BE49-F238E27FC236}">
                  <a16:creationId xmlns:a16="http://schemas.microsoft.com/office/drawing/2014/main" id="{55795A2A-FF99-8BA6-10D2-4EB9095DA65B}"/>
                </a:ext>
              </a:extLst>
            </p:cNvPr>
            <p:cNvSpPr/>
            <p:nvPr/>
          </p:nvSpPr>
          <p:spPr>
            <a:xfrm>
              <a:off x="25727239" y="29990118"/>
              <a:ext cx="8280" cy="8293"/>
            </a:xfrm>
            <a:custGeom>
              <a:avLst/>
              <a:gdLst/>
              <a:ahLst/>
              <a:cxnLst/>
              <a:rect l="0" t="0" r="0" b="0"/>
              <a:pathLst>
                <a:path w="8280" h="8293">
                  <a:moveTo>
                    <a:pt x="4140" y="0"/>
                  </a:moveTo>
                  <a:cubicBezTo>
                    <a:pt x="6426" y="0"/>
                    <a:pt x="8280" y="1854"/>
                    <a:pt x="8280" y="4140"/>
                  </a:cubicBezTo>
                  <a:cubicBezTo>
                    <a:pt x="8280" y="6438"/>
                    <a:pt x="6426" y="8293"/>
                    <a:pt x="4140" y="8293"/>
                  </a:cubicBezTo>
                  <a:cubicBezTo>
                    <a:pt x="1854" y="8293"/>
                    <a:pt x="0" y="6438"/>
                    <a:pt x="0" y="4140"/>
                  </a:cubicBezTo>
                  <a:cubicBezTo>
                    <a:pt x="0" y="1854"/>
                    <a:pt x="1854" y="0"/>
                    <a:pt x="4140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7" name="Free Form 3251">
              <a:extLst>
                <a:ext uri="{FF2B5EF4-FFF2-40B4-BE49-F238E27FC236}">
                  <a16:creationId xmlns:a16="http://schemas.microsoft.com/office/drawing/2014/main" id="{0B8D24D9-014D-51AC-2435-E80D453217B1}"/>
                </a:ext>
              </a:extLst>
            </p:cNvPr>
            <p:cNvSpPr/>
            <p:nvPr/>
          </p:nvSpPr>
          <p:spPr>
            <a:xfrm>
              <a:off x="25740469" y="29990118"/>
              <a:ext cx="8281" cy="8293"/>
            </a:xfrm>
            <a:custGeom>
              <a:avLst/>
              <a:gdLst/>
              <a:ahLst/>
              <a:cxnLst/>
              <a:rect l="0" t="0" r="0" b="0"/>
              <a:pathLst>
                <a:path w="8280" h="8293">
                  <a:moveTo>
                    <a:pt x="4140" y="0"/>
                  </a:moveTo>
                  <a:cubicBezTo>
                    <a:pt x="6426" y="0"/>
                    <a:pt x="8280" y="1854"/>
                    <a:pt x="8280" y="4140"/>
                  </a:cubicBezTo>
                  <a:cubicBezTo>
                    <a:pt x="8280" y="6438"/>
                    <a:pt x="6426" y="8293"/>
                    <a:pt x="4140" y="8293"/>
                  </a:cubicBezTo>
                  <a:cubicBezTo>
                    <a:pt x="1854" y="8293"/>
                    <a:pt x="0" y="6438"/>
                    <a:pt x="0" y="4140"/>
                  </a:cubicBezTo>
                  <a:cubicBezTo>
                    <a:pt x="0" y="1854"/>
                    <a:pt x="1854" y="0"/>
                    <a:pt x="4140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8" name="Rectangle 3252">
              <a:extLst>
                <a:ext uri="{FF2B5EF4-FFF2-40B4-BE49-F238E27FC236}">
                  <a16:creationId xmlns:a16="http://schemas.microsoft.com/office/drawing/2014/main" id="{A6D4D927-A109-B7CB-AC02-910355DA389D}"/>
                </a:ext>
              </a:extLst>
            </p:cNvPr>
            <p:cNvSpPr/>
            <p:nvPr/>
          </p:nvSpPr>
          <p:spPr>
            <a:xfrm>
              <a:off x="25760741" y="30057616"/>
              <a:ext cx="593566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9" name="Rectangle 3254">
              <a:extLst>
                <a:ext uri="{FF2B5EF4-FFF2-40B4-BE49-F238E27FC236}">
                  <a16:creationId xmlns:a16="http://schemas.microsoft.com/office/drawing/2014/main" id="{B4BD1902-F714-17D0-66E8-0F91A6E21B7A}"/>
                </a:ext>
              </a:extLst>
            </p:cNvPr>
            <p:cNvSpPr/>
            <p:nvPr/>
          </p:nvSpPr>
          <p:spPr>
            <a:xfrm>
              <a:off x="25402109" y="29850545"/>
              <a:ext cx="981891" cy="388078"/>
            </a:xfrm>
            <a:prstGeom prst="rect">
              <a:avLst/>
            </a:pr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0" name="Rectangle 3255">
              <a:extLst>
                <a:ext uri="{FF2B5EF4-FFF2-40B4-BE49-F238E27FC236}">
                  <a16:creationId xmlns:a16="http://schemas.microsoft.com/office/drawing/2014/main" id="{5E20B2EC-5094-FDC8-964C-AE222578D017}"/>
                </a:ext>
              </a:extLst>
            </p:cNvPr>
            <p:cNvSpPr/>
            <p:nvPr/>
          </p:nvSpPr>
          <p:spPr>
            <a:xfrm>
              <a:off x="25462890" y="29801603"/>
              <a:ext cx="515603" cy="388078"/>
            </a:xfrm>
            <a:prstGeom prst="rect">
              <a:avLst/>
            </a:pr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1" name="Free Form 3256">
              <a:extLst>
                <a:ext uri="{FF2B5EF4-FFF2-40B4-BE49-F238E27FC236}">
                  <a16:creationId xmlns:a16="http://schemas.microsoft.com/office/drawing/2014/main" id="{4D0EE076-C8A6-4E4F-E287-326AC8B3E364}"/>
                </a:ext>
              </a:extLst>
            </p:cNvPr>
            <p:cNvSpPr/>
            <p:nvPr/>
          </p:nvSpPr>
          <p:spPr>
            <a:xfrm>
              <a:off x="25462346" y="29773584"/>
              <a:ext cx="516936" cy="443149"/>
            </a:xfrm>
            <a:custGeom>
              <a:avLst/>
              <a:gdLst/>
              <a:ahLst/>
              <a:cxnLst/>
              <a:rect l="0" t="0" r="0" b="0"/>
              <a:pathLst>
                <a:path w="516935" h="443149">
                  <a:moveTo>
                    <a:pt x="516173" y="442920"/>
                  </a:moveTo>
                  <a:lnTo>
                    <a:pt x="516173" y="434805"/>
                  </a:lnTo>
                  <a:lnTo>
                    <a:pt x="516173" y="411208"/>
                  </a:lnTo>
                  <a:cubicBezTo>
                    <a:pt x="516173" y="390533"/>
                    <a:pt x="516173" y="360244"/>
                    <a:pt x="516033" y="321636"/>
                  </a:cubicBezTo>
                  <a:cubicBezTo>
                    <a:pt x="516033" y="244497"/>
                    <a:pt x="515830" y="134262"/>
                    <a:pt x="515716" y="1168"/>
                  </a:cubicBezTo>
                  <a:lnTo>
                    <a:pt x="516312" y="1790"/>
                  </a:lnTo>
                  <a:lnTo>
                    <a:pt x="774" y="1790"/>
                  </a:lnTo>
                  <a:lnTo>
                    <a:pt x="1511" y="1054"/>
                  </a:lnTo>
                  <a:lnTo>
                    <a:pt x="1511" y="442806"/>
                  </a:lnTo>
                  <a:lnTo>
                    <a:pt x="850" y="442158"/>
                  </a:lnTo>
                  <a:lnTo>
                    <a:pt x="373731" y="442488"/>
                  </a:lnTo>
                  <a:lnTo>
                    <a:pt x="478988" y="442666"/>
                  </a:lnTo>
                  <a:lnTo>
                    <a:pt x="506838" y="442666"/>
                  </a:lnTo>
                  <a:lnTo>
                    <a:pt x="516173" y="442666"/>
                  </a:lnTo>
                  <a:lnTo>
                    <a:pt x="513811" y="442666"/>
                  </a:lnTo>
                  <a:lnTo>
                    <a:pt x="506724" y="442666"/>
                  </a:lnTo>
                  <a:lnTo>
                    <a:pt x="479013" y="442666"/>
                  </a:lnTo>
                  <a:lnTo>
                    <a:pt x="373960" y="442831"/>
                  </a:lnTo>
                  <a:lnTo>
                    <a:pt x="660" y="443149"/>
                  </a:lnTo>
                  <a:lnTo>
                    <a:pt x="0" y="443149"/>
                  </a:lnTo>
                  <a:lnTo>
                    <a:pt x="0" y="442488"/>
                  </a:lnTo>
                  <a:lnTo>
                    <a:pt x="0" y="736"/>
                  </a:lnTo>
                  <a:lnTo>
                    <a:pt x="0" y="0"/>
                  </a:lnTo>
                  <a:lnTo>
                    <a:pt x="774" y="0"/>
                  </a:lnTo>
                  <a:lnTo>
                    <a:pt x="516312" y="0"/>
                  </a:lnTo>
                  <a:lnTo>
                    <a:pt x="516935" y="0"/>
                  </a:lnTo>
                  <a:lnTo>
                    <a:pt x="516935" y="622"/>
                  </a:lnTo>
                  <a:cubicBezTo>
                    <a:pt x="516935" y="133742"/>
                    <a:pt x="516706" y="244243"/>
                    <a:pt x="516630" y="321433"/>
                  </a:cubicBezTo>
                  <a:cubicBezTo>
                    <a:pt x="516630" y="359990"/>
                    <a:pt x="516630" y="390228"/>
                    <a:pt x="516452" y="410866"/>
                  </a:cubicBezTo>
                  <a:lnTo>
                    <a:pt x="516452" y="434348"/>
                  </a:lnTo>
                  <a:cubicBezTo>
                    <a:pt x="516452" y="439682"/>
                    <a:pt x="516173" y="442920"/>
                    <a:pt x="516173" y="44292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2" name="Free Form 3257">
              <a:extLst>
                <a:ext uri="{FF2B5EF4-FFF2-40B4-BE49-F238E27FC236}">
                  <a16:creationId xmlns:a16="http://schemas.microsoft.com/office/drawing/2014/main" id="{6F625488-0E9D-422F-7C80-C097DB23246E}"/>
                </a:ext>
              </a:extLst>
            </p:cNvPr>
            <p:cNvSpPr/>
            <p:nvPr/>
          </p:nvSpPr>
          <p:spPr>
            <a:xfrm>
              <a:off x="25504082" y="30099191"/>
              <a:ext cx="76974" cy="77278"/>
            </a:xfrm>
            <a:custGeom>
              <a:avLst/>
              <a:gdLst/>
              <a:ahLst/>
              <a:cxnLst/>
              <a:rect l="0" t="0" r="0" b="0"/>
              <a:pathLst>
                <a:path w="76973" h="77278">
                  <a:moveTo>
                    <a:pt x="76770" y="76999"/>
                  </a:moveTo>
                  <a:lnTo>
                    <a:pt x="76770" y="76630"/>
                  </a:lnTo>
                  <a:lnTo>
                    <a:pt x="76770" y="75551"/>
                  </a:lnTo>
                  <a:lnTo>
                    <a:pt x="76770" y="71436"/>
                  </a:lnTo>
                  <a:lnTo>
                    <a:pt x="76770" y="55854"/>
                  </a:lnTo>
                  <a:cubicBezTo>
                    <a:pt x="76770" y="42442"/>
                    <a:pt x="76770" y="23367"/>
                    <a:pt x="76605" y="457"/>
                  </a:cubicBezTo>
                  <a:lnTo>
                    <a:pt x="76910" y="800"/>
                  </a:lnTo>
                  <a:lnTo>
                    <a:pt x="317" y="800"/>
                  </a:lnTo>
                  <a:lnTo>
                    <a:pt x="685" y="431"/>
                  </a:lnTo>
                  <a:lnTo>
                    <a:pt x="685" y="77088"/>
                  </a:lnTo>
                  <a:lnTo>
                    <a:pt x="368" y="76770"/>
                  </a:lnTo>
                  <a:lnTo>
                    <a:pt x="55739" y="76948"/>
                  </a:lnTo>
                  <a:lnTo>
                    <a:pt x="71322" y="76948"/>
                  </a:lnTo>
                  <a:lnTo>
                    <a:pt x="75462" y="76948"/>
                  </a:lnTo>
                  <a:lnTo>
                    <a:pt x="71297" y="76999"/>
                  </a:lnTo>
                  <a:lnTo>
                    <a:pt x="55765" y="76999"/>
                  </a:lnTo>
                  <a:lnTo>
                    <a:pt x="317" y="77278"/>
                  </a:lnTo>
                  <a:lnTo>
                    <a:pt x="0" y="77278"/>
                  </a:lnTo>
                  <a:lnTo>
                    <a:pt x="0" y="76999"/>
                  </a:lnTo>
                  <a:lnTo>
                    <a:pt x="0" y="342"/>
                  </a:lnTo>
                  <a:lnTo>
                    <a:pt x="0" y="0"/>
                  </a:lnTo>
                  <a:lnTo>
                    <a:pt x="76973" y="0"/>
                  </a:lnTo>
                  <a:lnTo>
                    <a:pt x="76973" y="342"/>
                  </a:lnTo>
                  <a:cubicBezTo>
                    <a:pt x="76973" y="23342"/>
                    <a:pt x="76973" y="42481"/>
                    <a:pt x="76834" y="55930"/>
                  </a:cubicBezTo>
                  <a:lnTo>
                    <a:pt x="76834" y="71436"/>
                  </a:lnTo>
                  <a:lnTo>
                    <a:pt x="76834" y="75526"/>
                  </a:lnTo>
                  <a:lnTo>
                    <a:pt x="76834" y="76542"/>
                  </a:lnTo>
                  <a:cubicBezTo>
                    <a:pt x="76834" y="76694"/>
                    <a:pt x="76808" y="76846"/>
                    <a:pt x="76770" y="7699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3" name="Free Form 3258">
              <a:extLst>
                <a:ext uri="{FF2B5EF4-FFF2-40B4-BE49-F238E27FC236}">
                  <a16:creationId xmlns:a16="http://schemas.microsoft.com/office/drawing/2014/main" id="{5A775541-9F97-98DC-03B9-1ECF9D4D623B}"/>
                </a:ext>
              </a:extLst>
            </p:cNvPr>
            <p:cNvSpPr/>
            <p:nvPr/>
          </p:nvSpPr>
          <p:spPr>
            <a:xfrm>
              <a:off x="25504399" y="30079379"/>
              <a:ext cx="110896" cy="96811"/>
            </a:xfrm>
            <a:custGeom>
              <a:avLst/>
              <a:gdLst/>
              <a:ahLst/>
              <a:cxnLst/>
              <a:rect l="0" t="0" r="0" b="0"/>
              <a:pathLst>
                <a:path w="110895" h="96811">
                  <a:moveTo>
                    <a:pt x="76453" y="96811"/>
                  </a:moveTo>
                  <a:lnTo>
                    <a:pt x="77050" y="96417"/>
                  </a:lnTo>
                  <a:lnTo>
                    <a:pt x="78815" y="95274"/>
                  </a:lnTo>
                  <a:lnTo>
                    <a:pt x="85571" y="91019"/>
                  </a:lnTo>
                  <a:lnTo>
                    <a:pt x="110488" y="75487"/>
                  </a:lnTo>
                  <a:lnTo>
                    <a:pt x="110349" y="75716"/>
                  </a:lnTo>
                  <a:lnTo>
                    <a:pt x="110349" y="342"/>
                  </a:lnTo>
                  <a:lnTo>
                    <a:pt x="110717" y="711"/>
                  </a:lnTo>
                  <a:lnTo>
                    <a:pt x="110526" y="711"/>
                  </a:lnTo>
                  <a:lnTo>
                    <a:pt x="35089" y="711"/>
                  </a:lnTo>
                  <a:lnTo>
                    <a:pt x="9537" y="15189"/>
                  </a:lnTo>
                  <a:lnTo>
                    <a:pt x="2501" y="19100"/>
                  </a:lnTo>
                  <a:lnTo>
                    <a:pt x="647" y="20103"/>
                  </a:lnTo>
                  <a:lnTo>
                    <a:pt x="0" y="20154"/>
                  </a:lnTo>
                  <a:lnTo>
                    <a:pt x="596" y="19786"/>
                  </a:lnTo>
                  <a:lnTo>
                    <a:pt x="2387" y="18706"/>
                  </a:lnTo>
                  <a:lnTo>
                    <a:pt x="9334" y="14681"/>
                  </a:lnTo>
                  <a:lnTo>
                    <a:pt x="34886" y="0"/>
                  </a:lnTo>
                  <a:lnTo>
                    <a:pt x="110323" y="0"/>
                  </a:lnTo>
                  <a:lnTo>
                    <a:pt x="110895" y="0"/>
                  </a:lnTo>
                  <a:lnTo>
                    <a:pt x="110895" y="279"/>
                  </a:lnTo>
                  <a:lnTo>
                    <a:pt x="110895" y="75665"/>
                  </a:lnTo>
                  <a:lnTo>
                    <a:pt x="110895" y="75805"/>
                  </a:lnTo>
                  <a:lnTo>
                    <a:pt x="110755" y="75805"/>
                  </a:lnTo>
                  <a:lnTo>
                    <a:pt x="85736" y="91134"/>
                  </a:lnTo>
                  <a:cubicBezTo>
                    <a:pt x="82892" y="92899"/>
                    <a:pt x="80491" y="94309"/>
                    <a:pt x="78891" y="95274"/>
                  </a:cubicBezTo>
                  <a:lnTo>
                    <a:pt x="77075" y="96328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4" name="Free Form 3259">
              <a:extLst>
                <a:ext uri="{FF2B5EF4-FFF2-40B4-BE49-F238E27FC236}">
                  <a16:creationId xmlns:a16="http://schemas.microsoft.com/office/drawing/2014/main" id="{EAA29C68-C804-B00C-25EB-A9A5CFE7A853}"/>
                </a:ext>
              </a:extLst>
            </p:cNvPr>
            <p:cNvSpPr/>
            <p:nvPr/>
          </p:nvSpPr>
          <p:spPr>
            <a:xfrm>
              <a:off x="25580538" y="30079662"/>
              <a:ext cx="34581" cy="20129"/>
            </a:xfrm>
            <a:custGeom>
              <a:avLst/>
              <a:gdLst/>
              <a:ahLst/>
              <a:cxnLst/>
              <a:rect l="0" t="0" r="0" b="0"/>
              <a:pathLst>
                <a:path w="34581" h="20129">
                  <a:moveTo>
                    <a:pt x="34581" y="0"/>
                  </a:moveTo>
                  <a:cubicBezTo>
                    <a:pt x="34581" y="165"/>
                    <a:pt x="27114" y="4775"/>
                    <a:pt x="17551" y="10274"/>
                  </a:cubicBezTo>
                  <a:cubicBezTo>
                    <a:pt x="7975" y="15785"/>
                    <a:pt x="507" y="20129"/>
                    <a:pt x="253" y="19926"/>
                  </a:cubicBezTo>
                  <a:cubicBezTo>
                    <a:pt x="0" y="19735"/>
                    <a:pt x="7721" y="15163"/>
                    <a:pt x="17297" y="9651"/>
                  </a:cubicBezTo>
                  <a:cubicBezTo>
                    <a:pt x="26860" y="4140"/>
                    <a:pt x="34416" y="0"/>
                    <a:pt x="34581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5" name="Free Form 3260">
              <a:extLst>
                <a:ext uri="{FF2B5EF4-FFF2-40B4-BE49-F238E27FC236}">
                  <a16:creationId xmlns:a16="http://schemas.microsoft.com/office/drawing/2014/main" id="{8DAF77B9-4493-CC35-B5DE-3C0A1B2A64B1}"/>
                </a:ext>
              </a:extLst>
            </p:cNvPr>
            <p:cNvSpPr/>
            <p:nvPr/>
          </p:nvSpPr>
          <p:spPr>
            <a:xfrm>
              <a:off x="25504253" y="30172845"/>
              <a:ext cx="3721" cy="2438"/>
            </a:xfrm>
            <a:custGeom>
              <a:avLst/>
              <a:gdLst/>
              <a:ahLst/>
              <a:cxnLst/>
              <a:rect l="0" t="0" r="0" b="0"/>
              <a:pathLst>
                <a:path w="3721" h="2438">
                  <a:moveTo>
                    <a:pt x="3721" y="165"/>
                  </a:moveTo>
                  <a:cubicBezTo>
                    <a:pt x="3721" y="330"/>
                    <a:pt x="3073" y="965"/>
                    <a:pt x="2070" y="1523"/>
                  </a:cubicBezTo>
                  <a:cubicBezTo>
                    <a:pt x="1079" y="2095"/>
                    <a:pt x="177" y="2438"/>
                    <a:pt x="88" y="2260"/>
                  </a:cubicBezTo>
                  <a:cubicBezTo>
                    <a:pt x="0" y="2095"/>
                    <a:pt x="711" y="1473"/>
                    <a:pt x="1701" y="901"/>
                  </a:cubicBezTo>
                  <a:cubicBezTo>
                    <a:pt x="2705" y="330"/>
                    <a:pt x="3606" y="0"/>
                    <a:pt x="3721" y="16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6" name="Free Form 3261">
              <a:extLst>
                <a:ext uri="{FF2B5EF4-FFF2-40B4-BE49-F238E27FC236}">
                  <a16:creationId xmlns:a16="http://schemas.microsoft.com/office/drawing/2014/main" id="{7CA24AB1-D8CD-7011-8D26-361F00FAE785}"/>
                </a:ext>
              </a:extLst>
            </p:cNvPr>
            <p:cNvSpPr/>
            <p:nvPr/>
          </p:nvSpPr>
          <p:spPr>
            <a:xfrm>
              <a:off x="25511518" y="30168671"/>
              <a:ext cx="3695" cy="2439"/>
            </a:xfrm>
            <a:custGeom>
              <a:avLst/>
              <a:gdLst/>
              <a:ahLst/>
              <a:cxnLst/>
              <a:rect l="0" t="0" r="0" b="0"/>
              <a:pathLst>
                <a:path w="3695" h="2438">
                  <a:moveTo>
                    <a:pt x="3695" y="165"/>
                  </a:moveTo>
                  <a:cubicBezTo>
                    <a:pt x="3695" y="368"/>
                    <a:pt x="3073" y="965"/>
                    <a:pt x="2082" y="1523"/>
                  </a:cubicBezTo>
                  <a:cubicBezTo>
                    <a:pt x="1079" y="2095"/>
                    <a:pt x="177" y="2438"/>
                    <a:pt x="88" y="2260"/>
                  </a:cubicBezTo>
                  <a:cubicBezTo>
                    <a:pt x="0" y="2095"/>
                    <a:pt x="711" y="1473"/>
                    <a:pt x="1714" y="901"/>
                  </a:cubicBezTo>
                  <a:cubicBezTo>
                    <a:pt x="2705" y="330"/>
                    <a:pt x="3606" y="0"/>
                    <a:pt x="3695" y="16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7" name="Free Form 3262">
              <a:extLst>
                <a:ext uri="{FF2B5EF4-FFF2-40B4-BE49-F238E27FC236}">
                  <a16:creationId xmlns:a16="http://schemas.microsoft.com/office/drawing/2014/main" id="{B6948A13-E682-4991-B545-D1803745743C}"/>
                </a:ext>
              </a:extLst>
            </p:cNvPr>
            <p:cNvSpPr/>
            <p:nvPr/>
          </p:nvSpPr>
          <p:spPr>
            <a:xfrm>
              <a:off x="25518735" y="30164516"/>
              <a:ext cx="3746" cy="2565"/>
            </a:xfrm>
            <a:custGeom>
              <a:avLst/>
              <a:gdLst/>
              <a:ahLst/>
              <a:cxnLst/>
              <a:rect l="0" t="0" r="0" b="0"/>
              <a:pathLst>
                <a:path w="3746" h="2565">
                  <a:moveTo>
                    <a:pt x="3746" y="317"/>
                  </a:moveTo>
                  <a:cubicBezTo>
                    <a:pt x="3746" y="482"/>
                    <a:pt x="3124" y="1079"/>
                    <a:pt x="2133" y="1650"/>
                  </a:cubicBezTo>
                  <a:cubicBezTo>
                    <a:pt x="1130" y="2222"/>
                    <a:pt x="228" y="2565"/>
                    <a:pt x="114" y="2387"/>
                  </a:cubicBezTo>
                  <a:cubicBezTo>
                    <a:pt x="0" y="2222"/>
                    <a:pt x="761" y="1625"/>
                    <a:pt x="1765" y="1028"/>
                  </a:cubicBezTo>
                  <a:cubicBezTo>
                    <a:pt x="2755" y="431"/>
                    <a:pt x="3657" y="0"/>
                    <a:pt x="3746" y="31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8" name="Free Form 3263">
              <a:extLst>
                <a:ext uri="{FF2B5EF4-FFF2-40B4-BE49-F238E27FC236}">
                  <a16:creationId xmlns:a16="http://schemas.microsoft.com/office/drawing/2014/main" id="{768CA580-EBAA-57F6-EA97-DB7ECB0F97EB}"/>
                </a:ext>
              </a:extLst>
            </p:cNvPr>
            <p:cNvSpPr/>
            <p:nvPr/>
          </p:nvSpPr>
          <p:spPr>
            <a:xfrm>
              <a:off x="25526003" y="30160353"/>
              <a:ext cx="3746" cy="2413"/>
            </a:xfrm>
            <a:custGeom>
              <a:avLst/>
              <a:gdLst/>
              <a:ahLst/>
              <a:cxnLst/>
              <a:rect l="0" t="0" r="0" b="0"/>
              <a:pathLst>
                <a:path w="3746" h="2412">
                  <a:moveTo>
                    <a:pt x="3746" y="165"/>
                  </a:moveTo>
                  <a:cubicBezTo>
                    <a:pt x="3746" y="330"/>
                    <a:pt x="3124" y="927"/>
                    <a:pt x="2095" y="1523"/>
                  </a:cubicBezTo>
                  <a:cubicBezTo>
                    <a:pt x="1079" y="2120"/>
                    <a:pt x="228" y="2412"/>
                    <a:pt x="114" y="2235"/>
                  </a:cubicBezTo>
                  <a:cubicBezTo>
                    <a:pt x="0" y="2070"/>
                    <a:pt x="736" y="1473"/>
                    <a:pt x="1765" y="876"/>
                  </a:cubicBezTo>
                  <a:cubicBezTo>
                    <a:pt x="2781" y="279"/>
                    <a:pt x="3632" y="0"/>
                    <a:pt x="3746" y="16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9" name="Free Form 3264">
              <a:extLst>
                <a:ext uri="{FF2B5EF4-FFF2-40B4-BE49-F238E27FC236}">
                  <a16:creationId xmlns:a16="http://schemas.microsoft.com/office/drawing/2014/main" id="{E673B856-2DF4-0B77-45CD-BD04ADEF7494}"/>
                </a:ext>
              </a:extLst>
            </p:cNvPr>
            <p:cNvSpPr/>
            <p:nvPr/>
          </p:nvSpPr>
          <p:spPr>
            <a:xfrm>
              <a:off x="25533295" y="30156317"/>
              <a:ext cx="3721" cy="2273"/>
            </a:xfrm>
            <a:custGeom>
              <a:avLst/>
              <a:gdLst/>
              <a:ahLst/>
              <a:cxnLst/>
              <a:rect l="0" t="0" r="0" b="0"/>
              <a:pathLst>
                <a:path w="3721" h="2273">
                  <a:moveTo>
                    <a:pt x="3721" y="0"/>
                  </a:moveTo>
                  <a:cubicBezTo>
                    <a:pt x="3721" y="165"/>
                    <a:pt x="3073" y="800"/>
                    <a:pt x="2070" y="1358"/>
                  </a:cubicBezTo>
                  <a:cubicBezTo>
                    <a:pt x="1079" y="1930"/>
                    <a:pt x="177" y="2273"/>
                    <a:pt x="88" y="2070"/>
                  </a:cubicBezTo>
                  <a:cubicBezTo>
                    <a:pt x="0" y="1879"/>
                    <a:pt x="711" y="1308"/>
                    <a:pt x="1701" y="736"/>
                  </a:cubicBezTo>
                  <a:cubicBezTo>
                    <a:pt x="2705" y="165"/>
                    <a:pt x="3606" y="0"/>
                    <a:pt x="3721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0" name="Free Form 3265">
              <a:extLst>
                <a:ext uri="{FF2B5EF4-FFF2-40B4-BE49-F238E27FC236}">
                  <a16:creationId xmlns:a16="http://schemas.microsoft.com/office/drawing/2014/main" id="{DE1205C1-B8ED-CE48-1D7E-C64748C5ABA3}"/>
                </a:ext>
              </a:extLst>
            </p:cNvPr>
            <p:cNvSpPr/>
            <p:nvPr/>
          </p:nvSpPr>
          <p:spPr>
            <a:xfrm>
              <a:off x="25538467" y="30149020"/>
              <a:ext cx="736" cy="4178"/>
            </a:xfrm>
            <a:custGeom>
              <a:avLst/>
              <a:gdLst/>
              <a:ahLst/>
              <a:cxnLst/>
              <a:rect l="0" t="0" r="0" b="0"/>
              <a:pathLst>
                <a:path w="736" h="4178">
                  <a:moveTo>
                    <a:pt x="368" y="0"/>
                  </a:moveTo>
                  <a:cubicBezTo>
                    <a:pt x="596" y="0"/>
                    <a:pt x="736" y="939"/>
                    <a:pt x="736" y="2070"/>
                  </a:cubicBezTo>
                  <a:cubicBezTo>
                    <a:pt x="736" y="3213"/>
                    <a:pt x="533" y="4178"/>
                    <a:pt x="342" y="4178"/>
                  </a:cubicBezTo>
                  <a:cubicBezTo>
                    <a:pt x="139" y="4178"/>
                    <a:pt x="0" y="3238"/>
                    <a:pt x="0" y="2070"/>
                  </a:cubicBezTo>
                  <a:cubicBezTo>
                    <a:pt x="0" y="914"/>
                    <a:pt x="165" y="0"/>
                    <a:pt x="368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1" name="Free Form 3266">
              <a:extLst>
                <a:ext uri="{FF2B5EF4-FFF2-40B4-BE49-F238E27FC236}">
                  <a16:creationId xmlns:a16="http://schemas.microsoft.com/office/drawing/2014/main" id="{54765AB8-0CF2-8863-4FAB-8007D29FAF7E}"/>
                </a:ext>
              </a:extLst>
            </p:cNvPr>
            <p:cNvSpPr/>
            <p:nvPr/>
          </p:nvSpPr>
          <p:spPr>
            <a:xfrm>
              <a:off x="25538525" y="30140644"/>
              <a:ext cx="737" cy="4178"/>
            </a:xfrm>
            <a:custGeom>
              <a:avLst/>
              <a:gdLst/>
              <a:ahLst/>
              <a:cxnLst/>
              <a:rect l="0" t="0" r="0" b="0"/>
              <a:pathLst>
                <a:path w="736" h="4178">
                  <a:moveTo>
                    <a:pt x="393" y="0"/>
                  </a:moveTo>
                  <a:cubicBezTo>
                    <a:pt x="596" y="0"/>
                    <a:pt x="736" y="939"/>
                    <a:pt x="736" y="2095"/>
                  </a:cubicBezTo>
                  <a:cubicBezTo>
                    <a:pt x="736" y="3263"/>
                    <a:pt x="558" y="4178"/>
                    <a:pt x="368" y="4178"/>
                  </a:cubicBezTo>
                  <a:cubicBezTo>
                    <a:pt x="165" y="4178"/>
                    <a:pt x="0" y="3238"/>
                    <a:pt x="0" y="2070"/>
                  </a:cubicBezTo>
                  <a:cubicBezTo>
                    <a:pt x="0" y="914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2" name="Free Form 3267">
              <a:extLst>
                <a:ext uri="{FF2B5EF4-FFF2-40B4-BE49-F238E27FC236}">
                  <a16:creationId xmlns:a16="http://schemas.microsoft.com/office/drawing/2014/main" id="{1DA587DF-9283-EC2F-E147-1CD2A8F07A0D}"/>
                </a:ext>
              </a:extLst>
            </p:cNvPr>
            <p:cNvSpPr/>
            <p:nvPr/>
          </p:nvSpPr>
          <p:spPr>
            <a:xfrm>
              <a:off x="25538582" y="30132270"/>
              <a:ext cx="762" cy="4178"/>
            </a:xfrm>
            <a:custGeom>
              <a:avLst/>
              <a:gdLst/>
              <a:ahLst/>
              <a:cxnLst/>
              <a:rect l="0" t="0" r="0" b="0"/>
              <a:pathLst>
                <a:path w="761" h="4178">
                  <a:moveTo>
                    <a:pt x="393" y="0"/>
                  </a:moveTo>
                  <a:cubicBezTo>
                    <a:pt x="596" y="0"/>
                    <a:pt x="761" y="939"/>
                    <a:pt x="736" y="2095"/>
                  </a:cubicBezTo>
                  <a:cubicBezTo>
                    <a:pt x="711" y="3263"/>
                    <a:pt x="558" y="4178"/>
                    <a:pt x="368" y="4178"/>
                  </a:cubicBezTo>
                  <a:cubicBezTo>
                    <a:pt x="165" y="4178"/>
                    <a:pt x="0" y="3238"/>
                    <a:pt x="25" y="2095"/>
                  </a:cubicBezTo>
                  <a:cubicBezTo>
                    <a:pt x="50" y="965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3" name="Free Form 3268">
              <a:extLst>
                <a:ext uri="{FF2B5EF4-FFF2-40B4-BE49-F238E27FC236}">
                  <a16:creationId xmlns:a16="http://schemas.microsoft.com/office/drawing/2014/main" id="{D4B3A989-F5FA-D03D-F0A3-5CFFF51880C8}"/>
                </a:ext>
              </a:extLst>
            </p:cNvPr>
            <p:cNvSpPr/>
            <p:nvPr/>
          </p:nvSpPr>
          <p:spPr>
            <a:xfrm>
              <a:off x="25538665" y="30123894"/>
              <a:ext cx="736" cy="4179"/>
            </a:xfrm>
            <a:custGeom>
              <a:avLst/>
              <a:gdLst/>
              <a:ahLst/>
              <a:cxnLst/>
              <a:rect l="0" t="0" r="0" b="0"/>
              <a:pathLst>
                <a:path w="736" h="4178">
                  <a:moveTo>
                    <a:pt x="368" y="0"/>
                  </a:moveTo>
                  <a:cubicBezTo>
                    <a:pt x="596" y="0"/>
                    <a:pt x="736" y="939"/>
                    <a:pt x="736" y="2095"/>
                  </a:cubicBezTo>
                  <a:cubicBezTo>
                    <a:pt x="736" y="3263"/>
                    <a:pt x="533" y="4178"/>
                    <a:pt x="342" y="4178"/>
                  </a:cubicBezTo>
                  <a:cubicBezTo>
                    <a:pt x="139" y="4178"/>
                    <a:pt x="0" y="3238"/>
                    <a:pt x="0" y="2095"/>
                  </a:cubicBezTo>
                  <a:cubicBezTo>
                    <a:pt x="0" y="965"/>
                    <a:pt x="165" y="0"/>
                    <a:pt x="368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4" name="Free Form 3269">
              <a:extLst>
                <a:ext uri="{FF2B5EF4-FFF2-40B4-BE49-F238E27FC236}">
                  <a16:creationId xmlns:a16="http://schemas.microsoft.com/office/drawing/2014/main" id="{E87AA517-F86F-BAC5-C8A8-C7065CB75323}"/>
                </a:ext>
              </a:extLst>
            </p:cNvPr>
            <p:cNvSpPr/>
            <p:nvPr/>
          </p:nvSpPr>
          <p:spPr>
            <a:xfrm>
              <a:off x="25538724" y="30115520"/>
              <a:ext cx="737" cy="4204"/>
            </a:xfrm>
            <a:custGeom>
              <a:avLst/>
              <a:gdLst/>
              <a:ahLst/>
              <a:cxnLst/>
              <a:rect l="0" t="0" r="0" b="0"/>
              <a:pathLst>
                <a:path w="736" h="4203">
                  <a:moveTo>
                    <a:pt x="393" y="0"/>
                  </a:moveTo>
                  <a:cubicBezTo>
                    <a:pt x="596" y="0"/>
                    <a:pt x="736" y="939"/>
                    <a:pt x="736" y="2095"/>
                  </a:cubicBezTo>
                  <a:cubicBezTo>
                    <a:pt x="736" y="3263"/>
                    <a:pt x="558" y="4203"/>
                    <a:pt x="368" y="4203"/>
                  </a:cubicBezTo>
                  <a:cubicBezTo>
                    <a:pt x="165" y="4203"/>
                    <a:pt x="0" y="3238"/>
                    <a:pt x="0" y="2095"/>
                  </a:cubicBezTo>
                  <a:cubicBezTo>
                    <a:pt x="0" y="965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5" name="Free Form 3270">
              <a:extLst>
                <a:ext uri="{FF2B5EF4-FFF2-40B4-BE49-F238E27FC236}">
                  <a16:creationId xmlns:a16="http://schemas.microsoft.com/office/drawing/2014/main" id="{C1761D2E-A0E3-4F58-2B92-E45A22882D4E}"/>
                </a:ext>
              </a:extLst>
            </p:cNvPr>
            <p:cNvSpPr/>
            <p:nvPr/>
          </p:nvSpPr>
          <p:spPr>
            <a:xfrm>
              <a:off x="25538780" y="30107143"/>
              <a:ext cx="762" cy="4204"/>
            </a:xfrm>
            <a:custGeom>
              <a:avLst/>
              <a:gdLst/>
              <a:ahLst/>
              <a:cxnLst/>
              <a:rect l="0" t="0" r="0" b="0"/>
              <a:pathLst>
                <a:path w="761" h="4203">
                  <a:moveTo>
                    <a:pt x="393" y="0"/>
                  </a:moveTo>
                  <a:cubicBezTo>
                    <a:pt x="596" y="0"/>
                    <a:pt x="761" y="939"/>
                    <a:pt x="736" y="2108"/>
                  </a:cubicBezTo>
                  <a:cubicBezTo>
                    <a:pt x="711" y="3263"/>
                    <a:pt x="558" y="4203"/>
                    <a:pt x="368" y="4203"/>
                  </a:cubicBezTo>
                  <a:cubicBezTo>
                    <a:pt x="165" y="4203"/>
                    <a:pt x="0" y="3263"/>
                    <a:pt x="25" y="2108"/>
                  </a:cubicBezTo>
                  <a:cubicBezTo>
                    <a:pt x="50" y="939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6" name="Free Form 3271">
              <a:extLst>
                <a:ext uri="{FF2B5EF4-FFF2-40B4-BE49-F238E27FC236}">
                  <a16:creationId xmlns:a16="http://schemas.microsoft.com/office/drawing/2014/main" id="{DD45E1E8-3114-35DB-1A6D-0D0A5BA82030}"/>
                </a:ext>
              </a:extLst>
            </p:cNvPr>
            <p:cNvSpPr/>
            <p:nvPr/>
          </p:nvSpPr>
          <p:spPr>
            <a:xfrm>
              <a:off x="25538864" y="30098769"/>
              <a:ext cx="737" cy="4204"/>
            </a:xfrm>
            <a:custGeom>
              <a:avLst/>
              <a:gdLst/>
              <a:ahLst/>
              <a:cxnLst/>
              <a:rect l="0" t="0" r="0" b="0"/>
              <a:pathLst>
                <a:path w="736" h="4203">
                  <a:moveTo>
                    <a:pt x="368" y="0"/>
                  </a:moveTo>
                  <a:cubicBezTo>
                    <a:pt x="571" y="0"/>
                    <a:pt x="736" y="939"/>
                    <a:pt x="736" y="2095"/>
                  </a:cubicBezTo>
                  <a:cubicBezTo>
                    <a:pt x="736" y="3263"/>
                    <a:pt x="533" y="4203"/>
                    <a:pt x="342" y="4203"/>
                  </a:cubicBezTo>
                  <a:cubicBezTo>
                    <a:pt x="139" y="4203"/>
                    <a:pt x="0" y="3263"/>
                    <a:pt x="0" y="2095"/>
                  </a:cubicBezTo>
                  <a:cubicBezTo>
                    <a:pt x="0" y="939"/>
                    <a:pt x="165" y="0"/>
                    <a:pt x="368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7" name="Free Form 3272">
              <a:extLst>
                <a:ext uri="{FF2B5EF4-FFF2-40B4-BE49-F238E27FC236}">
                  <a16:creationId xmlns:a16="http://schemas.microsoft.com/office/drawing/2014/main" id="{3C77507E-8DAF-605E-80C7-F85036A830FD}"/>
                </a:ext>
              </a:extLst>
            </p:cNvPr>
            <p:cNvSpPr/>
            <p:nvPr/>
          </p:nvSpPr>
          <p:spPr>
            <a:xfrm>
              <a:off x="25538924" y="30090395"/>
              <a:ext cx="736" cy="4203"/>
            </a:xfrm>
            <a:custGeom>
              <a:avLst/>
              <a:gdLst/>
              <a:ahLst/>
              <a:cxnLst/>
              <a:rect l="0" t="0" r="0" b="0"/>
              <a:pathLst>
                <a:path w="736" h="4203">
                  <a:moveTo>
                    <a:pt x="393" y="0"/>
                  </a:moveTo>
                  <a:cubicBezTo>
                    <a:pt x="596" y="0"/>
                    <a:pt x="736" y="965"/>
                    <a:pt x="736" y="2095"/>
                  </a:cubicBezTo>
                  <a:cubicBezTo>
                    <a:pt x="736" y="3238"/>
                    <a:pt x="558" y="4203"/>
                    <a:pt x="368" y="4203"/>
                  </a:cubicBezTo>
                  <a:cubicBezTo>
                    <a:pt x="165" y="4203"/>
                    <a:pt x="0" y="3263"/>
                    <a:pt x="0" y="2095"/>
                  </a:cubicBezTo>
                  <a:cubicBezTo>
                    <a:pt x="0" y="939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8" name="Free Form 3273">
              <a:extLst>
                <a:ext uri="{FF2B5EF4-FFF2-40B4-BE49-F238E27FC236}">
                  <a16:creationId xmlns:a16="http://schemas.microsoft.com/office/drawing/2014/main" id="{B1A7B8B0-9881-35C1-7B4E-9116F3153593}"/>
                </a:ext>
              </a:extLst>
            </p:cNvPr>
            <p:cNvSpPr/>
            <p:nvPr/>
          </p:nvSpPr>
          <p:spPr>
            <a:xfrm>
              <a:off x="25538980" y="30082020"/>
              <a:ext cx="762" cy="4204"/>
            </a:xfrm>
            <a:custGeom>
              <a:avLst/>
              <a:gdLst/>
              <a:ahLst/>
              <a:cxnLst/>
              <a:rect l="0" t="0" r="0" b="0"/>
              <a:pathLst>
                <a:path w="761" h="4203">
                  <a:moveTo>
                    <a:pt x="393" y="25"/>
                  </a:moveTo>
                  <a:cubicBezTo>
                    <a:pt x="596" y="25"/>
                    <a:pt x="761" y="965"/>
                    <a:pt x="736" y="2095"/>
                  </a:cubicBezTo>
                  <a:cubicBezTo>
                    <a:pt x="711" y="3238"/>
                    <a:pt x="558" y="4203"/>
                    <a:pt x="368" y="4203"/>
                  </a:cubicBezTo>
                  <a:cubicBezTo>
                    <a:pt x="165" y="4203"/>
                    <a:pt x="0" y="3263"/>
                    <a:pt x="25" y="2095"/>
                  </a:cubicBezTo>
                  <a:cubicBezTo>
                    <a:pt x="50" y="939"/>
                    <a:pt x="190" y="0"/>
                    <a:pt x="393" y="2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9" name="Free Form 3274">
              <a:extLst>
                <a:ext uri="{FF2B5EF4-FFF2-40B4-BE49-F238E27FC236}">
                  <a16:creationId xmlns:a16="http://schemas.microsoft.com/office/drawing/2014/main" id="{DEDE312D-2730-BB94-C556-E1DB6A81B905}"/>
                </a:ext>
              </a:extLst>
            </p:cNvPr>
            <p:cNvSpPr/>
            <p:nvPr/>
          </p:nvSpPr>
          <p:spPr>
            <a:xfrm>
              <a:off x="25610861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70" y="0"/>
                  </a:cubicBezTo>
                  <a:cubicBezTo>
                    <a:pt x="321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70" y="736"/>
                  </a:cubicBezTo>
                  <a:cubicBezTo>
                    <a:pt x="914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0" name="Free Form 3275">
              <a:extLst>
                <a:ext uri="{FF2B5EF4-FFF2-40B4-BE49-F238E27FC236}">
                  <a16:creationId xmlns:a16="http://schemas.microsoft.com/office/drawing/2014/main" id="{429642A0-4237-F11D-57CB-799B248C6ADD}"/>
                </a:ext>
              </a:extLst>
            </p:cNvPr>
            <p:cNvSpPr/>
            <p:nvPr/>
          </p:nvSpPr>
          <p:spPr>
            <a:xfrm>
              <a:off x="25602487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70" y="0"/>
                  </a:cubicBezTo>
                  <a:cubicBezTo>
                    <a:pt x="321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70" y="736"/>
                  </a:cubicBezTo>
                  <a:cubicBezTo>
                    <a:pt x="914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1" name="Free Form 3276">
              <a:extLst>
                <a:ext uri="{FF2B5EF4-FFF2-40B4-BE49-F238E27FC236}">
                  <a16:creationId xmlns:a16="http://schemas.microsoft.com/office/drawing/2014/main" id="{362BA450-BBDE-FB0A-1042-FAC079CDE082}"/>
                </a:ext>
              </a:extLst>
            </p:cNvPr>
            <p:cNvSpPr/>
            <p:nvPr/>
          </p:nvSpPr>
          <p:spPr>
            <a:xfrm>
              <a:off x="25594110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108" y="0"/>
                  </a:cubicBezTo>
                  <a:cubicBezTo>
                    <a:pt x="326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108" y="736"/>
                  </a:cubicBezTo>
                  <a:cubicBezTo>
                    <a:pt x="965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2" name="Free Form 3277">
              <a:extLst>
                <a:ext uri="{FF2B5EF4-FFF2-40B4-BE49-F238E27FC236}">
                  <a16:creationId xmlns:a16="http://schemas.microsoft.com/office/drawing/2014/main" id="{EE4A20FF-BE3A-9E5A-59EF-E9737A8E735D}"/>
                </a:ext>
              </a:extLst>
            </p:cNvPr>
            <p:cNvSpPr/>
            <p:nvPr/>
          </p:nvSpPr>
          <p:spPr>
            <a:xfrm>
              <a:off x="25585736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95" y="736"/>
                  </a:cubicBezTo>
                  <a:cubicBezTo>
                    <a:pt x="965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3" name="Free Form 3278">
              <a:extLst>
                <a:ext uri="{FF2B5EF4-FFF2-40B4-BE49-F238E27FC236}">
                  <a16:creationId xmlns:a16="http://schemas.microsoft.com/office/drawing/2014/main" id="{1D9F7399-2DF5-ABEA-8230-E8010FBE3816}"/>
                </a:ext>
              </a:extLst>
            </p:cNvPr>
            <p:cNvSpPr/>
            <p:nvPr/>
          </p:nvSpPr>
          <p:spPr>
            <a:xfrm>
              <a:off x="25577361" y="30154699"/>
              <a:ext cx="4179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95" y="736"/>
                  </a:cubicBezTo>
                  <a:cubicBezTo>
                    <a:pt x="965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4" name="Free Form 3279">
              <a:extLst>
                <a:ext uri="{FF2B5EF4-FFF2-40B4-BE49-F238E27FC236}">
                  <a16:creationId xmlns:a16="http://schemas.microsoft.com/office/drawing/2014/main" id="{6B526B27-1101-C65D-03C1-DD0BA519D4C9}"/>
                </a:ext>
              </a:extLst>
            </p:cNvPr>
            <p:cNvSpPr/>
            <p:nvPr/>
          </p:nvSpPr>
          <p:spPr>
            <a:xfrm>
              <a:off x="25568984" y="30154699"/>
              <a:ext cx="4204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095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5" name="Free Form 3280">
              <a:extLst>
                <a:ext uri="{FF2B5EF4-FFF2-40B4-BE49-F238E27FC236}">
                  <a16:creationId xmlns:a16="http://schemas.microsoft.com/office/drawing/2014/main" id="{AC6E7450-8ADD-7B29-F73F-6D9351FF0935}"/>
                </a:ext>
              </a:extLst>
            </p:cNvPr>
            <p:cNvSpPr/>
            <p:nvPr/>
          </p:nvSpPr>
          <p:spPr>
            <a:xfrm>
              <a:off x="25560610" y="30154699"/>
              <a:ext cx="4204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095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6" name="Free Form 3281">
              <a:extLst>
                <a:ext uri="{FF2B5EF4-FFF2-40B4-BE49-F238E27FC236}">
                  <a16:creationId xmlns:a16="http://schemas.microsoft.com/office/drawing/2014/main" id="{1F5FC158-2FD8-1387-A332-690EE461BB0D}"/>
                </a:ext>
              </a:extLst>
            </p:cNvPr>
            <p:cNvSpPr/>
            <p:nvPr/>
          </p:nvSpPr>
          <p:spPr>
            <a:xfrm>
              <a:off x="25552235" y="30154699"/>
              <a:ext cx="4203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108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108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7" name="Free Form 3282">
              <a:extLst>
                <a:ext uri="{FF2B5EF4-FFF2-40B4-BE49-F238E27FC236}">
                  <a16:creationId xmlns:a16="http://schemas.microsoft.com/office/drawing/2014/main" id="{6A690A0F-6FD5-1397-58A6-A92A644D5BA5}"/>
                </a:ext>
              </a:extLst>
            </p:cNvPr>
            <p:cNvSpPr/>
            <p:nvPr/>
          </p:nvSpPr>
          <p:spPr>
            <a:xfrm>
              <a:off x="25543859" y="30154699"/>
              <a:ext cx="4204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095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8" name="Free Form 3283">
              <a:extLst>
                <a:ext uri="{FF2B5EF4-FFF2-40B4-BE49-F238E27FC236}">
                  <a16:creationId xmlns:a16="http://schemas.microsoft.com/office/drawing/2014/main" id="{C31DE54B-A189-F439-064E-2D6FD510D565}"/>
                </a:ext>
              </a:extLst>
            </p:cNvPr>
            <p:cNvSpPr/>
            <p:nvPr/>
          </p:nvSpPr>
          <p:spPr>
            <a:xfrm>
              <a:off x="25538806" y="30154686"/>
              <a:ext cx="800" cy="762"/>
            </a:xfrm>
            <a:custGeom>
              <a:avLst/>
              <a:gdLst/>
              <a:ahLst/>
              <a:cxnLst/>
              <a:rect l="0" t="0" r="0" b="0"/>
              <a:pathLst>
                <a:path w="800" h="761">
                  <a:moveTo>
                    <a:pt x="0" y="380"/>
                  </a:moveTo>
                  <a:cubicBezTo>
                    <a:pt x="12" y="165"/>
                    <a:pt x="203" y="0"/>
                    <a:pt x="419" y="12"/>
                  </a:cubicBezTo>
                  <a:lnTo>
                    <a:pt x="431" y="12"/>
                  </a:lnTo>
                  <a:cubicBezTo>
                    <a:pt x="634" y="12"/>
                    <a:pt x="800" y="177"/>
                    <a:pt x="800" y="380"/>
                  </a:cubicBezTo>
                  <a:cubicBezTo>
                    <a:pt x="800" y="584"/>
                    <a:pt x="634" y="749"/>
                    <a:pt x="431" y="749"/>
                  </a:cubicBezTo>
                  <a:lnTo>
                    <a:pt x="431" y="749"/>
                  </a:lnTo>
                  <a:cubicBezTo>
                    <a:pt x="203" y="761"/>
                    <a:pt x="12" y="596"/>
                    <a:pt x="0" y="38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9" name="Free Form 3284">
              <a:extLst>
                <a:ext uri="{FF2B5EF4-FFF2-40B4-BE49-F238E27FC236}">
                  <a16:creationId xmlns:a16="http://schemas.microsoft.com/office/drawing/2014/main" id="{A0DC2434-6E50-6124-6502-32D42752A5A7}"/>
                </a:ext>
              </a:extLst>
            </p:cNvPr>
            <p:cNvSpPr/>
            <p:nvPr/>
          </p:nvSpPr>
          <p:spPr>
            <a:xfrm>
              <a:off x="25622232" y="30108503"/>
              <a:ext cx="9589" cy="21425"/>
            </a:xfrm>
            <a:custGeom>
              <a:avLst/>
              <a:gdLst/>
              <a:ahLst/>
              <a:cxnLst/>
              <a:rect l="0" t="0" r="0" b="0"/>
              <a:pathLst>
                <a:path w="9588" h="21424">
                  <a:moveTo>
                    <a:pt x="2057" y="21069"/>
                  </a:moveTo>
                  <a:cubicBezTo>
                    <a:pt x="2692" y="21157"/>
                    <a:pt x="3352" y="21157"/>
                    <a:pt x="3987" y="21069"/>
                  </a:cubicBezTo>
                  <a:cubicBezTo>
                    <a:pt x="5676" y="20700"/>
                    <a:pt x="7124" y="19608"/>
                    <a:pt x="7937" y="18084"/>
                  </a:cubicBezTo>
                  <a:cubicBezTo>
                    <a:pt x="9042" y="15760"/>
                    <a:pt x="8966" y="13055"/>
                    <a:pt x="7734" y="10794"/>
                  </a:cubicBezTo>
                  <a:cubicBezTo>
                    <a:pt x="7442" y="10185"/>
                    <a:pt x="6883" y="9753"/>
                    <a:pt x="6235" y="9601"/>
                  </a:cubicBezTo>
                  <a:cubicBezTo>
                    <a:pt x="5537" y="9499"/>
                    <a:pt x="4825" y="9689"/>
                    <a:pt x="4267" y="10109"/>
                  </a:cubicBezTo>
                  <a:cubicBezTo>
                    <a:pt x="3136" y="11239"/>
                    <a:pt x="2298" y="12636"/>
                    <a:pt x="1854" y="14173"/>
                  </a:cubicBezTo>
                  <a:cubicBezTo>
                    <a:pt x="1257" y="15836"/>
                    <a:pt x="876" y="17589"/>
                    <a:pt x="749" y="19367"/>
                  </a:cubicBezTo>
                  <a:lnTo>
                    <a:pt x="76" y="19367"/>
                  </a:lnTo>
                  <a:lnTo>
                    <a:pt x="76" y="5511"/>
                  </a:lnTo>
                  <a:lnTo>
                    <a:pt x="76" y="1447"/>
                  </a:lnTo>
                  <a:cubicBezTo>
                    <a:pt x="0" y="965"/>
                    <a:pt x="0" y="482"/>
                    <a:pt x="76" y="0"/>
                  </a:cubicBezTo>
                  <a:cubicBezTo>
                    <a:pt x="165" y="482"/>
                    <a:pt x="203" y="965"/>
                    <a:pt x="215" y="1447"/>
                  </a:cubicBezTo>
                  <a:cubicBezTo>
                    <a:pt x="215" y="2527"/>
                    <a:pt x="215" y="3886"/>
                    <a:pt x="380" y="5511"/>
                  </a:cubicBezTo>
                  <a:cubicBezTo>
                    <a:pt x="520" y="8978"/>
                    <a:pt x="634" y="13804"/>
                    <a:pt x="749" y="19341"/>
                  </a:cubicBezTo>
                  <a:lnTo>
                    <a:pt x="76" y="19341"/>
                  </a:lnTo>
                  <a:cubicBezTo>
                    <a:pt x="165" y="17500"/>
                    <a:pt x="546" y="15671"/>
                    <a:pt x="1181" y="13944"/>
                  </a:cubicBezTo>
                  <a:cubicBezTo>
                    <a:pt x="1460" y="13118"/>
                    <a:pt x="1803" y="12318"/>
                    <a:pt x="2222" y="11556"/>
                  </a:cubicBezTo>
                  <a:cubicBezTo>
                    <a:pt x="2616" y="10782"/>
                    <a:pt x="3174" y="10096"/>
                    <a:pt x="3848" y="9537"/>
                  </a:cubicBezTo>
                  <a:cubicBezTo>
                    <a:pt x="4571" y="9004"/>
                    <a:pt x="5486" y="8775"/>
                    <a:pt x="6375" y="8915"/>
                  </a:cubicBezTo>
                  <a:cubicBezTo>
                    <a:pt x="7226" y="9118"/>
                    <a:pt x="7937" y="9689"/>
                    <a:pt x="8305" y="10477"/>
                  </a:cubicBezTo>
                  <a:cubicBezTo>
                    <a:pt x="9588" y="12941"/>
                    <a:pt x="9588" y="15874"/>
                    <a:pt x="8305" y="18338"/>
                  </a:cubicBezTo>
                  <a:cubicBezTo>
                    <a:pt x="7378" y="19951"/>
                    <a:pt x="5765" y="21069"/>
                    <a:pt x="3936" y="21348"/>
                  </a:cubicBezTo>
                  <a:cubicBezTo>
                    <a:pt x="3454" y="21424"/>
                    <a:pt x="2959" y="21424"/>
                    <a:pt x="2489" y="21348"/>
                  </a:cubicBezTo>
                  <a:cubicBezTo>
                    <a:pt x="2197" y="21196"/>
                    <a:pt x="2057" y="21107"/>
                    <a:pt x="2057" y="2106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0" name="Free Form 3285">
              <a:extLst>
                <a:ext uri="{FF2B5EF4-FFF2-40B4-BE49-F238E27FC236}">
                  <a16:creationId xmlns:a16="http://schemas.microsoft.com/office/drawing/2014/main" id="{635EA381-CDE3-9A55-C31E-434C38577FBA}"/>
                </a:ext>
              </a:extLst>
            </p:cNvPr>
            <p:cNvSpPr/>
            <p:nvPr/>
          </p:nvSpPr>
          <p:spPr>
            <a:xfrm>
              <a:off x="25571629" y="30059897"/>
              <a:ext cx="15582" cy="13919"/>
            </a:xfrm>
            <a:custGeom>
              <a:avLst/>
              <a:gdLst/>
              <a:ahLst/>
              <a:cxnLst/>
              <a:rect l="0" t="0" r="0" b="0"/>
              <a:pathLst>
                <a:path w="15582" h="13919">
                  <a:moveTo>
                    <a:pt x="15582" y="11048"/>
                  </a:moveTo>
                  <a:lnTo>
                    <a:pt x="15379" y="11328"/>
                  </a:lnTo>
                  <a:cubicBezTo>
                    <a:pt x="15176" y="11569"/>
                    <a:pt x="14922" y="11747"/>
                    <a:pt x="14642" y="11874"/>
                  </a:cubicBezTo>
                  <a:cubicBezTo>
                    <a:pt x="14185" y="12102"/>
                    <a:pt x="13677" y="12217"/>
                    <a:pt x="13169" y="12179"/>
                  </a:cubicBezTo>
                  <a:cubicBezTo>
                    <a:pt x="12471" y="12166"/>
                    <a:pt x="11810" y="11899"/>
                    <a:pt x="11290" y="11417"/>
                  </a:cubicBezTo>
                  <a:cubicBezTo>
                    <a:pt x="10731" y="10794"/>
                    <a:pt x="10299" y="10058"/>
                    <a:pt x="10045" y="9258"/>
                  </a:cubicBezTo>
                  <a:cubicBezTo>
                    <a:pt x="9702" y="8394"/>
                    <a:pt x="9410" y="7492"/>
                    <a:pt x="9169" y="6591"/>
                  </a:cubicBezTo>
                  <a:cubicBezTo>
                    <a:pt x="8559" y="4444"/>
                    <a:pt x="8204" y="2235"/>
                    <a:pt x="8089" y="0"/>
                  </a:cubicBezTo>
                  <a:lnTo>
                    <a:pt x="8775" y="0"/>
                  </a:lnTo>
                  <a:cubicBezTo>
                    <a:pt x="9207" y="2908"/>
                    <a:pt x="9118" y="5867"/>
                    <a:pt x="8508" y="8750"/>
                  </a:cubicBezTo>
                  <a:cubicBezTo>
                    <a:pt x="8140" y="10490"/>
                    <a:pt x="7188" y="12052"/>
                    <a:pt x="5816" y="13182"/>
                  </a:cubicBezTo>
                  <a:cubicBezTo>
                    <a:pt x="5079" y="13715"/>
                    <a:pt x="4152" y="13919"/>
                    <a:pt x="3263" y="13741"/>
                  </a:cubicBezTo>
                  <a:cubicBezTo>
                    <a:pt x="2412" y="13550"/>
                    <a:pt x="1689" y="13004"/>
                    <a:pt x="1269" y="12242"/>
                  </a:cubicBezTo>
                  <a:cubicBezTo>
                    <a:pt x="0" y="9728"/>
                    <a:pt x="50" y="6730"/>
                    <a:pt x="1422" y="4267"/>
                  </a:cubicBezTo>
                  <a:cubicBezTo>
                    <a:pt x="2324" y="2641"/>
                    <a:pt x="3708" y="1346"/>
                    <a:pt x="5397" y="571"/>
                  </a:cubicBezTo>
                  <a:cubicBezTo>
                    <a:pt x="5841" y="368"/>
                    <a:pt x="6324" y="215"/>
                    <a:pt x="6807" y="114"/>
                  </a:cubicBezTo>
                  <a:lnTo>
                    <a:pt x="7315" y="114"/>
                  </a:lnTo>
                  <a:cubicBezTo>
                    <a:pt x="7315" y="114"/>
                    <a:pt x="6642" y="317"/>
                    <a:pt x="5537" y="888"/>
                  </a:cubicBezTo>
                  <a:cubicBezTo>
                    <a:pt x="2844" y="2260"/>
                    <a:pt x="1104" y="4991"/>
                    <a:pt x="990" y="8013"/>
                  </a:cubicBezTo>
                  <a:cubicBezTo>
                    <a:pt x="876" y="9372"/>
                    <a:pt x="1181" y="10731"/>
                    <a:pt x="1841" y="11925"/>
                  </a:cubicBezTo>
                  <a:cubicBezTo>
                    <a:pt x="2171" y="12534"/>
                    <a:pt x="2743" y="12966"/>
                    <a:pt x="3403" y="13118"/>
                  </a:cubicBezTo>
                  <a:cubicBezTo>
                    <a:pt x="4114" y="13233"/>
                    <a:pt x="4825" y="13068"/>
                    <a:pt x="5422" y="12661"/>
                  </a:cubicBezTo>
                  <a:cubicBezTo>
                    <a:pt x="6642" y="11607"/>
                    <a:pt x="7492" y="10185"/>
                    <a:pt x="7835" y="8610"/>
                  </a:cubicBezTo>
                  <a:cubicBezTo>
                    <a:pt x="8394" y="5803"/>
                    <a:pt x="8483" y="2920"/>
                    <a:pt x="8089" y="88"/>
                  </a:cubicBezTo>
                  <a:lnTo>
                    <a:pt x="8775" y="88"/>
                  </a:lnTo>
                  <a:cubicBezTo>
                    <a:pt x="8851" y="2273"/>
                    <a:pt x="9169" y="4444"/>
                    <a:pt x="9702" y="6565"/>
                  </a:cubicBezTo>
                  <a:cubicBezTo>
                    <a:pt x="9956" y="7505"/>
                    <a:pt x="10223" y="8407"/>
                    <a:pt x="10502" y="9207"/>
                  </a:cubicBezTo>
                  <a:cubicBezTo>
                    <a:pt x="10718" y="9943"/>
                    <a:pt x="11099" y="10642"/>
                    <a:pt x="11607" y="11213"/>
                  </a:cubicBezTo>
                  <a:cubicBezTo>
                    <a:pt x="12382" y="11912"/>
                    <a:pt x="13461" y="12128"/>
                    <a:pt x="14452" y="11785"/>
                  </a:cubicBezTo>
                  <a:cubicBezTo>
                    <a:pt x="14858" y="11594"/>
                    <a:pt x="15239" y="11340"/>
                    <a:pt x="15582" y="1104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1" name="Free Form 3286">
              <a:extLst>
                <a:ext uri="{FF2B5EF4-FFF2-40B4-BE49-F238E27FC236}">
                  <a16:creationId xmlns:a16="http://schemas.microsoft.com/office/drawing/2014/main" id="{2B763959-1EB7-B9A0-F12E-FFA2B65C6BF4}"/>
                </a:ext>
              </a:extLst>
            </p:cNvPr>
            <p:cNvSpPr/>
            <p:nvPr/>
          </p:nvSpPr>
          <p:spPr>
            <a:xfrm>
              <a:off x="25712299" y="30112106"/>
              <a:ext cx="121004" cy="20955"/>
            </a:xfrm>
            <a:custGeom>
              <a:avLst/>
              <a:gdLst/>
              <a:ahLst/>
              <a:cxnLst/>
              <a:rect l="0" t="0" r="0" b="0"/>
              <a:pathLst>
                <a:path w="121004" h="20954">
                  <a:moveTo>
                    <a:pt x="121004" y="431"/>
                  </a:moveTo>
                  <a:cubicBezTo>
                    <a:pt x="121004" y="825"/>
                    <a:pt x="94055" y="5689"/>
                    <a:pt x="60641" y="11252"/>
                  </a:cubicBezTo>
                  <a:cubicBezTo>
                    <a:pt x="27228" y="16814"/>
                    <a:pt x="114" y="20954"/>
                    <a:pt x="63" y="20561"/>
                  </a:cubicBezTo>
                  <a:cubicBezTo>
                    <a:pt x="0" y="20167"/>
                    <a:pt x="26999" y="15303"/>
                    <a:pt x="60413" y="9740"/>
                  </a:cubicBezTo>
                  <a:cubicBezTo>
                    <a:pt x="93839" y="4178"/>
                    <a:pt x="120915" y="0"/>
                    <a:pt x="121004" y="43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2" name="Free Form 3287">
              <a:extLst>
                <a:ext uri="{FF2B5EF4-FFF2-40B4-BE49-F238E27FC236}">
                  <a16:creationId xmlns:a16="http://schemas.microsoft.com/office/drawing/2014/main" id="{AADED52D-C820-543B-8A2C-A96EA01F03CB}"/>
                </a:ext>
              </a:extLst>
            </p:cNvPr>
            <p:cNvSpPr/>
            <p:nvPr/>
          </p:nvSpPr>
          <p:spPr>
            <a:xfrm>
              <a:off x="25718375" y="30126415"/>
              <a:ext cx="121030" cy="20955"/>
            </a:xfrm>
            <a:custGeom>
              <a:avLst/>
              <a:gdLst/>
              <a:ahLst/>
              <a:cxnLst/>
              <a:rect l="0" t="0" r="0" b="0"/>
              <a:pathLst>
                <a:path w="121029" h="20954">
                  <a:moveTo>
                    <a:pt x="121029" y="431"/>
                  </a:moveTo>
                  <a:cubicBezTo>
                    <a:pt x="121029" y="825"/>
                    <a:pt x="94093" y="5689"/>
                    <a:pt x="60705" y="11213"/>
                  </a:cubicBezTo>
                  <a:cubicBezTo>
                    <a:pt x="27317" y="16751"/>
                    <a:pt x="165" y="20954"/>
                    <a:pt x="88" y="20561"/>
                  </a:cubicBezTo>
                  <a:cubicBezTo>
                    <a:pt x="0" y="20167"/>
                    <a:pt x="27025" y="15303"/>
                    <a:pt x="60438" y="9740"/>
                  </a:cubicBezTo>
                  <a:cubicBezTo>
                    <a:pt x="93864" y="4178"/>
                    <a:pt x="121029" y="0"/>
                    <a:pt x="121029" y="43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3" name="Free Form 3288">
              <a:extLst>
                <a:ext uri="{FF2B5EF4-FFF2-40B4-BE49-F238E27FC236}">
                  <a16:creationId xmlns:a16="http://schemas.microsoft.com/office/drawing/2014/main" id="{AE7AA5C0-52A8-9B80-6068-4BD395FA3F3F}"/>
                </a:ext>
              </a:extLst>
            </p:cNvPr>
            <p:cNvSpPr/>
            <p:nvPr/>
          </p:nvSpPr>
          <p:spPr>
            <a:xfrm>
              <a:off x="25724372" y="30140733"/>
              <a:ext cx="120967" cy="20955"/>
            </a:xfrm>
            <a:custGeom>
              <a:avLst/>
              <a:gdLst/>
              <a:ahLst/>
              <a:cxnLst/>
              <a:rect l="0" t="0" r="0" b="0"/>
              <a:pathLst>
                <a:path w="120966" h="20954">
                  <a:moveTo>
                    <a:pt x="120966" y="393"/>
                  </a:moveTo>
                  <a:cubicBezTo>
                    <a:pt x="120966" y="825"/>
                    <a:pt x="94029" y="5651"/>
                    <a:pt x="60641" y="11213"/>
                  </a:cubicBezTo>
                  <a:cubicBezTo>
                    <a:pt x="27253" y="16776"/>
                    <a:pt x="114" y="20954"/>
                    <a:pt x="50" y="20548"/>
                  </a:cubicBezTo>
                  <a:cubicBezTo>
                    <a:pt x="0" y="20154"/>
                    <a:pt x="26999" y="15303"/>
                    <a:pt x="60375" y="9728"/>
                  </a:cubicBezTo>
                  <a:cubicBezTo>
                    <a:pt x="93763" y="4165"/>
                    <a:pt x="120915" y="0"/>
                    <a:pt x="120966" y="39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4" name="Free Form 3289">
              <a:extLst>
                <a:ext uri="{FF2B5EF4-FFF2-40B4-BE49-F238E27FC236}">
                  <a16:creationId xmlns:a16="http://schemas.microsoft.com/office/drawing/2014/main" id="{F42D68A4-EAE2-37D7-49CC-ABD26F0CCDC3}"/>
                </a:ext>
              </a:extLst>
            </p:cNvPr>
            <p:cNvSpPr/>
            <p:nvPr/>
          </p:nvSpPr>
          <p:spPr>
            <a:xfrm>
              <a:off x="25505392" y="29825280"/>
              <a:ext cx="82727" cy="81711"/>
            </a:xfrm>
            <a:custGeom>
              <a:avLst/>
              <a:gdLst/>
              <a:ahLst/>
              <a:cxnLst/>
              <a:rect l="0" t="0" r="0" b="0"/>
              <a:pathLst>
                <a:path w="82726" h="81710">
                  <a:moveTo>
                    <a:pt x="82726" y="81710"/>
                  </a:moveTo>
                  <a:cubicBezTo>
                    <a:pt x="81431" y="80885"/>
                    <a:pt x="80212" y="79932"/>
                    <a:pt x="79094" y="78866"/>
                  </a:cubicBezTo>
                  <a:cubicBezTo>
                    <a:pt x="76796" y="76999"/>
                    <a:pt x="73557" y="74243"/>
                    <a:pt x="69607" y="70750"/>
                  </a:cubicBezTo>
                  <a:cubicBezTo>
                    <a:pt x="61695" y="63791"/>
                    <a:pt x="50964" y="53974"/>
                    <a:pt x="39483" y="42671"/>
                  </a:cubicBezTo>
                  <a:cubicBezTo>
                    <a:pt x="28015" y="31368"/>
                    <a:pt x="18059" y="20789"/>
                    <a:pt x="11099" y="12953"/>
                  </a:cubicBezTo>
                  <a:cubicBezTo>
                    <a:pt x="7543" y="9029"/>
                    <a:pt x="4737" y="5854"/>
                    <a:pt x="2832" y="3581"/>
                  </a:cubicBezTo>
                  <a:cubicBezTo>
                    <a:pt x="1790" y="2463"/>
                    <a:pt x="838" y="1269"/>
                    <a:pt x="0" y="0"/>
                  </a:cubicBezTo>
                  <a:cubicBezTo>
                    <a:pt x="1181" y="965"/>
                    <a:pt x="2285" y="2044"/>
                    <a:pt x="3263" y="3213"/>
                  </a:cubicBezTo>
                  <a:lnTo>
                    <a:pt x="11772" y="12242"/>
                  </a:lnTo>
                  <a:cubicBezTo>
                    <a:pt x="19024" y="19875"/>
                    <a:pt x="29120" y="30352"/>
                    <a:pt x="40563" y="41617"/>
                  </a:cubicBezTo>
                  <a:cubicBezTo>
                    <a:pt x="52005" y="52894"/>
                    <a:pt x="62597" y="62826"/>
                    <a:pt x="70319" y="70014"/>
                  </a:cubicBezTo>
                  <a:lnTo>
                    <a:pt x="79488" y="78535"/>
                  </a:lnTo>
                  <a:cubicBezTo>
                    <a:pt x="80644" y="79513"/>
                    <a:pt x="81723" y="80567"/>
                    <a:pt x="82726" y="8171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5" name="Free Form 3290">
              <a:extLst>
                <a:ext uri="{FF2B5EF4-FFF2-40B4-BE49-F238E27FC236}">
                  <a16:creationId xmlns:a16="http://schemas.microsoft.com/office/drawing/2014/main" id="{01A4EB3C-AE31-AC4A-2D46-F13D0D7D5C3D}"/>
                </a:ext>
              </a:extLst>
            </p:cNvPr>
            <p:cNvSpPr/>
            <p:nvPr/>
          </p:nvSpPr>
          <p:spPr>
            <a:xfrm>
              <a:off x="25540654" y="29865710"/>
              <a:ext cx="55333" cy="47637"/>
            </a:xfrm>
            <a:custGeom>
              <a:avLst/>
              <a:gdLst/>
              <a:ahLst/>
              <a:cxnLst/>
              <a:rect l="0" t="0" r="0" b="0"/>
              <a:pathLst>
                <a:path w="55333" h="47637">
                  <a:moveTo>
                    <a:pt x="53656" y="0"/>
                  </a:moveTo>
                  <a:cubicBezTo>
                    <a:pt x="53631" y="1219"/>
                    <a:pt x="53504" y="2438"/>
                    <a:pt x="53263" y="3632"/>
                  </a:cubicBezTo>
                  <a:cubicBezTo>
                    <a:pt x="52920" y="5956"/>
                    <a:pt x="52488" y="9309"/>
                    <a:pt x="52234" y="13538"/>
                  </a:cubicBezTo>
                  <a:cubicBezTo>
                    <a:pt x="51510" y="24625"/>
                    <a:pt x="52475" y="35737"/>
                    <a:pt x="55079" y="46532"/>
                  </a:cubicBezTo>
                  <a:lnTo>
                    <a:pt x="55333" y="47637"/>
                  </a:lnTo>
                  <a:lnTo>
                    <a:pt x="54228" y="47446"/>
                  </a:lnTo>
                  <a:lnTo>
                    <a:pt x="50215" y="46697"/>
                  </a:lnTo>
                  <a:cubicBezTo>
                    <a:pt x="36308" y="44182"/>
                    <a:pt x="23736" y="41795"/>
                    <a:pt x="14642" y="39979"/>
                  </a:cubicBezTo>
                  <a:lnTo>
                    <a:pt x="3886" y="37782"/>
                  </a:lnTo>
                  <a:cubicBezTo>
                    <a:pt x="2565" y="37578"/>
                    <a:pt x="1257" y="37236"/>
                    <a:pt x="0" y="36766"/>
                  </a:cubicBezTo>
                  <a:cubicBezTo>
                    <a:pt x="1346" y="36804"/>
                    <a:pt x="2679" y="36956"/>
                    <a:pt x="4000" y="37223"/>
                  </a:cubicBezTo>
                  <a:lnTo>
                    <a:pt x="14846" y="38950"/>
                  </a:lnTo>
                  <a:cubicBezTo>
                    <a:pt x="23964" y="40487"/>
                    <a:pt x="36562" y="42696"/>
                    <a:pt x="50481" y="45249"/>
                  </a:cubicBezTo>
                  <a:lnTo>
                    <a:pt x="54482" y="45998"/>
                  </a:lnTo>
                  <a:lnTo>
                    <a:pt x="53656" y="46900"/>
                  </a:lnTo>
                  <a:cubicBezTo>
                    <a:pt x="51002" y="35966"/>
                    <a:pt x="50177" y="24663"/>
                    <a:pt x="51218" y="13461"/>
                  </a:cubicBezTo>
                  <a:cubicBezTo>
                    <a:pt x="51510" y="10121"/>
                    <a:pt x="52005" y="6819"/>
                    <a:pt x="52691" y="3555"/>
                  </a:cubicBezTo>
                  <a:cubicBezTo>
                    <a:pt x="52869" y="2336"/>
                    <a:pt x="53199" y="1142"/>
                    <a:pt x="53656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6" name="Rectangle 3291">
              <a:extLst>
                <a:ext uri="{FF2B5EF4-FFF2-40B4-BE49-F238E27FC236}">
                  <a16:creationId xmlns:a16="http://schemas.microsoft.com/office/drawing/2014/main" id="{28B8260C-1B87-C879-AAE8-C98928C0AFDA}"/>
                </a:ext>
              </a:extLst>
            </p:cNvPr>
            <p:cNvSpPr/>
            <p:nvPr/>
          </p:nvSpPr>
          <p:spPr>
            <a:xfrm>
              <a:off x="26172458" y="29688196"/>
              <a:ext cx="174979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7" name="Rectangle 3292">
              <a:extLst>
                <a:ext uri="{FF2B5EF4-FFF2-40B4-BE49-F238E27FC236}">
                  <a16:creationId xmlns:a16="http://schemas.microsoft.com/office/drawing/2014/main" id="{12F74C3B-D570-46E3-B419-29697B941A97}"/>
                </a:ext>
              </a:extLst>
            </p:cNvPr>
            <p:cNvSpPr/>
            <p:nvPr/>
          </p:nvSpPr>
          <p:spPr>
            <a:xfrm>
              <a:off x="26160622" y="29688196"/>
              <a:ext cx="174967" cy="388078"/>
            </a:xfrm>
            <a:prstGeom prst="rect">
              <a:avLst/>
            </a:pr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8" name="Free Form 3293">
              <a:extLst>
                <a:ext uri="{FF2B5EF4-FFF2-40B4-BE49-F238E27FC236}">
                  <a16:creationId xmlns:a16="http://schemas.microsoft.com/office/drawing/2014/main" id="{2C78539B-36C1-3B7F-8D1A-FF2D2ECD74B2}"/>
                </a:ext>
              </a:extLst>
            </p:cNvPr>
            <p:cNvSpPr/>
            <p:nvPr/>
          </p:nvSpPr>
          <p:spPr>
            <a:xfrm>
              <a:off x="26160558" y="29790979"/>
              <a:ext cx="175055" cy="182497"/>
            </a:xfrm>
            <a:custGeom>
              <a:avLst/>
              <a:gdLst/>
              <a:ahLst/>
              <a:cxnLst/>
              <a:rect l="0" t="0" r="0" b="0"/>
              <a:pathLst>
                <a:path w="175054" h="182497">
                  <a:moveTo>
                    <a:pt x="0" y="182497"/>
                  </a:moveTo>
                  <a:lnTo>
                    <a:pt x="0" y="0"/>
                  </a:lnTo>
                  <a:lnTo>
                    <a:pt x="175054" y="0"/>
                  </a:lnTo>
                  <a:lnTo>
                    <a:pt x="175054" y="182497"/>
                  </a:lnTo>
                  <a:close/>
                  <a:moveTo>
                    <a:pt x="114" y="182497"/>
                  </a:moveTo>
                  <a:lnTo>
                    <a:pt x="174978" y="182497"/>
                  </a:lnTo>
                  <a:lnTo>
                    <a:pt x="174978" y="114"/>
                  </a:lnTo>
                  <a:lnTo>
                    <a:pt x="114" y="114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9" name="Rectangle 3294">
              <a:extLst>
                <a:ext uri="{FF2B5EF4-FFF2-40B4-BE49-F238E27FC236}">
                  <a16:creationId xmlns:a16="http://schemas.microsoft.com/office/drawing/2014/main" id="{C7B30D57-DAD2-B81C-B94C-9D6BCA34B087}"/>
                </a:ext>
              </a:extLst>
            </p:cNvPr>
            <p:cNvSpPr/>
            <p:nvPr/>
          </p:nvSpPr>
          <p:spPr>
            <a:xfrm>
              <a:off x="26184128" y="29688177"/>
              <a:ext cx="127927" cy="388078"/>
            </a:xfrm>
            <a:prstGeom prst="rect">
              <a:avLst/>
            </a:pr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0" name="Free Form 3295">
              <a:extLst>
                <a:ext uri="{FF2B5EF4-FFF2-40B4-BE49-F238E27FC236}">
                  <a16:creationId xmlns:a16="http://schemas.microsoft.com/office/drawing/2014/main" id="{39DC40AD-3173-5C9D-0BE8-F7F5B63D4E0A}"/>
                </a:ext>
              </a:extLst>
            </p:cNvPr>
            <p:cNvSpPr/>
            <p:nvPr/>
          </p:nvSpPr>
          <p:spPr>
            <a:xfrm>
              <a:off x="26160643" y="29949775"/>
              <a:ext cx="23482" cy="23000"/>
            </a:xfrm>
            <a:custGeom>
              <a:avLst/>
              <a:gdLst/>
              <a:ahLst/>
              <a:cxnLst/>
              <a:rect l="0" t="0" r="0" b="0"/>
              <a:pathLst>
                <a:path w="23482" h="22999">
                  <a:moveTo>
                    <a:pt x="23482" y="0"/>
                  </a:moveTo>
                  <a:cubicBezTo>
                    <a:pt x="22593" y="1358"/>
                    <a:pt x="21538" y="2603"/>
                    <a:pt x="20332" y="3695"/>
                  </a:cubicBezTo>
                  <a:cubicBezTo>
                    <a:pt x="18287" y="5841"/>
                    <a:pt x="15417" y="8737"/>
                    <a:pt x="12217" y="11925"/>
                  </a:cubicBezTo>
                  <a:cubicBezTo>
                    <a:pt x="9004" y="15100"/>
                    <a:pt x="6019" y="17919"/>
                    <a:pt x="3695" y="19926"/>
                  </a:cubicBezTo>
                  <a:cubicBezTo>
                    <a:pt x="2578" y="21094"/>
                    <a:pt x="1346" y="22123"/>
                    <a:pt x="0" y="22999"/>
                  </a:cubicBezTo>
                  <a:cubicBezTo>
                    <a:pt x="901" y="21653"/>
                    <a:pt x="1955" y="20421"/>
                    <a:pt x="3149" y="19329"/>
                  </a:cubicBezTo>
                  <a:cubicBezTo>
                    <a:pt x="5194" y="17208"/>
                    <a:pt x="8064" y="14287"/>
                    <a:pt x="11302" y="11099"/>
                  </a:cubicBezTo>
                  <a:cubicBezTo>
                    <a:pt x="14541" y="7924"/>
                    <a:pt x="17487" y="5079"/>
                    <a:pt x="19824" y="3060"/>
                  </a:cubicBezTo>
                  <a:cubicBezTo>
                    <a:pt x="20916" y="1917"/>
                    <a:pt x="22148" y="876"/>
                    <a:pt x="23482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1" name="Free Form 3296">
              <a:extLst>
                <a:ext uri="{FF2B5EF4-FFF2-40B4-BE49-F238E27FC236}">
                  <a16:creationId xmlns:a16="http://schemas.microsoft.com/office/drawing/2014/main" id="{92E48507-293A-28A9-0CEF-4ED1F9F02A84}"/>
                </a:ext>
              </a:extLst>
            </p:cNvPr>
            <p:cNvSpPr/>
            <p:nvPr/>
          </p:nvSpPr>
          <p:spPr>
            <a:xfrm>
              <a:off x="26312054" y="29949462"/>
              <a:ext cx="22999" cy="23342"/>
            </a:xfrm>
            <a:custGeom>
              <a:avLst/>
              <a:gdLst/>
              <a:ahLst/>
              <a:cxnLst/>
              <a:rect l="0" t="0" r="0" b="0"/>
              <a:pathLst>
                <a:path w="22999" h="23342">
                  <a:moveTo>
                    <a:pt x="0" y="0"/>
                  </a:moveTo>
                  <a:cubicBezTo>
                    <a:pt x="1333" y="901"/>
                    <a:pt x="2565" y="1955"/>
                    <a:pt x="3657" y="3149"/>
                  </a:cubicBezTo>
                  <a:cubicBezTo>
                    <a:pt x="5816" y="5194"/>
                    <a:pt x="8737" y="8064"/>
                    <a:pt x="11925" y="11277"/>
                  </a:cubicBezTo>
                  <a:cubicBezTo>
                    <a:pt x="15100" y="14477"/>
                    <a:pt x="17906" y="17462"/>
                    <a:pt x="19926" y="19646"/>
                  </a:cubicBezTo>
                  <a:cubicBezTo>
                    <a:pt x="21094" y="20751"/>
                    <a:pt x="22123" y="21996"/>
                    <a:pt x="22999" y="23342"/>
                  </a:cubicBezTo>
                  <a:cubicBezTo>
                    <a:pt x="21653" y="22440"/>
                    <a:pt x="20421" y="21373"/>
                    <a:pt x="19329" y="20180"/>
                  </a:cubicBezTo>
                  <a:cubicBezTo>
                    <a:pt x="17170" y="18148"/>
                    <a:pt x="14249" y="15277"/>
                    <a:pt x="11074" y="12039"/>
                  </a:cubicBezTo>
                  <a:cubicBezTo>
                    <a:pt x="7886" y="8801"/>
                    <a:pt x="5079" y="5854"/>
                    <a:pt x="3060" y="3657"/>
                  </a:cubicBezTo>
                  <a:cubicBezTo>
                    <a:pt x="1904" y="2565"/>
                    <a:pt x="876" y="1346"/>
                    <a:pt x="0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2" name="Free Form 3297">
              <a:extLst>
                <a:ext uri="{FF2B5EF4-FFF2-40B4-BE49-F238E27FC236}">
                  <a16:creationId xmlns:a16="http://schemas.microsoft.com/office/drawing/2014/main" id="{A93D418B-5BF2-5F84-4CD1-2AB447829A74}"/>
                </a:ext>
              </a:extLst>
            </p:cNvPr>
            <p:cNvSpPr/>
            <p:nvPr/>
          </p:nvSpPr>
          <p:spPr>
            <a:xfrm>
              <a:off x="26311713" y="29792913"/>
              <a:ext cx="23330" cy="22999"/>
            </a:xfrm>
            <a:custGeom>
              <a:avLst/>
              <a:gdLst/>
              <a:ahLst/>
              <a:cxnLst/>
              <a:rect l="0" t="0" r="0" b="0"/>
              <a:pathLst>
                <a:path w="23329" h="22999">
                  <a:moveTo>
                    <a:pt x="0" y="22999"/>
                  </a:moveTo>
                  <a:cubicBezTo>
                    <a:pt x="901" y="21640"/>
                    <a:pt x="1955" y="20408"/>
                    <a:pt x="3149" y="19303"/>
                  </a:cubicBezTo>
                  <a:cubicBezTo>
                    <a:pt x="5194" y="17182"/>
                    <a:pt x="8064" y="14249"/>
                    <a:pt x="11264" y="11074"/>
                  </a:cubicBezTo>
                  <a:cubicBezTo>
                    <a:pt x="14477" y="7899"/>
                    <a:pt x="17462" y="5079"/>
                    <a:pt x="19646" y="3073"/>
                  </a:cubicBezTo>
                  <a:cubicBezTo>
                    <a:pt x="20751" y="1904"/>
                    <a:pt x="21996" y="876"/>
                    <a:pt x="23329" y="0"/>
                  </a:cubicBezTo>
                  <a:cubicBezTo>
                    <a:pt x="22440" y="1346"/>
                    <a:pt x="21373" y="2578"/>
                    <a:pt x="20180" y="3670"/>
                  </a:cubicBezTo>
                  <a:cubicBezTo>
                    <a:pt x="18135" y="5816"/>
                    <a:pt x="15277" y="8750"/>
                    <a:pt x="12039" y="11925"/>
                  </a:cubicBezTo>
                  <a:cubicBezTo>
                    <a:pt x="8801" y="15112"/>
                    <a:pt x="5841" y="17919"/>
                    <a:pt x="3517" y="19938"/>
                  </a:cubicBezTo>
                  <a:cubicBezTo>
                    <a:pt x="2463" y="21081"/>
                    <a:pt x="1282" y="22110"/>
                    <a:pt x="0" y="2299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3" name="Free Form 3298">
              <a:extLst>
                <a:ext uri="{FF2B5EF4-FFF2-40B4-BE49-F238E27FC236}">
                  <a16:creationId xmlns:a16="http://schemas.microsoft.com/office/drawing/2014/main" id="{1C32E5C8-B114-2D73-9076-F1187A30584F}"/>
                </a:ext>
              </a:extLst>
            </p:cNvPr>
            <p:cNvSpPr/>
            <p:nvPr/>
          </p:nvSpPr>
          <p:spPr>
            <a:xfrm>
              <a:off x="26160784" y="29792921"/>
              <a:ext cx="23000" cy="23304"/>
            </a:xfrm>
            <a:custGeom>
              <a:avLst/>
              <a:gdLst/>
              <a:ahLst/>
              <a:cxnLst/>
              <a:rect l="0" t="0" r="0" b="0"/>
              <a:pathLst>
                <a:path w="22999" h="23304">
                  <a:moveTo>
                    <a:pt x="22999" y="23304"/>
                  </a:moveTo>
                  <a:cubicBezTo>
                    <a:pt x="21653" y="22402"/>
                    <a:pt x="20408" y="21348"/>
                    <a:pt x="19303" y="20154"/>
                  </a:cubicBezTo>
                  <a:cubicBezTo>
                    <a:pt x="17157" y="18110"/>
                    <a:pt x="14223" y="15239"/>
                    <a:pt x="11048" y="12039"/>
                  </a:cubicBezTo>
                  <a:cubicBezTo>
                    <a:pt x="7861" y="8826"/>
                    <a:pt x="5054" y="5841"/>
                    <a:pt x="3073" y="3657"/>
                  </a:cubicBezTo>
                  <a:cubicBezTo>
                    <a:pt x="1904" y="2565"/>
                    <a:pt x="876" y="1333"/>
                    <a:pt x="0" y="0"/>
                  </a:cubicBezTo>
                  <a:cubicBezTo>
                    <a:pt x="1346" y="901"/>
                    <a:pt x="2578" y="1955"/>
                    <a:pt x="3670" y="3149"/>
                  </a:cubicBezTo>
                  <a:cubicBezTo>
                    <a:pt x="5816" y="5194"/>
                    <a:pt x="8750" y="8064"/>
                    <a:pt x="11925" y="11290"/>
                  </a:cubicBezTo>
                  <a:cubicBezTo>
                    <a:pt x="15100" y="14528"/>
                    <a:pt x="17919" y="17487"/>
                    <a:pt x="19938" y="19811"/>
                  </a:cubicBezTo>
                  <a:cubicBezTo>
                    <a:pt x="21094" y="20853"/>
                    <a:pt x="22110" y="22021"/>
                    <a:pt x="22999" y="2330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4" name="Free Form 3299">
              <a:extLst>
                <a:ext uri="{FF2B5EF4-FFF2-40B4-BE49-F238E27FC236}">
                  <a16:creationId xmlns:a16="http://schemas.microsoft.com/office/drawing/2014/main" id="{A33A2221-4F53-B6D4-899A-FD71FE1767ED}"/>
                </a:ext>
              </a:extLst>
            </p:cNvPr>
            <p:cNvSpPr/>
            <p:nvPr/>
          </p:nvSpPr>
          <p:spPr>
            <a:xfrm>
              <a:off x="26183787" y="29814517"/>
              <a:ext cx="128637" cy="134491"/>
            </a:xfrm>
            <a:custGeom>
              <a:avLst/>
              <a:gdLst/>
              <a:ahLst/>
              <a:cxnLst/>
              <a:rect l="0" t="0" r="0" b="0"/>
              <a:pathLst>
                <a:path w="128636" h="134491">
                  <a:moveTo>
                    <a:pt x="127925" y="134377"/>
                  </a:moveTo>
                  <a:cubicBezTo>
                    <a:pt x="127900" y="134161"/>
                    <a:pt x="127900" y="133945"/>
                    <a:pt x="127925" y="133729"/>
                  </a:cubicBezTo>
                  <a:lnTo>
                    <a:pt x="127925" y="131875"/>
                  </a:lnTo>
                  <a:lnTo>
                    <a:pt x="127925" y="124661"/>
                  </a:lnTo>
                  <a:cubicBezTo>
                    <a:pt x="127925" y="118362"/>
                    <a:pt x="127925" y="109168"/>
                    <a:pt x="127786" y="97496"/>
                  </a:cubicBezTo>
                  <a:cubicBezTo>
                    <a:pt x="127786" y="74129"/>
                    <a:pt x="127786" y="40855"/>
                    <a:pt x="127532" y="965"/>
                  </a:cubicBezTo>
                  <a:lnTo>
                    <a:pt x="128040" y="1485"/>
                  </a:lnTo>
                  <a:lnTo>
                    <a:pt x="482" y="1485"/>
                  </a:lnTo>
                  <a:lnTo>
                    <a:pt x="1054" y="914"/>
                  </a:lnTo>
                  <a:lnTo>
                    <a:pt x="1054" y="134351"/>
                  </a:lnTo>
                  <a:lnTo>
                    <a:pt x="558" y="133869"/>
                  </a:lnTo>
                  <a:lnTo>
                    <a:pt x="92950" y="134123"/>
                  </a:lnTo>
                  <a:lnTo>
                    <a:pt x="118896" y="134123"/>
                  </a:lnTo>
                  <a:lnTo>
                    <a:pt x="125766" y="134123"/>
                  </a:lnTo>
                  <a:lnTo>
                    <a:pt x="119010" y="134123"/>
                  </a:lnTo>
                  <a:lnTo>
                    <a:pt x="93178" y="134262"/>
                  </a:lnTo>
                  <a:lnTo>
                    <a:pt x="482" y="134491"/>
                  </a:lnTo>
                  <a:lnTo>
                    <a:pt x="0" y="134491"/>
                  </a:lnTo>
                  <a:lnTo>
                    <a:pt x="0" y="134008"/>
                  </a:lnTo>
                  <a:lnTo>
                    <a:pt x="0" y="571"/>
                  </a:lnTo>
                  <a:lnTo>
                    <a:pt x="0" y="0"/>
                  </a:lnTo>
                  <a:lnTo>
                    <a:pt x="596" y="0"/>
                  </a:lnTo>
                  <a:lnTo>
                    <a:pt x="128154" y="0"/>
                  </a:lnTo>
                  <a:lnTo>
                    <a:pt x="128636" y="0"/>
                  </a:lnTo>
                  <a:lnTo>
                    <a:pt x="128636" y="1117"/>
                  </a:lnTo>
                  <a:cubicBezTo>
                    <a:pt x="128636" y="41084"/>
                    <a:pt x="128433" y="74472"/>
                    <a:pt x="128382" y="97890"/>
                  </a:cubicBezTo>
                  <a:lnTo>
                    <a:pt x="128382" y="124953"/>
                  </a:lnTo>
                  <a:lnTo>
                    <a:pt x="128382" y="132078"/>
                  </a:lnTo>
                  <a:lnTo>
                    <a:pt x="128382" y="133869"/>
                  </a:lnTo>
                  <a:cubicBezTo>
                    <a:pt x="128382" y="134288"/>
                    <a:pt x="127925" y="134377"/>
                    <a:pt x="127925" y="13437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5" name="Rectangle 3300">
              <a:extLst>
                <a:ext uri="{FF2B5EF4-FFF2-40B4-BE49-F238E27FC236}">
                  <a16:creationId xmlns:a16="http://schemas.microsoft.com/office/drawing/2014/main" id="{D3AE69B9-221A-DB66-FD33-BEE6DC815B87}"/>
                </a:ext>
              </a:extLst>
            </p:cNvPr>
            <p:cNvSpPr/>
            <p:nvPr/>
          </p:nvSpPr>
          <p:spPr>
            <a:xfrm>
              <a:off x="26226736" y="29688190"/>
              <a:ext cx="42698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6" name="Rectangle 3301">
              <a:extLst>
                <a:ext uri="{FF2B5EF4-FFF2-40B4-BE49-F238E27FC236}">
                  <a16:creationId xmlns:a16="http://schemas.microsoft.com/office/drawing/2014/main" id="{EC0376E1-23A1-5F7B-B00C-D8122F86E507}"/>
                </a:ext>
              </a:extLst>
            </p:cNvPr>
            <p:cNvSpPr/>
            <p:nvPr/>
          </p:nvSpPr>
          <p:spPr>
            <a:xfrm>
              <a:off x="25401657" y="29726745"/>
              <a:ext cx="981891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7" name="Free Form 3302">
              <a:extLst>
                <a:ext uri="{FF2B5EF4-FFF2-40B4-BE49-F238E27FC236}">
                  <a16:creationId xmlns:a16="http://schemas.microsoft.com/office/drawing/2014/main" id="{E12C5475-3EF0-3444-7906-C6CBF7705D9C}"/>
                </a:ext>
              </a:extLst>
            </p:cNvPr>
            <p:cNvSpPr/>
            <p:nvPr/>
          </p:nvSpPr>
          <p:spPr>
            <a:xfrm>
              <a:off x="25419253" y="29681506"/>
              <a:ext cx="16523" cy="16535"/>
            </a:xfrm>
            <a:custGeom>
              <a:avLst/>
              <a:gdLst/>
              <a:ahLst/>
              <a:cxnLst/>
              <a:rect l="0" t="0" r="0" b="0"/>
              <a:pathLst>
                <a:path w="16522" h="16535">
                  <a:moveTo>
                    <a:pt x="16522" y="8267"/>
                  </a:moveTo>
                  <a:cubicBezTo>
                    <a:pt x="16522" y="12826"/>
                    <a:pt x="12826" y="16535"/>
                    <a:pt x="8254" y="16535"/>
                  </a:cubicBezTo>
                  <a:cubicBezTo>
                    <a:pt x="3695" y="16535"/>
                    <a:pt x="0" y="12826"/>
                    <a:pt x="0" y="8267"/>
                  </a:cubicBezTo>
                  <a:cubicBezTo>
                    <a:pt x="0" y="3708"/>
                    <a:pt x="3695" y="0"/>
                    <a:pt x="8254" y="0"/>
                  </a:cubicBezTo>
                  <a:cubicBezTo>
                    <a:pt x="12826" y="0"/>
                    <a:pt x="16522" y="3708"/>
                    <a:pt x="16522" y="826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8" name="Free Form 3303">
              <a:extLst>
                <a:ext uri="{FF2B5EF4-FFF2-40B4-BE49-F238E27FC236}">
                  <a16:creationId xmlns:a16="http://schemas.microsoft.com/office/drawing/2014/main" id="{2D660373-FFB1-8E38-6A1B-55DBB575CC22}"/>
                </a:ext>
              </a:extLst>
            </p:cNvPr>
            <p:cNvSpPr/>
            <p:nvPr/>
          </p:nvSpPr>
          <p:spPr>
            <a:xfrm>
              <a:off x="25445003" y="29681506"/>
              <a:ext cx="16523" cy="16535"/>
            </a:xfrm>
            <a:custGeom>
              <a:avLst/>
              <a:gdLst/>
              <a:ahLst/>
              <a:cxnLst/>
              <a:rect l="0" t="0" r="0" b="0"/>
              <a:pathLst>
                <a:path w="16522" h="16535">
                  <a:moveTo>
                    <a:pt x="16522" y="8267"/>
                  </a:moveTo>
                  <a:cubicBezTo>
                    <a:pt x="16522" y="12826"/>
                    <a:pt x="12826" y="16535"/>
                    <a:pt x="8254" y="16535"/>
                  </a:cubicBezTo>
                  <a:cubicBezTo>
                    <a:pt x="3695" y="16535"/>
                    <a:pt x="0" y="12826"/>
                    <a:pt x="0" y="8267"/>
                  </a:cubicBezTo>
                  <a:cubicBezTo>
                    <a:pt x="0" y="3708"/>
                    <a:pt x="3695" y="0"/>
                    <a:pt x="8254" y="0"/>
                  </a:cubicBezTo>
                  <a:lnTo>
                    <a:pt x="8293" y="0"/>
                  </a:lnTo>
                  <a:cubicBezTo>
                    <a:pt x="12839" y="0"/>
                    <a:pt x="16522" y="3695"/>
                    <a:pt x="16522" y="8242"/>
                  </a:cubicBezTo>
                  <a:cubicBezTo>
                    <a:pt x="16522" y="8254"/>
                    <a:pt x="16522" y="8254"/>
                    <a:pt x="16522" y="826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9" name="Free Form 3304">
              <a:extLst>
                <a:ext uri="{FF2B5EF4-FFF2-40B4-BE49-F238E27FC236}">
                  <a16:creationId xmlns:a16="http://schemas.microsoft.com/office/drawing/2014/main" id="{BCA15614-D02C-D84F-DA73-70F96FF44028}"/>
                </a:ext>
              </a:extLst>
            </p:cNvPr>
            <p:cNvSpPr/>
            <p:nvPr/>
          </p:nvSpPr>
          <p:spPr>
            <a:xfrm>
              <a:off x="25470840" y="29681506"/>
              <a:ext cx="16522" cy="16535"/>
            </a:xfrm>
            <a:custGeom>
              <a:avLst/>
              <a:gdLst/>
              <a:ahLst/>
              <a:cxnLst/>
              <a:rect l="0" t="0" r="0" b="0"/>
              <a:pathLst>
                <a:path w="16522" h="16535">
                  <a:moveTo>
                    <a:pt x="16522" y="8267"/>
                  </a:moveTo>
                  <a:cubicBezTo>
                    <a:pt x="16522" y="12826"/>
                    <a:pt x="12826" y="16535"/>
                    <a:pt x="8254" y="16535"/>
                  </a:cubicBezTo>
                  <a:cubicBezTo>
                    <a:pt x="3695" y="16535"/>
                    <a:pt x="0" y="12826"/>
                    <a:pt x="0" y="8267"/>
                  </a:cubicBezTo>
                  <a:cubicBezTo>
                    <a:pt x="0" y="3708"/>
                    <a:pt x="3695" y="0"/>
                    <a:pt x="8254" y="0"/>
                  </a:cubicBezTo>
                  <a:cubicBezTo>
                    <a:pt x="12826" y="0"/>
                    <a:pt x="16522" y="3708"/>
                    <a:pt x="16522" y="826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0" name="Free Form 3305">
              <a:extLst>
                <a:ext uri="{FF2B5EF4-FFF2-40B4-BE49-F238E27FC236}">
                  <a16:creationId xmlns:a16="http://schemas.microsoft.com/office/drawing/2014/main" id="{66D28E76-8992-CC76-AFD5-6F11C544C73A}"/>
                </a:ext>
              </a:extLst>
            </p:cNvPr>
            <p:cNvSpPr/>
            <p:nvPr/>
          </p:nvSpPr>
          <p:spPr>
            <a:xfrm>
              <a:off x="25829436" y="29795019"/>
              <a:ext cx="86765" cy="1473"/>
            </a:xfrm>
            <a:custGeom>
              <a:avLst/>
              <a:gdLst/>
              <a:ahLst/>
              <a:cxnLst/>
              <a:rect l="0" t="0" r="0" b="0"/>
              <a:pathLst>
                <a:path w="86765" h="1473">
                  <a:moveTo>
                    <a:pt x="86765" y="736"/>
                  </a:moveTo>
                  <a:cubicBezTo>
                    <a:pt x="86765" y="1168"/>
                    <a:pt x="67347" y="1473"/>
                    <a:pt x="43382" y="1473"/>
                  </a:cubicBezTo>
                  <a:cubicBezTo>
                    <a:pt x="19418" y="1473"/>
                    <a:pt x="0" y="1168"/>
                    <a:pt x="0" y="736"/>
                  </a:cubicBezTo>
                  <a:cubicBezTo>
                    <a:pt x="0" y="317"/>
                    <a:pt x="19418" y="0"/>
                    <a:pt x="43382" y="0"/>
                  </a:cubicBezTo>
                  <a:cubicBezTo>
                    <a:pt x="67347" y="0"/>
                    <a:pt x="86765" y="203"/>
                    <a:pt x="86765" y="73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1" name="Free Form 3306">
              <a:extLst>
                <a:ext uri="{FF2B5EF4-FFF2-40B4-BE49-F238E27FC236}">
                  <a16:creationId xmlns:a16="http://schemas.microsoft.com/office/drawing/2014/main" id="{95C58E42-13C9-0C4F-7B48-236B4533F8E9}"/>
                </a:ext>
              </a:extLst>
            </p:cNvPr>
            <p:cNvSpPr/>
            <p:nvPr/>
          </p:nvSpPr>
          <p:spPr>
            <a:xfrm>
              <a:off x="25820524" y="29806376"/>
              <a:ext cx="107886" cy="1473"/>
            </a:xfrm>
            <a:custGeom>
              <a:avLst/>
              <a:gdLst/>
              <a:ahLst/>
              <a:cxnLst/>
              <a:rect l="0" t="0" r="0" b="0"/>
              <a:pathLst>
                <a:path w="107885" h="1473">
                  <a:moveTo>
                    <a:pt x="107885" y="736"/>
                  </a:moveTo>
                  <a:cubicBezTo>
                    <a:pt x="107885" y="1130"/>
                    <a:pt x="83755" y="1473"/>
                    <a:pt x="53949" y="1473"/>
                  </a:cubicBezTo>
                  <a:cubicBezTo>
                    <a:pt x="24129" y="1473"/>
                    <a:pt x="0" y="1130"/>
                    <a:pt x="0" y="736"/>
                  </a:cubicBezTo>
                  <a:cubicBezTo>
                    <a:pt x="0" y="342"/>
                    <a:pt x="24129" y="0"/>
                    <a:pt x="53949" y="0"/>
                  </a:cubicBezTo>
                  <a:cubicBezTo>
                    <a:pt x="83755" y="0"/>
                    <a:pt x="107885" y="368"/>
                    <a:pt x="107885" y="73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2" name="Free Form 3307">
              <a:extLst>
                <a:ext uri="{FF2B5EF4-FFF2-40B4-BE49-F238E27FC236}">
                  <a16:creationId xmlns:a16="http://schemas.microsoft.com/office/drawing/2014/main" id="{E0C1E600-8069-1297-1FA0-E5D536AD144E}"/>
                </a:ext>
              </a:extLst>
            </p:cNvPr>
            <p:cNvSpPr/>
            <p:nvPr/>
          </p:nvSpPr>
          <p:spPr>
            <a:xfrm>
              <a:off x="25864473" y="29818056"/>
              <a:ext cx="33985" cy="34671"/>
            </a:xfrm>
            <a:custGeom>
              <a:avLst/>
              <a:gdLst/>
              <a:ahLst/>
              <a:cxnLst/>
              <a:rect l="0" t="0" r="0" b="0"/>
              <a:pathLst>
                <a:path w="33984" h="34670">
                  <a:moveTo>
                    <a:pt x="33984" y="22783"/>
                  </a:moveTo>
                  <a:cubicBezTo>
                    <a:pt x="33260" y="23482"/>
                    <a:pt x="32460" y="24078"/>
                    <a:pt x="31597" y="24574"/>
                  </a:cubicBezTo>
                  <a:lnTo>
                    <a:pt x="24840" y="28968"/>
                  </a:lnTo>
                  <a:lnTo>
                    <a:pt x="20129" y="31813"/>
                  </a:lnTo>
                  <a:lnTo>
                    <a:pt x="17487" y="33464"/>
                  </a:lnTo>
                  <a:cubicBezTo>
                    <a:pt x="16497" y="34315"/>
                    <a:pt x="15176" y="34670"/>
                    <a:pt x="13880" y="34454"/>
                  </a:cubicBezTo>
                  <a:cubicBezTo>
                    <a:pt x="13144" y="34213"/>
                    <a:pt x="12534" y="33667"/>
                    <a:pt x="12242" y="32943"/>
                  </a:cubicBezTo>
                  <a:cubicBezTo>
                    <a:pt x="11988" y="32308"/>
                    <a:pt x="11874" y="31622"/>
                    <a:pt x="11899" y="30936"/>
                  </a:cubicBezTo>
                  <a:cubicBezTo>
                    <a:pt x="11975" y="29666"/>
                    <a:pt x="12217" y="28422"/>
                    <a:pt x="12610" y="27215"/>
                  </a:cubicBezTo>
                  <a:cubicBezTo>
                    <a:pt x="13258" y="24828"/>
                    <a:pt x="13880" y="22389"/>
                    <a:pt x="14566" y="19887"/>
                  </a:cubicBezTo>
                  <a:cubicBezTo>
                    <a:pt x="15735" y="14922"/>
                    <a:pt x="17830" y="10032"/>
                    <a:pt x="17068" y="5892"/>
                  </a:cubicBezTo>
                  <a:cubicBezTo>
                    <a:pt x="16700" y="3975"/>
                    <a:pt x="15303" y="2412"/>
                    <a:pt x="13423" y="1828"/>
                  </a:cubicBezTo>
                  <a:cubicBezTo>
                    <a:pt x="11772" y="1282"/>
                    <a:pt x="9982" y="1282"/>
                    <a:pt x="8318" y="1828"/>
                  </a:cubicBezTo>
                  <a:cubicBezTo>
                    <a:pt x="5905" y="2870"/>
                    <a:pt x="3771" y="4457"/>
                    <a:pt x="2070" y="6464"/>
                  </a:cubicBezTo>
                  <a:cubicBezTo>
                    <a:pt x="800" y="7848"/>
                    <a:pt x="88" y="8648"/>
                    <a:pt x="0" y="8559"/>
                  </a:cubicBezTo>
                  <a:cubicBezTo>
                    <a:pt x="444" y="7670"/>
                    <a:pt x="990" y="6845"/>
                    <a:pt x="1650" y="6095"/>
                  </a:cubicBezTo>
                  <a:cubicBezTo>
                    <a:pt x="3251" y="3797"/>
                    <a:pt x="5435" y="1993"/>
                    <a:pt x="7975" y="838"/>
                  </a:cubicBezTo>
                  <a:cubicBezTo>
                    <a:pt x="9829" y="114"/>
                    <a:pt x="11874" y="0"/>
                    <a:pt x="13804" y="520"/>
                  </a:cubicBezTo>
                  <a:cubicBezTo>
                    <a:pt x="16128" y="1193"/>
                    <a:pt x="17906" y="3086"/>
                    <a:pt x="18402" y="5460"/>
                  </a:cubicBezTo>
                  <a:cubicBezTo>
                    <a:pt x="18795" y="7899"/>
                    <a:pt x="18643" y="10401"/>
                    <a:pt x="17944" y="12763"/>
                  </a:cubicBezTo>
                  <a:cubicBezTo>
                    <a:pt x="17322" y="15150"/>
                    <a:pt x="16662" y="17614"/>
                    <a:pt x="15989" y="20141"/>
                  </a:cubicBezTo>
                  <a:cubicBezTo>
                    <a:pt x="15303" y="22669"/>
                    <a:pt x="14655" y="25107"/>
                    <a:pt x="13995" y="27495"/>
                  </a:cubicBezTo>
                  <a:cubicBezTo>
                    <a:pt x="13639" y="28574"/>
                    <a:pt x="13411" y="29692"/>
                    <a:pt x="13322" y="30822"/>
                  </a:cubicBezTo>
                  <a:cubicBezTo>
                    <a:pt x="13322" y="31863"/>
                    <a:pt x="13601" y="32829"/>
                    <a:pt x="14274" y="33006"/>
                  </a:cubicBezTo>
                  <a:cubicBezTo>
                    <a:pt x="14960" y="33172"/>
                    <a:pt x="15900" y="32752"/>
                    <a:pt x="16801" y="32206"/>
                  </a:cubicBezTo>
                  <a:lnTo>
                    <a:pt x="19481" y="30619"/>
                  </a:lnTo>
                  <a:lnTo>
                    <a:pt x="24269" y="27774"/>
                  </a:lnTo>
                  <a:cubicBezTo>
                    <a:pt x="27114" y="26047"/>
                    <a:pt x="29641" y="24688"/>
                    <a:pt x="31317" y="23774"/>
                  </a:cubicBezTo>
                  <a:cubicBezTo>
                    <a:pt x="32156" y="23329"/>
                    <a:pt x="33057" y="22999"/>
                    <a:pt x="33984" y="2278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3" name="Free Form 3308">
              <a:extLst>
                <a:ext uri="{FF2B5EF4-FFF2-40B4-BE49-F238E27FC236}">
                  <a16:creationId xmlns:a16="http://schemas.microsoft.com/office/drawing/2014/main" id="{7F9464A5-06C8-1673-14B5-35ADAE9EEFB7}"/>
                </a:ext>
              </a:extLst>
            </p:cNvPr>
            <p:cNvSpPr/>
            <p:nvPr/>
          </p:nvSpPr>
          <p:spPr>
            <a:xfrm>
              <a:off x="25901407" y="29820689"/>
              <a:ext cx="2426" cy="18986"/>
            </a:xfrm>
            <a:custGeom>
              <a:avLst/>
              <a:gdLst/>
              <a:ahLst/>
              <a:cxnLst/>
              <a:rect l="0" t="0" r="0" b="0"/>
              <a:pathLst>
                <a:path w="2425" h="18986">
                  <a:moveTo>
                    <a:pt x="1904" y="18986"/>
                  </a:moveTo>
                  <a:cubicBezTo>
                    <a:pt x="965" y="15925"/>
                    <a:pt x="507" y="12737"/>
                    <a:pt x="520" y="9537"/>
                  </a:cubicBezTo>
                  <a:cubicBezTo>
                    <a:pt x="0" y="6375"/>
                    <a:pt x="0" y="3149"/>
                    <a:pt x="520" y="0"/>
                  </a:cubicBezTo>
                  <a:cubicBezTo>
                    <a:pt x="1447" y="3060"/>
                    <a:pt x="1930" y="6248"/>
                    <a:pt x="1930" y="9448"/>
                  </a:cubicBezTo>
                  <a:cubicBezTo>
                    <a:pt x="2425" y="12610"/>
                    <a:pt x="2412" y="15824"/>
                    <a:pt x="1904" y="1898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4" name="Free Form 3309">
              <a:extLst>
                <a:ext uri="{FF2B5EF4-FFF2-40B4-BE49-F238E27FC236}">
                  <a16:creationId xmlns:a16="http://schemas.microsoft.com/office/drawing/2014/main" id="{CA3DAF28-2C59-7454-65A3-E6A86F7C803E}"/>
                </a:ext>
              </a:extLst>
            </p:cNvPr>
            <p:cNvSpPr/>
            <p:nvPr/>
          </p:nvSpPr>
          <p:spPr>
            <a:xfrm>
              <a:off x="25897210" y="29829257"/>
              <a:ext cx="14224" cy="2210"/>
            </a:xfrm>
            <a:custGeom>
              <a:avLst/>
              <a:gdLst/>
              <a:ahLst/>
              <a:cxnLst/>
              <a:rect l="0" t="0" r="0" b="0"/>
              <a:pathLst>
                <a:path w="14223" h="2209">
                  <a:moveTo>
                    <a:pt x="14223" y="736"/>
                  </a:moveTo>
                  <a:cubicBezTo>
                    <a:pt x="11963" y="1587"/>
                    <a:pt x="9562" y="1955"/>
                    <a:pt x="7150" y="1841"/>
                  </a:cubicBezTo>
                  <a:cubicBezTo>
                    <a:pt x="4762" y="2209"/>
                    <a:pt x="2324" y="2082"/>
                    <a:pt x="0" y="1447"/>
                  </a:cubicBezTo>
                  <a:cubicBezTo>
                    <a:pt x="2273" y="622"/>
                    <a:pt x="4686" y="253"/>
                    <a:pt x="7099" y="368"/>
                  </a:cubicBezTo>
                  <a:cubicBezTo>
                    <a:pt x="9474" y="0"/>
                    <a:pt x="11899" y="126"/>
                    <a:pt x="14223" y="73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5" name="Free Form 3310">
              <a:extLst>
                <a:ext uri="{FF2B5EF4-FFF2-40B4-BE49-F238E27FC236}">
                  <a16:creationId xmlns:a16="http://schemas.microsoft.com/office/drawing/2014/main" id="{583E76FE-F807-AB9E-06EE-07EB57EDCD8C}"/>
                </a:ext>
              </a:extLst>
            </p:cNvPr>
            <p:cNvSpPr/>
            <p:nvPr/>
          </p:nvSpPr>
          <p:spPr>
            <a:xfrm>
              <a:off x="25809380" y="29787663"/>
              <a:ext cx="57962" cy="79069"/>
            </a:xfrm>
            <a:custGeom>
              <a:avLst/>
              <a:gdLst/>
              <a:ahLst/>
              <a:cxnLst/>
              <a:rect l="0" t="0" r="0" b="0"/>
              <a:pathLst>
                <a:path w="57962" h="79069">
                  <a:moveTo>
                    <a:pt x="57962" y="79069"/>
                  </a:moveTo>
                  <a:lnTo>
                    <a:pt x="56857" y="79069"/>
                  </a:lnTo>
                  <a:cubicBezTo>
                    <a:pt x="55790" y="79018"/>
                    <a:pt x="54723" y="78904"/>
                    <a:pt x="53669" y="78726"/>
                  </a:cubicBezTo>
                  <a:cubicBezTo>
                    <a:pt x="49808" y="78167"/>
                    <a:pt x="45998" y="77227"/>
                    <a:pt x="42315" y="75894"/>
                  </a:cubicBezTo>
                  <a:cubicBezTo>
                    <a:pt x="16916" y="66915"/>
                    <a:pt x="0" y="42811"/>
                    <a:pt x="215" y="15874"/>
                  </a:cubicBezTo>
                  <a:cubicBezTo>
                    <a:pt x="203" y="11937"/>
                    <a:pt x="609" y="8026"/>
                    <a:pt x="1409" y="4178"/>
                  </a:cubicBezTo>
                  <a:cubicBezTo>
                    <a:pt x="1600" y="3124"/>
                    <a:pt x="1854" y="2082"/>
                    <a:pt x="2171" y="1054"/>
                  </a:cubicBezTo>
                  <a:cubicBezTo>
                    <a:pt x="2247" y="685"/>
                    <a:pt x="2362" y="330"/>
                    <a:pt x="2539" y="0"/>
                  </a:cubicBezTo>
                  <a:cubicBezTo>
                    <a:pt x="1714" y="5245"/>
                    <a:pt x="1282" y="10553"/>
                    <a:pt x="1269" y="15874"/>
                  </a:cubicBezTo>
                  <a:cubicBezTo>
                    <a:pt x="1650" y="42150"/>
                    <a:pt x="18046" y="65531"/>
                    <a:pt x="42633" y="74840"/>
                  </a:cubicBezTo>
                  <a:cubicBezTo>
                    <a:pt x="47624" y="76643"/>
                    <a:pt x="52755" y="78066"/>
                    <a:pt x="57962" y="7906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6" name="Free Form 3311">
              <a:extLst>
                <a:ext uri="{FF2B5EF4-FFF2-40B4-BE49-F238E27FC236}">
                  <a16:creationId xmlns:a16="http://schemas.microsoft.com/office/drawing/2014/main" id="{553E5C0E-3509-6359-3586-55F9E606C156}"/>
                </a:ext>
              </a:extLst>
            </p:cNvPr>
            <p:cNvSpPr/>
            <p:nvPr/>
          </p:nvSpPr>
          <p:spPr>
            <a:xfrm>
              <a:off x="25854795" y="29868691"/>
              <a:ext cx="28587" cy="17373"/>
            </a:xfrm>
            <a:custGeom>
              <a:avLst/>
              <a:gdLst/>
              <a:ahLst/>
              <a:cxnLst/>
              <a:rect l="0" t="0" r="0" b="0"/>
              <a:pathLst>
                <a:path w="28587" h="17373">
                  <a:moveTo>
                    <a:pt x="28587" y="0"/>
                  </a:moveTo>
                  <a:cubicBezTo>
                    <a:pt x="28511" y="698"/>
                    <a:pt x="28307" y="1371"/>
                    <a:pt x="27990" y="1981"/>
                  </a:cubicBezTo>
                  <a:cubicBezTo>
                    <a:pt x="27253" y="3708"/>
                    <a:pt x="26301" y="5333"/>
                    <a:pt x="25145" y="6807"/>
                  </a:cubicBezTo>
                  <a:cubicBezTo>
                    <a:pt x="21208" y="11772"/>
                    <a:pt x="15684" y="15239"/>
                    <a:pt x="9512" y="16636"/>
                  </a:cubicBezTo>
                  <a:cubicBezTo>
                    <a:pt x="6972" y="17195"/>
                    <a:pt x="4368" y="17373"/>
                    <a:pt x="1790" y="17182"/>
                  </a:cubicBezTo>
                  <a:lnTo>
                    <a:pt x="0" y="17005"/>
                  </a:lnTo>
                  <a:lnTo>
                    <a:pt x="1422" y="15900"/>
                  </a:lnTo>
                  <a:cubicBezTo>
                    <a:pt x="4813" y="13220"/>
                    <a:pt x="7454" y="9715"/>
                    <a:pt x="9080" y="5702"/>
                  </a:cubicBezTo>
                  <a:cubicBezTo>
                    <a:pt x="10274" y="2870"/>
                    <a:pt x="10528" y="761"/>
                    <a:pt x="10731" y="800"/>
                  </a:cubicBezTo>
                  <a:cubicBezTo>
                    <a:pt x="10871" y="2578"/>
                    <a:pt x="10591" y="4368"/>
                    <a:pt x="9905" y="6019"/>
                  </a:cubicBezTo>
                  <a:cubicBezTo>
                    <a:pt x="8483" y="10337"/>
                    <a:pt x="5841" y="14160"/>
                    <a:pt x="2298" y="17005"/>
                  </a:cubicBezTo>
                  <a:lnTo>
                    <a:pt x="1904" y="15760"/>
                  </a:lnTo>
                  <a:cubicBezTo>
                    <a:pt x="4343" y="15900"/>
                    <a:pt x="6807" y="15709"/>
                    <a:pt x="9194" y="15189"/>
                  </a:cubicBezTo>
                  <a:cubicBezTo>
                    <a:pt x="15074" y="13842"/>
                    <a:pt x="20370" y="10680"/>
                    <a:pt x="24358" y="6159"/>
                  </a:cubicBezTo>
                  <a:cubicBezTo>
                    <a:pt x="25882" y="4190"/>
                    <a:pt x="27292" y="2133"/>
                    <a:pt x="28587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7" name="Free Form 3312">
              <a:extLst>
                <a:ext uri="{FF2B5EF4-FFF2-40B4-BE49-F238E27FC236}">
                  <a16:creationId xmlns:a16="http://schemas.microsoft.com/office/drawing/2014/main" id="{5C4F6DF4-C523-9B12-31AB-9D9CB259D0A1}"/>
                </a:ext>
              </a:extLst>
            </p:cNvPr>
            <p:cNvSpPr/>
            <p:nvPr/>
          </p:nvSpPr>
          <p:spPr>
            <a:xfrm>
              <a:off x="25884939" y="29846862"/>
              <a:ext cx="59740" cy="22974"/>
            </a:xfrm>
            <a:custGeom>
              <a:avLst/>
              <a:gdLst/>
              <a:ahLst/>
              <a:cxnLst/>
              <a:rect l="0" t="0" r="0" b="0"/>
              <a:pathLst>
                <a:path w="59740" h="22974">
                  <a:moveTo>
                    <a:pt x="59740" y="279"/>
                  </a:moveTo>
                  <a:cubicBezTo>
                    <a:pt x="59740" y="279"/>
                    <a:pt x="59206" y="1015"/>
                    <a:pt x="57974" y="2184"/>
                  </a:cubicBezTo>
                  <a:cubicBezTo>
                    <a:pt x="56285" y="3809"/>
                    <a:pt x="54495" y="5321"/>
                    <a:pt x="52615" y="6730"/>
                  </a:cubicBezTo>
                  <a:cubicBezTo>
                    <a:pt x="46405" y="11379"/>
                    <a:pt x="39572" y="15125"/>
                    <a:pt x="32308" y="17856"/>
                  </a:cubicBezTo>
                  <a:cubicBezTo>
                    <a:pt x="25018" y="20573"/>
                    <a:pt x="17373" y="22237"/>
                    <a:pt x="9601" y="22821"/>
                  </a:cubicBezTo>
                  <a:cubicBezTo>
                    <a:pt x="7251" y="22974"/>
                    <a:pt x="4902" y="22974"/>
                    <a:pt x="2565" y="22821"/>
                  </a:cubicBezTo>
                  <a:cubicBezTo>
                    <a:pt x="1701" y="22859"/>
                    <a:pt x="838" y="22770"/>
                    <a:pt x="0" y="22542"/>
                  </a:cubicBezTo>
                  <a:cubicBezTo>
                    <a:pt x="0" y="22288"/>
                    <a:pt x="3670" y="22313"/>
                    <a:pt x="9486" y="21653"/>
                  </a:cubicBezTo>
                  <a:cubicBezTo>
                    <a:pt x="17081" y="20802"/>
                    <a:pt x="24548" y="19011"/>
                    <a:pt x="31711" y="16344"/>
                  </a:cubicBezTo>
                  <a:cubicBezTo>
                    <a:pt x="38861" y="13639"/>
                    <a:pt x="45643" y="10083"/>
                    <a:pt x="51929" y="5765"/>
                  </a:cubicBezTo>
                  <a:cubicBezTo>
                    <a:pt x="56844" y="2527"/>
                    <a:pt x="59511" y="0"/>
                    <a:pt x="59740" y="27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8" name="Free Form 3313">
              <a:extLst>
                <a:ext uri="{FF2B5EF4-FFF2-40B4-BE49-F238E27FC236}">
                  <a16:creationId xmlns:a16="http://schemas.microsoft.com/office/drawing/2014/main" id="{63D825A4-B4EA-5D53-B8A1-74F0C3A314AD}"/>
                </a:ext>
              </a:extLst>
            </p:cNvPr>
            <p:cNvSpPr/>
            <p:nvPr/>
          </p:nvSpPr>
          <p:spPr>
            <a:xfrm>
              <a:off x="25563708" y="30034551"/>
              <a:ext cx="344687" cy="1219"/>
            </a:xfrm>
            <a:custGeom>
              <a:avLst/>
              <a:gdLst/>
              <a:ahLst/>
              <a:cxnLst/>
              <a:rect l="0" t="0" r="0" b="0"/>
              <a:pathLst>
                <a:path w="344687" h="1219">
                  <a:moveTo>
                    <a:pt x="344687" y="622"/>
                  </a:moveTo>
                  <a:cubicBezTo>
                    <a:pt x="344687" y="939"/>
                    <a:pt x="267522" y="1219"/>
                    <a:pt x="172362" y="1219"/>
                  </a:cubicBezTo>
                  <a:cubicBezTo>
                    <a:pt x="77189" y="1219"/>
                    <a:pt x="0" y="939"/>
                    <a:pt x="0" y="622"/>
                  </a:cubicBezTo>
                  <a:cubicBezTo>
                    <a:pt x="0" y="304"/>
                    <a:pt x="77164" y="0"/>
                    <a:pt x="172362" y="0"/>
                  </a:cubicBezTo>
                  <a:cubicBezTo>
                    <a:pt x="267548" y="0"/>
                    <a:pt x="344687" y="279"/>
                    <a:pt x="344687" y="622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9" name="Free Form 3314">
              <a:extLst>
                <a:ext uri="{FF2B5EF4-FFF2-40B4-BE49-F238E27FC236}">
                  <a16:creationId xmlns:a16="http://schemas.microsoft.com/office/drawing/2014/main" id="{F00DB5B2-C5F5-ED10-49A5-DFEB1A163FB2}"/>
                </a:ext>
              </a:extLst>
            </p:cNvPr>
            <p:cNvSpPr/>
            <p:nvPr/>
          </p:nvSpPr>
          <p:spPr>
            <a:xfrm>
              <a:off x="25598884" y="29906476"/>
              <a:ext cx="258124" cy="128447"/>
            </a:xfrm>
            <a:custGeom>
              <a:avLst/>
              <a:gdLst/>
              <a:ahLst/>
              <a:cxnLst/>
              <a:rect l="0" t="0" r="0" b="0"/>
              <a:pathLst>
                <a:path w="258124" h="128446">
                  <a:moveTo>
                    <a:pt x="258010" y="127760"/>
                  </a:moveTo>
                  <a:cubicBezTo>
                    <a:pt x="257858" y="127455"/>
                    <a:pt x="257756" y="127125"/>
                    <a:pt x="257692" y="126795"/>
                  </a:cubicBezTo>
                  <a:lnTo>
                    <a:pt x="256880" y="123950"/>
                  </a:lnTo>
                  <a:cubicBezTo>
                    <a:pt x="256168" y="121398"/>
                    <a:pt x="255089" y="117651"/>
                    <a:pt x="253578" y="112889"/>
                  </a:cubicBezTo>
                  <a:cubicBezTo>
                    <a:pt x="249285" y="99338"/>
                    <a:pt x="243659" y="86257"/>
                    <a:pt x="236776" y="73824"/>
                  </a:cubicBezTo>
                  <a:cubicBezTo>
                    <a:pt x="226654" y="55384"/>
                    <a:pt x="212875" y="39191"/>
                    <a:pt x="196289" y="26263"/>
                  </a:cubicBezTo>
                  <a:cubicBezTo>
                    <a:pt x="186484" y="18694"/>
                    <a:pt x="175639" y="12598"/>
                    <a:pt x="164069" y="8178"/>
                  </a:cubicBezTo>
                  <a:cubicBezTo>
                    <a:pt x="151649" y="3441"/>
                    <a:pt x="138466" y="1003"/>
                    <a:pt x="125169" y="990"/>
                  </a:cubicBezTo>
                  <a:cubicBezTo>
                    <a:pt x="99325" y="1041"/>
                    <a:pt x="74154" y="9283"/>
                    <a:pt x="53288" y="24536"/>
                  </a:cubicBezTo>
                  <a:cubicBezTo>
                    <a:pt x="44233" y="31140"/>
                    <a:pt x="36156" y="38975"/>
                    <a:pt x="29273" y="47814"/>
                  </a:cubicBezTo>
                  <a:cubicBezTo>
                    <a:pt x="23240" y="55498"/>
                    <a:pt x="18059" y="63829"/>
                    <a:pt x="13817" y="72630"/>
                  </a:cubicBezTo>
                  <a:cubicBezTo>
                    <a:pt x="7696" y="85406"/>
                    <a:pt x="3543" y="99033"/>
                    <a:pt x="1473" y="113054"/>
                  </a:cubicBezTo>
                  <a:cubicBezTo>
                    <a:pt x="761" y="118019"/>
                    <a:pt x="368" y="121905"/>
                    <a:pt x="228" y="124407"/>
                  </a:cubicBezTo>
                  <a:cubicBezTo>
                    <a:pt x="228" y="125690"/>
                    <a:pt x="50" y="126681"/>
                    <a:pt x="0" y="127417"/>
                  </a:cubicBezTo>
                  <a:cubicBezTo>
                    <a:pt x="25" y="127760"/>
                    <a:pt x="25" y="128103"/>
                    <a:pt x="0" y="128446"/>
                  </a:cubicBezTo>
                  <a:lnTo>
                    <a:pt x="0" y="127760"/>
                  </a:lnTo>
                  <a:lnTo>
                    <a:pt x="0" y="124750"/>
                  </a:lnTo>
                  <a:cubicBezTo>
                    <a:pt x="126" y="120890"/>
                    <a:pt x="457" y="117041"/>
                    <a:pt x="990" y="113219"/>
                  </a:cubicBezTo>
                  <a:cubicBezTo>
                    <a:pt x="2908" y="99109"/>
                    <a:pt x="6984" y="85368"/>
                    <a:pt x="13055" y="72478"/>
                  </a:cubicBezTo>
                  <a:cubicBezTo>
                    <a:pt x="17259" y="63600"/>
                    <a:pt x="22427" y="55193"/>
                    <a:pt x="28473" y="47446"/>
                  </a:cubicBezTo>
                  <a:cubicBezTo>
                    <a:pt x="35381" y="38493"/>
                    <a:pt x="43509" y="30543"/>
                    <a:pt x="52628" y="23850"/>
                  </a:cubicBezTo>
                  <a:cubicBezTo>
                    <a:pt x="73659" y="8394"/>
                    <a:pt x="99071" y="38"/>
                    <a:pt x="125169" y="0"/>
                  </a:cubicBezTo>
                  <a:cubicBezTo>
                    <a:pt x="138606" y="0"/>
                    <a:pt x="151941" y="2463"/>
                    <a:pt x="164488" y="7264"/>
                  </a:cubicBezTo>
                  <a:cubicBezTo>
                    <a:pt x="176159" y="11734"/>
                    <a:pt x="187107" y="17894"/>
                    <a:pt x="196974" y="25552"/>
                  </a:cubicBezTo>
                  <a:cubicBezTo>
                    <a:pt x="213700" y="38569"/>
                    <a:pt x="227556" y="54914"/>
                    <a:pt x="237677" y="73532"/>
                  </a:cubicBezTo>
                  <a:cubicBezTo>
                    <a:pt x="244510" y="86003"/>
                    <a:pt x="250022" y="99135"/>
                    <a:pt x="254149" y="112736"/>
                  </a:cubicBezTo>
                  <a:cubicBezTo>
                    <a:pt x="255622" y="117537"/>
                    <a:pt x="256626" y="121258"/>
                    <a:pt x="257248" y="123899"/>
                  </a:cubicBezTo>
                  <a:cubicBezTo>
                    <a:pt x="257553" y="125144"/>
                    <a:pt x="257781" y="126109"/>
                    <a:pt x="257946" y="126744"/>
                  </a:cubicBezTo>
                  <a:cubicBezTo>
                    <a:pt x="258124" y="127366"/>
                    <a:pt x="258010" y="127760"/>
                    <a:pt x="258010" y="12776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0" name="Free Form 3315">
              <a:extLst>
                <a:ext uri="{FF2B5EF4-FFF2-40B4-BE49-F238E27FC236}">
                  <a16:creationId xmlns:a16="http://schemas.microsoft.com/office/drawing/2014/main" id="{C08880AE-CCE8-DC57-965D-008D4F1BEFE6}"/>
                </a:ext>
              </a:extLst>
            </p:cNvPr>
            <p:cNvSpPr/>
            <p:nvPr/>
          </p:nvSpPr>
          <p:spPr>
            <a:xfrm>
              <a:off x="25598482" y="30030342"/>
              <a:ext cx="4115" cy="5004"/>
            </a:xfrm>
            <a:custGeom>
              <a:avLst/>
              <a:gdLst/>
              <a:ahLst/>
              <a:cxnLst/>
              <a:rect l="0" t="0" r="0" b="0"/>
              <a:pathLst>
                <a:path w="4114" h="5003">
                  <a:moveTo>
                    <a:pt x="3860" y="203"/>
                  </a:moveTo>
                  <a:cubicBezTo>
                    <a:pt x="4114" y="431"/>
                    <a:pt x="3543" y="1625"/>
                    <a:pt x="2552" y="2870"/>
                  </a:cubicBezTo>
                  <a:cubicBezTo>
                    <a:pt x="1562" y="4114"/>
                    <a:pt x="571" y="5003"/>
                    <a:pt x="279" y="4800"/>
                  </a:cubicBezTo>
                  <a:cubicBezTo>
                    <a:pt x="0" y="4610"/>
                    <a:pt x="596" y="3416"/>
                    <a:pt x="1587" y="2133"/>
                  </a:cubicBezTo>
                  <a:cubicBezTo>
                    <a:pt x="2578" y="850"/>
                    <a:pt x="3606" y="0"/>
                    <a:pt x="3860" y="20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1" name="Free Form 3316">
              <a:extLst>
                <a:ext uri="{FF2B5EF4-FFF2-40B4-BE49-F238E27FC236}">
                  <a16:creationId xmlns:a16="http://schemas.microsoft.com/office/drawing/2014/main" id="{45593078-ECE7-B43C-BEC5-6F89AA28C2C0}"/>
                </a:ext>
              </a:extLst>
            </p:cNvPr>
            <p:cNvSpPr/>
            <p:nvPr/>
          </p:nvSpPr>
          <p:spPr>
            <a:xfrm>
              <a:off x="25609953" y="30013541"/>
              <a:ext cx="9118" cy="8484"/>
            </a:xfrm>
            <a:custGeom>
              <a:avLst/>
              <a:gdLst/>
              <a:ahLst/>
              <a:cxnLst/>
              <a:rect l="0" t="0" r="0" b="0"/>
              <a:pathLst>
                <a:path w="9118" h="8483">
                  <a:moveTo>
                    <a:pt x="8915" y="253"/>
                  </a:moveTo>
                  <a:cubicBezTo>
                    <a:pt x="9118" y="507"/>
                    <a:pt x="7378" y="2501"/>
                    <a:pt x="4991" y="4686"/>
                  </a:cubicBezTo>
                  <a:cubicBezTo>
                    <a:pt x="2616" y="6870"/>
                    <a:pt x="507" y="8483"/>
                    <a:pt x="253" y="8254"/>
                  </a:cubicBezTo>
                  <a:cubicBezTo>
                    <a:pt x="0" y="8039"/>
                    <a:pt x="1790" y="6019"/>
                    <a:pt x="4178" y="3797"/>
                  </a:cubicBezTo>
                  <a:cubicBezTo>
                    <a:pt x="6553" y="1587"/>
                    <a:pt x="8686" y="0"/>
                    <a:pt x="8915" y="25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2" name="Free Form 3317">
              <a:extLst>
                <a:ext uri="{FF2B5EF4-FFF2-40B4-BE49-F238E27FC236}">
                  <a16:creationId xmlns:a16="http://schemas.microsoft.com/office/drawing/2014/main" id="{FC563C03-C328-2E9C-819B-37D679ADEEE0}"/>
                </a:ext>
              </a:extLst>
            </p:cNvPr>
            <p:cNvSpPr/>
            <p:nvPr/>
          </p:nvSpPr>
          <p:spPr>
            <a:xfrm>
              <a:off x="25628006" y="30000480"/>
              <a:ext cx="10388" cy="6159"/>
            </a:xfrm>
            <a:custGeom>
              <a:avLst/>
              <a:gdLst/>
              <a:ahLst/>
              <a:cxnLst/>
              <a:rect l="0" t="0" r="0" b="0"/>
              <a:pathLst>
                <a:path w="10388" h="6159">
                  <a:moveTo>
                    <a:pt x="10223" y="0"/>
                  </a:moveTo>
                  <a:cubicBezTo>
                    <a:pt x="10388" y="279"/>
                    <a:pt x="8204" y="1765"/>
                    <a:pt x="5460" y="3467"/>
                  </a:cubicBezTo>
                  <a:cubicBezTo>
                    <a:pt x="3873" y="4660"/>
                    <a:pt x="2095" y="5575"/>
                    <a:pt x="203" y="6159"/>
                  </a:cubicBezTo>
                  <a:cubicBezTo>
                    <a:pt x="0" y="5880"/>
                    <a:pt x="2019" y="4140"/>
                    <a:pt x="4825" y="2412"/>
                  </a:cubicBezTo>
                  <a:cubicBezTo>
                    <a:pt x="6413" y="1206"/>
                    <a:pt x="8267" y="380"/>
                    <a:pt x="10223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3" name="Free Form 3318">
              <a:extLst>
                <a:ext uri="{FF2B5EF4-FFF2-40B4-BE49-F238E27FC236}">
                  <a16:creationId xmlns:a16="http://schemas.microsoft.com/office/drawing/2014/main" id="{14BC7979-FC95-092E-CB3C-43049E33C302}"/>
                </a:ext>
              </a:extLst>
            </p:cNvPr>
            <p:cNvSpPr/>
            <p:nvPr/>
          </p:nvSpPr>
          <p:spPr>
            <a:xfrm>
              <a:off x="25649020" y="29991910"/>
              <a:ext cx="11100" cy="3632"/>
            </a:xfrm>
            <a:custGeom>
              <a:avLst/>
              <a:gdLst/>
              <a:ahLst/>
              <a:cxnLst/>
              <a:rect l="0" t="0" r="0" b="0"/>
              <a:pathLst>
                <a:path w="11099" h="3632">
                  <a:moveTo>
                    <a:pt x="11099" y="25"/>
                  </a:moveTo>
                  <a:cubicBezTo>
                    <a:pt x="9461" y="1142"/>
                    <a:pt x="7619" y="1930"/>
                    <a:pt x="5676" y="2324"/>
                  </a:cubicBezTo>
                  <a:cubicBezTo>
                    <a:pt x="3873" y="3086"/>
                    <a:pt x="1955" y="3530"/>
                    <a:pt x="0" y="3632"/>
                  </a:cubicBezTo>
                  <a:cubicBezTo>
                    <a:pt x="1587" y="2425"/>
                    <a:pt x="3428" y="1574"/>
                    <a:pt x="5397" y="1155"/>
                  </a:cubicBezTo>
                  <a:cubicBezTo>
                    <a:pt x="7200" y="393"/>
                    <a:pt x="9143" y="0"/>
                    <a:pt x="11099" y="2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4" name="Free Form 3319">
              <a:extLst>
                <a:ext uri="{FF2B5EF4-FFF2-40B4-BE49-F238E27FC236}">
                  <a16:creationId xmlns:a16="http://schemas.microsoft.com/office/drawing/2014/main" id="{92156FC4-57BA-AA06-3611-F88B58AE0C3D}"/>
                </a:ext>
              </a:extLst>
            </p:cNvPr>
            <p:cNvSpPr/>
            <p:nvPr/>
          </p:nvSpPr>
          <p:spPr>
            <a:xfrm>
              <a:off x="25671537" y="29986484"/>
              <a:ext cx="11493" cy="2439"/>
            </a:xfrm>
            <a:custGeom>
              <a:avLst/>
              <a:gdLst/>
              <a:ahLst/>
              <a:cxnLst/>
              <a:rect l="0" t="0" r="0" b="0"/>
              <a:pathLst>
                <a:path w="11493" h="2438">
                  <a:moveTo>
                    <a:pt x="11493" y="0"/>
                  </a:moveTo>
                  <a:cubicBezTo>
                    <a:pt x="7873" y="1600"/>
                    <a:pt x="3949" y="2438"/>
                    <a:pt x="0" y="2438"/>
                  </a:cubicBezTo>
                  <a:cubicBezTo>
                    <a:pt x="3619" y="838"/>
                    <a:pt x="7531" y="12"/>
                    <a:pt x="11493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5" name="Free Form 3320">
              <a:extLst>
                <a:ext uri="{FF2B5EF4-FFF2-40B4-BE49-F238E27FC236}">
                  <a16:creationId xmlns:a16="http://schemas.microsoft.com/office/drawing/2014/main" id="{48833366-9144-5829-8923-51B8A9E23A47}"/>
                </a:ext>
              </a:extLst>
            </p:cNvPr>
            <p:cNvSpPr/>
            <p:nvPr/>
          </p:nvSpPr>
          <p:spPr>
            <a:xfrm>
              <a:off x="25694785" y="29983008"/>
              <a:ext cx="11583" cy="2007"/>
            </a:xfrm>
            <a:custGeom>
              <a:avLst/>
              <a:gdLst/>
              <a:ahLst/>
              <a:cxnLst/>
              <a:rect l="0" t="0" r="0" b="0"/>
              <a:pathLst>
                <a:path w="11582" h="2006">
                  <a:moveTo>
                    <a:pt x="11582" y="380"/>
                  </a:moveTo>
                  <a:cubicBezTo>
                    <a:pt x="9791" y="1168"/>
                    <a:pt x="7861" y="1574"/>
                    <a:pt x="5905" y="1600"/>
                  </a:cubicBezTo>
                  <a:cubicBezTo>
                    <a:pt x="3962" y="2006"/>
                    <a:pt x="1943" y="2006"/>
                    <a:pt x="0" y="1600"/>
                  </a:cubicBezTo>
                  <a:cubicBezTo>
                    <a:pt x="1790" y="812"/>
                    <a:pt x="3721" y="406"/>
                    <a:pt x="5676" y="380"/>
                  </a:cubicBezTo>
                  <a:cubicBezTo>
                    <a:pt x="7632" y="0"/>
                    <a:pt x="9626" y="0"/>
                    <a:pt x="11582" y="38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6" name="Free Form 3321">
              <a:extLst>
                <a:ext uri="{FF2B5EF4-FFF2-40B4-BE49-F238E27FC236}">
                  <a16:creationId xmlns:a16="http://schemas.microsoft.com/office/drawing/2014/main" id="{8172CB6B-CABB-3362-58A5-B5B720692949}"/>
                </a:ext>
              </a:extLst>
            </p:cNvPr>
            <p:cNvSpPr/>
            <p:nvPr/>
          </p:nvSpPr>
          <p:spPr>
            <a:xfrm>
              <a:off x="25718146" y="29982105"/>
              <a:ext cx="11785" cy="1728"/>
            </a:xfrm>
            <a:custGeom>
              <a:avLst/>
              <a:gdLst/>
              <a:ahLst/>
              <a:cxnLst/>
              <a:rect l="0" t="0" r="0" b="0"/>
              <a:pathLst>
                <a:path w="11785" h="1727">
                  <a:moveTo>
                    <a:pt x="11785" y="1028"/>
                  </a:moveTo>
                  <a:cubicBezTo>
                    <a:pt x="9867" y="1574"/>
                    <a:pt x="7861" y="1727"/>
                    <a:pt x="5880" y="1485"/>
                  </a:cubicBezTo>
                  <a:cubicBezTo>
                    <a:pt x="3898" y="1612"/>
                    <a:pt x="1892" y="1358"/>
                    <a:pt x="0" y="749"/>
                  </a:cubicBezTo>
                  <a:cubicBezTo>
                    <a:pt x="1917" y="165"/>
                    <a:pt x="3924" y="0"/>
                    <a:pt x="5905" y="266"/>
                  </a:cubicBezTo>
                  <a:cubicBezTo>
                    <a:pt x="7899" y="126"/>
                    <a:pt x="9893" y="393"/>
                    <a:pt x="11785" y="102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7" name="Free Form 3322">
              <a:extLst>
                <a:ext uri="{FF2B5EF4-FFF2-40B4-BE49-F238E27FC236}">
                  <a16:creationId xmlns:a16="http://schemas.microsoft.com/office/drawing/2014/main" id="{9E073F43-2250-83A4-D222-15CFDFB4CB1D}"/>
                </a:ext>
              </a:extLst>
            </p:cNvPr>
            <p:cNvSpPr/>
            <p:nvPr/>
          </p:nvSpPr>
          <p:spPr>
            <a:xfrm>
              <a:off x="25741689" y="29983532"/>
              <a:ext cx="11722" cy="1955"/>
            </a:xfrm>
            <a:custGeom>
              <a:avLst/>
              <a:gdLst/>
              <a:ahLst/>
              <a:cxnLst/>
              <a:rect l="0" t="0" r="0" b="0"/>
              <a:pathLst>
                <a:path w="11721" h="1955">
                  <a:moveTo>
                    <a:pt x="11721" y="1562"/>
                  </a:moveTo>
                  <a:cubicBezTo>
                    <a:pt x="7772" y="1955"/>
                    <a:pt x="3784" y="1562"/>
                    <a:pt x="0" y="393"/>
                  </a:cubicBezTo>
                  <a:cubicBezTo>
                    <a:pt x="1943" y="0"/>
                    <a:pt x="3949" y="0"/>
                    <a:pt x="5905" y="393"/>
                  </a:cubicBezTo>
                  <a:cubicBezTo>
                    <a:pt x="7899" y="380"/>
                    <a:pt x="9880" y="774"/>
                    <a:pt x="11721" y="1562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8" name="Free Form 3323">
              <a:extLst>
                <a:ext uri="{FF2B5EF4-FFF2-40B4-BE49-F238E27FC236}">
                  <a16:creationId xmlns:a16="http://schemas.microsoft.com/office/drawing/2014/main" id="{3CB8AE73-6D75-3899-394C-1FCFB1657C5B}"/>
                </a:ext>
              </a:extLst>
            </p:cNvPr>
            <p:cNvSpPr/>
            <p:nvPr/>
          </p:nvSpPr>
          <p:spPr>
            <a:xfrm>
              <a:off x="25765023" y="29986562"/>
              <a:ext cx="11583" cy="2679"/>
            </a:xfrm>
            <a:custGeom>
              <a:avLst/>
              <a:gdLst/>
              <a:ahLst/>
              <a:cxnLst/>
              <a:rect l="0" t="0" r="0" b="0"/>
              <a:pathLst>
                <a:path w="11582" h="2679">
                  <a:moveTo>
                    <a:pt x="11582" y="2476"/>
                  </a:moveTo>
                  <a:cubicBezTo>
                    <a:pt x="9601" y="2679"/>
                    <a:pt x="7594" y="2501"/>
                    <a:pt x="5676" y="1943"/>
                  </a:cubicBezTo>
                  <a:cubicBezTo>
                    <a:pt x="3682" y="1752"/>
                    <a:pt x="1752" y="1168"/>
                    <a:pt x="0" y="203"/>
                  </a:cubicBezTo>
                  <a:cubicBezTo>
                    <a:pt x="1968" y="0"/>
                    <a:pt x="3975" y="177"/>
                    <a:pt x="5880" y="749"/>
                  </a:cubicBezTo>
                  <a:cubicBezTo>
                    <a:pt x="7873" y="927"/>
                    <a:pt x="9816" y="1511"/>
                    <a:pt x="11582" y="247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9" name="Free Form 3324">
              <a:extLst>
                <a:ext uri="{FF2B5EF4-FFF2-40B4-BE49-F238E27FC236}">
                  <a16:creationId xmlns:a16="http://schemas.microsoft.com/office/drawing/2014/main" id="{D67919A0-C3DC-DEE3-36BF-9AED5B95BCED}"/>
                </a:ext>
              </a:extLst>
            </p:cNvPr>
            <p:cNvSpPr/>
            <p:nvPr/>
          </p:nvSpPr>
          <p:spPr>
            <a:xfrm>
              <a:off x="25788042" y="29991773"/>
              <a:ext cx="11277" cy="3479"/>
            </a:xfrm>
            <a:custGeom>
              <a:avLst/>
              <a:gdLst/>
              <a:ahLst/>
              <a:cxnLst/>
              <a:rect l="0" t="0" r="0" b="0"/>
              <a:pathLst>
                <a:path w="11277" h="3479">
                  <a:moveTo>
                    <a:pt x="11277" y="3454"/>
                  </a:moveTo>
                  <a:cubicBezTo>
                    <a:pt x="9270" y="3479"/>
                    <a:pt x="7289" y="3086"/>
                    <a:pt x="5460" y="2285"/>
                  </a:cubicBezTo>
                  <a:cubicBezTo>
                    <a:pt x="3517" y="1879"/>
                    <a:pt x="1676" y="1117"/>
                    <a:pt x="0" y="50"/>
                  </a:cubicBezTo>
                  <a:cubicBezTo>
                    <a:pt x="1955" y="0"/>
                    <a:pt x="3886" y="355"/>
                    <a:pt x="5689" y="1130"/>
                  </a:cubicBezTo>
                  <a:cubicBezTo>
                    <a:pt x="7683" y="1523"/>
                    <a:pt x="9588" y="2311"/>
                    <a:pt x="11277" y="345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0" name="Free Form 3325">
              <a:extLst>
                <a:ext uri="{FF2B5EF4-FFF2-40B4-BE49-F238E27FC236}">
                  <a16:creationId xmlns:a16="http://schemas.microsoft.com/office/drawing/2014/main" id="{B0483702-79C1-E015-025B-63508A56B144}"/>
                </a:ext>
              </a:extLst>
            </p:cNvPr>
            <p:cNvSpPr/>
            <p:nvPr/>
          </p:nvSpPr>
          <p:spPr>
            <a:xfrm>
              <a:off x="25810164" y="29999519"/>
              <a:ext cx="10731" cy="5106"/>
            </a:xfrm>
            <a:custGeom>
              <a:avLst/>
              <a:gdLst/>
              <a:ahLst/>
              <a:cxnLst/>
              <a:rect l="0" t="0" r="0" b="0"/>
              <a:pathLst>
                <a:path w="10731" h="5105">
                  <a:moveTo>
                    <a:pt x="10731" y="5105"/>
                  </a:moveTo>
                  <a:cubicBezTo>
                    <a:pt x="8712" y="4851"/>
                    <a:pt x="6781" y="4165"/>
                    <a:pt x="5054" y="3086"/>
                  </a:cubicBezTo>
                  <a:cubicBezTo>
                    <a:pt x="3174" y="2412"/>
                    <a:pt x="1460" y="1358"/>
                    <a:pt x="0" y="0"/>
                  </a:cubicBezTo>
                  <a:cubicBezTo>
                    <a:pt x="2006" y="266"/>
                    <a:pt x="3949" y="952"/>
                    <a:pt x="5676" y="2006"/>
                  </a:cubicBezTo>
                  <a:cubicBezTo>
                    <a:pt x="7543" y="2705"/>
                    <a:pt x="9270" y="3759"/>
                    <a:pt x="10731" y="510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1" name="Free Form 3326">
              <a:extLst>
                <a:ext uri="{FF2B5EF4-FFF2-40B4-BE49-F238E27FC236}">
                  <a16:creationId xmlns:a16="http://schemas.microsoft.com/office/drawing/2014/main" id="{615E06F4-B748-D678-A155-2D93A3F9D818}"/>
                </a:ext>
              </a:extLst>
            </p:cNvPr>
            <p:cNvSpPr/>
            <p:nvPr/>
          </p:nvSpPr>
          <p:spPr>
            <a:xfrm>
              <a:off x="25830863" y="30010642"/>
              <a:ext cx="9995" cy="6731"/>
            </a:xfrm>
            <a:custGeom>
              <a:avLst/>
              <a:gdLst/>
              <a:ahLst/>
              <a:cxnLst/>
              <a:rect l="0" t="0" r="0" b="0"/>
              <a:pathLst>
                <a:path w="9994" h="6730">
                  <a:moveTo>
                    <a:pt x="9791" y="6730"/>
                  </a:moveTo>
                  <a:cubicBezTo>
                    <a:pt x="7899" y="6146"/>
                    <a:pt x="6134" y="5181"/>
                    <a:pt x="4622" y="3886"/>
                  </a:cubicBezTo>
                  <a:cubicBezTo>
                    <a:pt x="1981" y="2044"/>
                    <a:pt x="0" y="292"/>
                    <a:pt x="165" y="0"/>
                  </a:cubicBezTo>
                  <a:cubicBezTo>
                    <a:pt x="2057" y="584"/>
                    <a:pt x="3822" y="1549"/>
                    <a:pt x="5333" y="2844"/>
                  </a:cubicBezTo>
                  <a:cubicBezTo>
                    <a:pt x="8000" y="4749"/>
                    <a:pt x="9994" y="6565"/>
                    <a:pt x="9791" y="673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2" name="Free Form 3327">
              <a:extLst>
                <a:ext uri="{FF2B5EF4-FFF2-40B4-BE49-F238E27FC236}">
                  <a16:creationId xmlns:a16="http://schemas.microsoft.com/office/drawing/2014/main" id="{72563EFE-B320-6C11-3333-D523B98A0E02}"/>
                </a:ext>
              </a:extLst>
            </p:cNvPr>
            <p:cNvSpPr/>
            <p:nvPr/>
          </p:nvSpPr>
          <p:spPr>
            <a:xfrm>
              <a:off x="25849434" y="30024752"/>
              <a:ext cx="4623" cy="4571"/>
            </a:xfrm>
            <a:custGeom>
              <a:avLst/>
              <a:gdLst/>
              <a:ahLst/>
              <a:cxnLst/>
              <a:rect l="0" t="0" r="0" b="0"/>
              <a:pathLst>
                <a:path w="4622" h="4571">
                  <a:moveTo>
                    <a:pt x="4394" y="4317"/>
                  </a:moveTo>
                  <a:cubicBezTo>
                    <a:pt x="4140" y="4571"/>
                    <a:pt x="3035" y="3835"/>
                    <a:pt x="1866" y="2730"/>
                  </a:cubicBezTo>
                  <a:cubicBezTo>
                    <a:pt x="698" y="1625"/>
                    <a:pt x="0" y="507"/>
                    <a:pt x="215" y="253"/>
                  </a:cubicBezTo>
                  <a:cubicBezTo>
                    <a:pt x="444" y="0"/>
                    <a:pt x="1549" y="736"/>
                    <a:pt x="2717" y="1854"/>
                  </a:cubicBezTo>
                  <a:cubicBezTo>
                    <a:pt x="3886" y="2959"/>
                    <a:pt x="4622" y="4089"/>
                    <a:pt x="4394" y="4317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3" name="Free Form 3328">
              <a:extLst>
                <a:ext uri="{FF2B5EF4-FFF2-40B4-BE49-F238E27FC236}">
                  <a16:creationId xmlns:a16="http://schemas.microsoft.com/office/drawing/2014/main" id="{2B268740-8DF4-1AEC-085B-DBFE67513D43}"/>
                </a:ext>
              </a:extLst>
            </p:cNvPr>
            <p:cNvSpPr/>
            <p:nvPr/>
          </p:nvSpPr>
          <p:spPr>
            <a:xfrm>
              <a:off x="25598876" y="30035037"/>
              <a:ext cx="7328" cy="9677"/>
            </a:xfrm>
            <a:custGeom>
              <a:avLst/>
              <a:gdLst/>
              <a:ahLst/>
              <a:cxnLst/>
              <a:rect l="0" t="0" r="0" b="0"/>
              <a:pathLst>
                <a:path w="7327" h="9677">
                  <a:moveTo>
                    <a:pt x="7073" y="9448"/>
                  </a:moveTo>
                  <a:cubicBezTo>
                    <a:pt x="6845" y="9677"/>
                    <a:pt x="4800" y="7975"/>
                    <a:pt x="2844" y="5384"/>
                  </a:cubicBezTo>
                  <a:cubicBezTo>
                    <a:pt x="1447" y="3936"/>
                    <a:pt x="457" y="2133"/>
                    <a:pt x="0" y="165"/>
                  </a:cubicBezTo>
                  <a:cubicBezTo>
                    <a:pt x="292" y="0"/>
                    <a:pt x="1765" y="2120"/>
                    <a:pt x="3721" y="4648"/>
                  </a:cubicBezTo>
                  <a:cubicBezTo>
                    <a:pt x="5689" y="7175"/>
                    <a:pt x="7327" y="9194"/>
                    <a:pt x="7073" y="944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4" name="Free Form 3329">
              <a:extLst>
                <a:ext uri="{FF2B5EF4-FFF2-40B4-BE49-F238E27FC236}">
                  <a16:creationId xmlns:a16="http://schemas.microsoft.com/office/drawing/2014/main" id="{2172C4A5-AE1E-22B1-A2AD-3601EA102DDC}"/>
                </a:ext>
              </a:extLst>
            </p:cNvPr>
            <p:cNvSpPr/>
            <p:nvPr/>
          </p:nvSpPr>
          <p:spPr>
            <a:xfrm>
              <a:off x="25614328" y="30052405"/>
              <a:ext cx="9842" cy="6731"/>
            </a:xfrm>
            <a:custGeom>
              <a:avLst/>
              <a:gdLst/>
              <a:ahLst/>
              <a:cxnLst/>
              <a:rect l="0" t="0" r="0" b="0"/>
              <a:pathLst>
                <a:path w="9842" h="6730">
                  <a:moveTo>
                    <a:pt x="9677" y="6730"/>
                  </a:moveTo>
                  <a:cubicBezTo>
                    <a:pt x="7810" y="6146"/>
                    <a:pt x="6070" y="5181"/>
                    <a:pt x="4597" y="3886"/>
                  </a:cubicBezTo>
                  <a:cubicBezTo>
                    <a:pt x="1955" y="1993"/>
                    <a:pt x="0" y="253"/>
                    <a:pt x="228" y="0"/>
                  </a:cubicBezTo>
                  <a:cubicBezTo>
                    <a:pt x="2095" y="596"/>
                    <a:pt x="3822" y="1562"/>
                    <a:pt x="5308" y="2844"/>
                  </a:cubicBezTo>
                  <a:cubicBezTo>
                    <a:pt x="7886" y="4711"/>
                    <a:pt x="9842" y="6451"/>
                    <a:pt x="9677" y="673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5" name="Free Form 3330">
              <a:extLst>
                <a:ext uri="{FF2B5EF4-FFF2-40B4-BE49-F238E27FC236}">
                  <a16:creationId xmlns:a16="http://schemas.microsoft.com/office/drawing/2014/main" id="{6A098132-ACBA-AEC1-FA16-F1FDD6F7CF2D}"/>
                </a:ext>
              </a:extLst>
            </p:cNvPr>
            <p:cNvSpPr/>
            <p:nvPr/>
          </p:nvSpPr>
          <p:spPr>
            <a:xfrm>
              <a:off x="25634059" y="30065006"/>
              <a:ext cx="10502" cy="5004"/>
            </a:xfrm>
            <a:custGeom>
              <a:avLst/>
              <a:gdLst/>
              <a:ahLst/>
              <a:cxnLst/>
              <a:rect l="0" t="0" r="0" b="0"/>
              <a:pathLst>
                <a:path w="10502" h="5003">
                  <a:moveTo>
                    <a:pt x="10502" y="5003"/>
                  </a:moveTo>
                  <a:cubicBezTo>
                    <a:pt x="6692" y="4076"/>
                    <a:pt x="3124" y="2374"/>
                    <a:pt x="0" y="0"/>
                  </a:cubicBezTo>
                  <a:cubicBezTo>
                    <a:pt x="1943" y="279"/>
                    <a:pt x="3822" y="952"/>
                    <a:pt x="5511" y="1968"/>
                  </a:cubicBezTo>
                  <a:cubicBezTo>
                    <a:pt x="7365" y="2616"/>
                    <a:pt x="9067" y="3657"/>
                    <a:pt x="10502" y="500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6" name="Free Form 3331">
              <a:extLst>
                <a:ext uri="{FF2B5EF4-FFF2-40B4-BE49-F238E27FC236}">
                  <a16:creationId xmlns:a16="http://schemas.microsoft.com/office/drawing/2014/main" id="{D29F7B5B-DF02-A9AA-6180-DD522DA2152D}"/>
                </a:ext>
              </a:extLst>
            </p:cNvPr>
            <p:cNvSpPr/>
            <p:nvPr/>
          </p:nvSpPr>
          <p:spPr>
            <a:xfrm>
              <a:off x="25655601" y="30073966"/>
              <a:ext cx="11189" cy="2997"/>
            </a:xfrm>
            <a:custGeom>
              <a:avLst/>
              <a:gdLst/>
              <a:ahLst/>
              <a:cxnLst/>
              <a:rect l="0" t="0" r="0" b="0"/>
              <a:pathLst>
                <a:path w="11188" h="2997">
                  <a:moveTo>
                    <a:pt x="11188" y="2857"/>
                  </a:moveTo>
                  <a:cubicBezTo>
                    <a:pt x="9258" y="2997"/>
                    <a:pt x="7327" y="2743"/>
                    <a:pt x="5511" y="2095"/>
                  </a:cubicBezTo>
                  <a:cubicBezTo>
                    <a:pt x="3543" y="1828"/>
                    <a:pt x="1663" y="1117"/>
                    <a:pt x="0" y="12"/>
                  </a:cubicBezTo>
                  <a:cubicBezTo>
                    <a:pt x="1930" y="0"/>
                    <a:pt x="3848" y="304"/>
                    <a:pt x="5676" y="927"/>
                  </a:cubicBezTo>
                  <a:cubicBezTo>
                    <a:pt x="7632" y="1193"/>
                    <a:pt x="9499" y="1854"/>
                    <a:pt x="11188" y="2857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7" name="Free Form 3332">
              <a:extLst>
                <a:ext uri="{FF2B5EF4-FFF2-40B4-BE49-F238E27FC236}">
                  <a16:creationId xmlns:a16="http://schemas.microsoft.com/office/drawing/2014/main" id="{D1D38B82-E06F-8C18-4F86-6F52020A6F34}"/>
                </a:ext>
              </a:extLst>
            </p:cNvPr>
            <p:cNvSpPr/>
            <p:nvPr/>
          </p:nvSpPr>
          <p:spPr>
            <a:xfrm>
              <a:off x="25678142" y="30078982"/>
              <a:ext cx="11532" cy="2464"/>
            </a:xfrm>
            <a:custGeom>
              <a:avLst/>
              <a:gdLst/>
              <a:ahLst/>
              <a:cxnLst/>
              <a:rect l="0" t="0" r="0" b="0"/>
              <a:pathLst>
                <a:path w="11531" h="2463">
                  <a:moveTo>
                    <a:pt x="11531" y="2184"/>
                  </a:moveTo>
                  <a:cubicBezTo>
                    <a:pt x="9575" y="2463"/>
                    <a:pt x="7581" y="2349"/>
                    <a:pt x="5676" y="1816"/>
                  </a:cubicBezTo>
                  <a:cubicBezTo>
                    <a:pt x="3695" y="1701"/>
                    <a:pt x="1765" y="1155"/>
                    <a:pt x="0" y="228"/>
                  </a:cubicBezTo>
                  <a:cubicBezTo>
                    <a:pt x="1904" y="0"/>
                    <a:pt x="3835" y="126"/>
                    <a:pt x="5676" y="622"/>
                  </a:cubicBezTo>
                  <a:cubicBezTo>
                    <a:pt x="7721" y="723"/>
                    <a:pt x="9715" y="1257"/>
                    <a:pt x="11531" y="218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8" name="Free Form 3333">
              <a:extLst>
                <a:ext uri="{FF2B5EF4-FFF2-40B4-BE49-F238E27FC236}">
                  <a16:creationId xmlns:a16="http://schemas.microsoft.com/office/drawing/2014/main" id="{D738ADCC-73CB-B058-FB47-8D1D57AF9F5E}"/>
                </a:ext>
              </a:extLst>
            </p:cNvPr>
            <p:cNvSpPr/>
            <p:nvPr/>
          </p:nvSpPr>
          <p:spPr>
            <a:xfrm>
              <a:off x="25701280" y="30082183"/>
              <a:ext cx="11532" cy="1905"/>
            </a:xfrm>
            <a:custGeom>
              <a:avLst/>
              <a:gdLst/>
              <a:ahLst/>
              <a:cxnLst/>
              <a:rect l="0" t="0" r="0" b="0"/>
              <a:pathLst>
                <a:path w="11531" h="1904">
                  <a:moveTo>
                    <a:pt x="11531" y="1511"/>
                  </a:moveTo>
                  <a:cubicBezTo>
                    <a:pt x="9601" y="1904"/>
                    <a:pt x="7607" y="1904"/>
                    <a:pt x="5689" y="1511"/>
                  </a:cubicBezTo>
                  <a:cubicBezTo>
                    <a:pt x="3733" y="1536"/>
                    <a:pt x="1803" y="1155"/>
                    <a:pt x="0" y="406"/>
                  </a:cubicBezTo>
                  <a:cubicBezTo>
                    <a:pt x="1930" y="0"/>
                    <a:pt x="3924" y="0"/>
                    <a:pt x="5854" y="406"/>
                  </a:cubicBezTo>
                  <a:cubicBezTo>
                    <a:pt x="7797" y="380"/>
                    <a:pt x="9728" y="761"/>
                    <a:pt x="11531" y="15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9" name="Free Form 3334">
              <a:extLst>
                <a:ext uri="{FF2B5EF4-FFF2-40B4-BE49-F238E27FC236}">
                  <a16:creationId xmlns:a16="http://schemas.microsoft.com/office/drawing/2014/main" id="{8E98CF06-C4EF-0F3D-EF81-B284641DC2B0}"/>
                </a:ext>
              </a:extLst>
            </p:cNvPr>
            <p:cNvSpPr/>
            <p:nvPr/>
          </p:nvSpPr>
          <p:spPr>
            <a:xfrm>
              <a:off x="25724446" y="30083322"/>
              <a:ext cx="11646" cy="1613"/>
            </a:xfrm>
            <a:custGeom>
              <a:avLst/>
              <a:gdLst/>
              <a:ahLst/>
              <a:cxnLst/>
              <a:rect l="0" t="0" r="0" b="0"/>
              <a:pathLst>
                <a:path w="11645" h="1612">
                  <a:moveTo>
                    <a:pt x="11645" y="825"/>
                  </a:moveTo>
                  <a:cubicBezTo>
                    <a:pt x="7810" y="1612"/>
                    <a:pt x="3848" y="1612"/>
                    <a:pt x="0" y="825"/>
                  </a:cubicBezTo>
                  <a:cubicBezTo>
                    <a:pt x="1879" y="215"/>
                    <a:pt x="3860" y="0"/>
                    <a:pt x="5829" y="203"/>
                  </a:cubicBezTo>
                  <a:cubicBezTo>
                    <a:pt x="7785" y="25"/>
                    <a:pt x="9766" y="228"/>
                    <a:pt x="11645" y="82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0" name="Free Form 3335">
              <a:extLst>
                <a:ext uri="{FF2B5EF4-FFF2-40B4-BE49-F238E27FC236}">
                  <a16:creationId xmlns:a16="http://schemas.microsoft.com/office/drawing/2014/main" id="{FA93966C-906D-9769-E196-17AB7671C417}"/>
                </a:ext>
              </a:extLst>
            </p:cNvPr>
            <p:cNvSpPr/>
            <p:nvPr/>
          </p:nvSpPr>
          <p:spPr>
            <a:xfrm>
              <a:off x="25747757" y="30081865"/>
              <a:ext cx="11531" cy="2032"/>
            </a:xfrm>
            <a:custGeom>
              <a:avLst/>
              <a:gdLst/>
              <a:ahLst/>
              <a:cxnLst/>
              <a:rect l="0" t="0" r="0" b="0"/>
              <a:pathLst>
                <a:path w="11531" h="2031">
                  <a:moveTo>
                    <a:pt x="11531" y="380"/>
                  </a:moveTo>
                  <a:cubicBezTo>
                    <a:pt x="9753" y="1193"/>
                    <a:pt x="7810" y="1625"/>
                    <a:pt x="5854" y="1625"/>
                  </a:cubicBezTo>
                  <a:cubicBezTo>
                    <a:pt x="3924" y="2031"/>
                    <a:pt x="1930" y="2031"/>
                    <a:pt x="0" y="1625"/>
                  </a:cubicBezTo>
                  <a:cubicBezTo>
                    <a:pt x="1790" y="838"/>
                    <a:pt x="3721" y="419"/>
                    <a:pt x="5676" y="380"/>
                  </a:cubicBezTo>
                  <a:cubicBezTo>
                    <a:pt x="7619" y="0"/>
                    <a:pt x="9601" y="0"/>
                    <a:pt x="11531" y="38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1" name="Free Form 3336">
              <a:extLst>
                <a:ext uri="{FF2B5EF4-FFF2-40B4-BE49-F238E27FC236}">
                  <a16:creationId xmlns:a16="http://schemas.microsoft.com/office/drawing/2014/main" id="{AF66B9D4-2840-F56C-DE45-8923C82655D4}"/>
                </a:ext>
              </a:extLst>
            </p:cNvPr>
            <p:cNvSpPr/>
            <p:nvPr/>
          </p:nvSpPr>
          <p:spPr>
            <a:xfrm>
              <a:off x="25770760" y="30077550"/>
              <a:ext cx="11354" cy="2794"/>
            </a:xfrm>
            <a:custGeom>
              <a:avLst/>
              <a:gdLst/>
              <a:ahLst/>
              <a:cxnLst/>
              <a:rect l="0" t="0" r="0" b="0"/>
              <a:pathLst>
                <a:path w="11353" h="2793">
                  <a:moveTo>
                    <a:pt x="11353" y="152"/>
                  </a:moveTo>
                  <a:cubicBezTo>
                    <a:pt x="7785" y="1803"/>
                    <a:pt x="3924" y="2705"/>
                    <a:pt x="0" y="2793"/>
                  </a:cubicBezTo>
                  <a:cubicBezTo>
                    <a:pt x="1676" y="1777"/>
                    <a:pt x="3555" y="1117"/>
                    <a:pt x="5499" y="863"/>
                  </a:cubicBezTo>
                  <a:cubicBezTo>
                    <a:pt x="7391" y="241"/>
                    <a:pt x="9372" y="0"/>
                    <a:pt x="11353" y="152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2" name="Free Form 3337">
              <a:extLst>
                <a:ext uri="{FF2B5EF4-FFF2-40B4-BE49-F238E27FC236}">
                  <a16:creationId xmlns:a16="http://schemas.microsoft.com/office/drawing/2014/main" id="{74800BB1-B05C-82F3-9FA8-BE67B75D6DDE}"/>
                </a:ext>
              </a:extLst>
            </p:cNvPr>
            <p:cNvSpPr/>
            <p:nvPr/>
          </p:nvSpPr>
          <p:spPr>
            <a:xfrm>
              <a:off x="25793249" y="30070236"/>
              <a:ext cx="10896" cy="4115"/>
            </a:xfrm>
            <a:custGeom>
              <a:avLst/>
              <a:gdLst/>
              <a:ahLst/>
              <a:cxnLst/>
              <a:rect l="0" t="0" r="0" b="0"/>
              <a:pathLst>
                <a:path w="10896" h="4114">
                  <a:moveTo>
                    <a:pt x="10896" y="0"/>
                  </a:moveTo>
                  <a:cubicBezTo>
                    <a:pt x="9347" y="1219"/>
                    <a:pt x="7569" y="2108"/>
                    <a:pt x="5676" y="2616"/>
                  </a:cubicBezTo>
                  <a:cubicBezTo>
                    <a:pt x="3898" y="3505"/>
                    <a:pt x="1968" y="4013"/>
                    <a:pt x="0" y="4114"/>
                  </a:cubicBezTo>
                  <a:cubicBezTo>
                    <a:pt x="1549" y="2895"/>
                    <a:pt x="3340" y="2006"/>
                    <a:pt x="5245" y="1511"/>
                  </a:cubicBezTo>
                  <a:cubicBezTo>
                    <a:pt x="7010" y="622"/>
                    <a:pt x="8928" y="114"/>
                    <a:pt x="10896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3" name="Free Form 3338">
              <a:extLst>
                <a:ext uri="{FF2B5EF4-FFF2-40B4-BE49-F238E27FC236}">
                  <a16:creationId xmlns:a16="http://schemas.microsoft.com/office/drawing/2014/main" id="{AC56DAB7-358A-1B17-3BB6-CFD5AF006941}"/>
                </a:ext>
              </a:extLst>
            </p:cNvPr>
            <p:cNvSpPr/>
            <p:nvPr/>
          </p:nvSpPr>
          <p:spPr>
            <a:xfrm>
              <a:off x="25814560" y="30059788"/>
              <a:ext cx="10503" cy="5626"/>
            </a:xfrm>
            <a:custGeom>
              <a:avLst/>
              <a:gdLst/>
              <a:ahLst/>
              <a:cxnLst/>
              <a:rect l="0" t="0" r="0" b="0"/>
              <a:pathLst>
                <a:path w="10502" h="5626">
                  <a:moveTo>
                    <a:pt x="10337" y="0"/>
                  </a:moveTo>
                  <a:cubicBezTo>
                    <a:pt x="10502" y="279"/>
                    <a:pt x="8356" y="1765"/>
                    <a:pt x="5537" y="3314"/>
                  </a:cubicBezTo>
                  <a:cubicBezTo>
                    <a:pt x="3911" y="4432"/>
                    <a:pt x="2070" y="5219"/>
                    <a:pt x="152" y="5626"/>
                  </a:cubicBezTo>
                  <a:cubicBezTo>
                    <a:pt x="0" y="5308"/>
                    <a:pt x="2158" y="3835"/>
                    <a:pt x="4940" y="2273"/>
                  </a:cubicBezTo>
                  <a:cubicBezTo>
                    <a:pt x="6578" y="1168"/>
                    <a:pt x="8407" y="393"/>
                    <a:pt x="10337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4" name="Free Form 3339">
              <a:extLst>
                <a:ext uri="{FF2B5EF4-FFF2-40B4-BE49-F238E27FC236}">
                  <a16:creationId xmlns:a16="http://schemas.microsoft.com/office/drawing/2014/main" id="{06839BFF-5CE8-F921-7498-BF56C20DFE37}"/>
                </a:ext>
              </a:extLst>
            </p:cNvPr>
            <p:cNvSpPr/>
            <p:nvPr/>
          </p:nvSpPr>
          <p:spPr>
            <a:xfrm>
              <a:off x="25834442" y="30046303"/>
              <a:ext cx="9652" cy="7353"/>
            </a:xfrm>
            <a:custGeom>
              <a:avLst/>
              <a:gdLst/>
              <a:ahLst/>
              <a:cxnLst/>
              <a:rect l="0" t="0" r="0" b="0"/>
              <a:pathLst>
                <a:path w="9651" h="7353">
                  <a:moveTo>
                    <a:pt x="9448" y="0"/>
                  </a:moveTo>
                  <a:cubicBezTo>
                    <a:pt x="9651" y="253"/>
                    <a:pt x="7746" y="2070"/>
                    <a:pt x="5194" y="4038"/>
                  </a:cubicBezTo>
                  <a:cubicBezTo>
                    <a:pt x="2641" y="5994"/>
                    <a:pt x="393" y="7353"/>
                    <a:pt x="190" y="7073"/>
                  </a:cubicBezTo>
                  <a:cubicBezTo>
                    <a:pt x="0" y="6781"/>
                    <a:pt x="1892" y="4991"/>
                    <a:pt x="4457" y="3060"/>
                  </a:cubicBezTo>
                  <a:cubicBezTo>
                    <a:pt x="5880" y="1701"/>
                    <a:pt x="7594" y="660"/>
                    <a:pt x="9448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5" name="Free Form 3340">
              <a:extLst>
                <a:ext uri="{FF2B5EF4-FFF2-40B4-BE49-F238E27FC236}">
                  <a16:creationId xmlns:a16="http://schemas.microsoft.com/office/drawing/2014/main" id="{03176EAF-63CB-B014-E5A2-49FEA7A3DB1C}"/>
                </a:ext>
              </a:extLst>
            </p:cNvPr>
            <p:cNvSpPr/>
            <p:nvPr/>
          </p:nvSpPr>
          <p:spPr>
            <a:xfrm>
              <a:off x="25852348" y="30034072"/>
              <a:ext cx="4775" cy="4674"/>
            </a:xfrm>
            <a:custGeom>
              <a:avLst/>
              <a:gdLst/>
              <a:ahLst/>
              <a:cxnLst/>
              <a:rect l="0" t="0" r="0" b="0"/>
              <a:pathLst>
                <a:path w="4775" h="4673">
                  <a:moveTo>
                    <a:pt x="4546" y="165"/>
                  </a:moveTo>
                  <a:cubicBezTo>
                    <a:pt x="4775" y="419"/>
                    <a:pt x="4013" y="1549"/>
                    <a:pt x="2819" y="2743"/>
                  </a:cubicBezTo>
                  <a:cubicBezTo>
                    <a:pt x="1625" y="3936"/>
                    <a:pt x="457" y="4673"/>
                    <a:pt x="228" y="4457"/>
                  </a:cubicBezTo>
                  <a:cubicBezTo>
                    <a:pt x="0" y="4229"/>
                    <a:pt x="774" y="3060"/>
                    <a:pt x="1968" y="1866"/>
                  </a:cubicBezTo>
                  <a:cubicBezTo>
                    <a:pt x="3162" y="673"/>
                    <a:pt x="4292" y="0"/>
                    <a:pt x="4546" y="16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6" name="Free Form 3341">
              <a:extLst>
                <a:ext uri="{FF2B5EF4-FFF2-40B4-BE49-F238E27FC236}">
                  <a16:creationId xmlns:a16="http://schemas.microsoft.com/office/drawing/2014/main" id="{C92FC490-35FC-1503-6961-CFBD65690458}"/>
                </a:ext>
              </a:extLst>
            </p:cNvPr>
            <p:cNvSpPr/>
            <p:nvPr/>
          </p:nvSpPr>
          <p:spPr>
            <a:xfrm>
              <a:off x="25720677" y="29862810"/>
              <a:ext cx="1219" cy="242034"/>
            </a:xfrm>
            <a:custGeom>
              <a:avLst/>
              <a:gdLst/>
              <a:ahLst/>
              <a:cxnLst/>
              <a:rect l="0" t="0" r="0" b="0"/>
              <a:pathLst>
                <a:path w="1219" h="242034">
                  <a:moveTo>
                    <a:pt x="596" y="242034"/>
                  </a:moveTo>
                  <a:cubicBezTo>
                    <a:pt x="279" y="242034"/>
                    <a:pt x="0" y="187830"/>
                    <a:pt x="0" y="121029"/>
                  </a:cubicBezTo>
                  <a:cubicBezTo>
                    <a:pt x="0" y="54228"/>
                    <a:pt x="279" y="0"/>
                    <a:pt x="596" y="0"/>
                  </a:cubicBezTo>
                  <a:cubicBezTo>
                    <a:pt x="914" y="0"/>
                    <a:pt x="1219" y="54177"/>
                    <a:pt x="1219" y="121029"/>
                  </a:cubicBezTo>
                  <a:cubicBezTo>
                    <a:pt x="1219" y="187894"/>
                    <a:pt x="939" y="242034"/>
                    <a:pt x="596" y="24203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7" name="Free Form 3342">
              <a:extLst>
                <a:ext uri="{FF2B5EF4-FFF2-40B4-BE49-F238E27FC236}">
                  <a16:creationId xmlns:a16="http://schemas.microsoft.com/office/drawing/2014/main" id="{E68E4AAC-F033-8B08-8911-9523554E9FFE}"/>
                </a:ext>
              </a:extLst>
            </p:cNvPr>
            <p:cNvSpPr/>
            <p:nvPr/>
          </p:nvSpPr>
          <p:spPr>
            <a:xfrm>
              <a:off x="25721097" y="29917671"/>
              <a:ext cx="109676" cy="114413"/>
            </a:xfrm>
            <a:custGeom>
              <a:avLst/>
              <a:gdLst/>
              <a:ahLst/>
              <a:cxnLst/>
              <a:rect l="0" t="0" r="0" b="0"/>
              <a:pathLst>
                <a:path w="109676" h="114413">
                  <a:moveTo>
                    <a:pt x="109422" y="165"/>
                  </a:moveTo>
                  <a:cubicBezTo>
                    <a:pt x="109676" y="419"/>
                    <a:pt x="85431" y="26136"/>
                    <a:pt x="55282" y="57631"/>
                  </a:cubicBezTo>
                  <a:cubicBezTo>
                    <a:pt x="25133" y="89114"/>
                    <a:pt x="520" y="114413"/>
                    <a:pt x="253" y="114413"/>
                  </a:cubicBezTo>
                  <a:cubicBezTo>
                    <a:pt x="0" y="114413"/>
                    <a:pt x="24282" y="88454"/>
                    <a:pt x="54431" y="56946"/>
                  </a:cubicBezTo>
                  <a:cubicBezTo>
                    <a:pt x="84581" y="25437"/>
                    <a:pt x="109193" y="0"/>
                    <a:pt x="109422" y="16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8" name="Free Form 3343">
              <a:extLst>
                <a:ext uri="{FF2B5EF4-FFF2-40B4-BE49-F238E27FC236}">
                  <a16:creationId xmlns:a16="http://schemas.microsoft.com/office/drawing/2014/main" id="{6AB4E1B3-A3AF-8792-F6D5-6AAEA6BF99E7}"/>
                </a:ext>
              </a:extLst>
            </p:cNvPr>
            <p:cNvSpPr/>
            <p:nvPr/>
          </p:nvSpPr>
          <p:spPr>
            <a:xfrm>
              <a:off x="25822394" y="29910397"/>
              <a:ext cx="20053" cy="17170"/>
            </a:xfrm>
            <a:custGeom>
              <a:avLst/>
              <a:gdLst/>
              <a:ahLst/>
              <a:cxnLst/>
              <a:rect l="0" t="0" r="0" b="0"/>
              <a:pathLst>
                <a:path w="20053" h="17170">
                  <a:moveTo>
                    <a:pt x="1511" y="6756"/>
                  </a:moveTo>
                  <a:cubicBezTo>
                    <a:pt x="3073" y="5918"/>
                    <a:pt x="4724" y="5245"/>
                    <a:pt x="6426" y="4737"/>
                  </a:cubicBezTo>
                  <a:cubicBezTo>
                    <a:pt x="9550" y="3606"/>
                    <a:pt x="13969" y="1904"/>
                    <a:pt x="19138" y="317"/>
                  </a:cubicBezTo>
                  <a:lnTo>
                    <a:pt x="20053" y="0"/>
                  </a:lnTo>
                  <a:lnTo>
                    <a:pt x="19913" y="939"/>
                  </a:lnTo>
                  <a:cubicBezTo>
                    <a:pt x="19481" y="3543"/>
                    <a:pt x="19024" y="6362"/>
                    <a:pt x="18541" y="9283"/>
                  </a:cubicBezTo>
                  <a:cubicBezTo>
                    <a:pt x="18059" y="12204"/>
                    <a:pt x="17716" y="14249"/>
                    <a:pt x="17322" y="16547"/>
                  </a:cubicBezTo>
                  <a:lnTo>
                    <a:pt x="17322" y="17170"/>
                  </a:lnTo>
                  <a:lnTo>
                    <a:pt x="16700" y="17030"/>
                  </a:lnTo>
                  <a:cubicBezTo>
                    <a:pt x="12001" y="15887"/>
                    <a:pt x="7632" y="13690"/>
                    <a:pt x="3898" y="10617"/>
                  </a:cubicBezTo>
                  <a:cubicBezTo>
                    <a:pt x="2819" y="9740"/>
                    <a:pt x="1816" y="8801"/>
                    <a:pt x="888" y="7772"/>
                  </a:cubicBezTo>
                  <a:cubicBezTo>
                    <a:pt x="533" y="7416"/>
                    <a:pt x="241" y="7010"/>
                    <a:pt x="0" y="6553"/>
                  </a:cubicBezTo>
                  <a:cubicBezTo>
                    <a:pt x="0" y="6553"/>
                    <a:pt x="1536" y="8000"/>
                    <a:pt x="4356" y="10109"/>
                  </a:cubicBezTo>
                  <a:cubicBezTo>
                    <a:pt x="8127" y="12903"/>
                    <a:pt x="12433" y="14896"/>
                    <a:pt x="17017" y="15951"/>
                  </a:cubicBezTo>
                  <a:lnTo>
                    <a:pt x="16306" y="16408"/>
                  </a:lnTo>
                  <a:cubicBezTo>
                    <a:pt x="16674" y="14134"/>
                    <a:pt x="17068" y="11671"/>
                    <a:pt x="17462" y="9143"/>
                  </a:cubicBezTo>
                  <a:cubicBezTo>
                    <a:pt x="17868" y="6616"/>
                    <a:pt x="18427" y="3467"/>
                    <a:pt x="18884" y="800"/>
                  </a:cubicBezTo>
                  <a:lnTo>
                    <a:pt x="19621" y="1447"/>
                  </a:lnTo>
                  <a:cubicBezTo>
                    <a:pt x="14427" y="3124"/>
                    <a:pt x="9943" y="4546"/>
                    <a:pt x="6769" y="5473"/>
                  </a:cubicBezTo>
                  <a:cubicBezTo>
                    <a:pt x="5054" y="6070"/>
                    <a:pt x="3301" y="6502"/>
                    <a:pt x="1511" y="675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9" name="Free Form 3344">
              <a:extLst>
                <a:ext uri="{FF2B5EF4-FFF2-40B4-BE49-F238E27FC236}">
                  <a16:creationId xmlns:a16="http://schemas.microsoft.com/office/drawing/2014/main" id="{F2C18CA4-5942-C954-4D08-C53BB1F71CD9}"/>
                </a:ext>
              </a:extLst>
            </p:cNvPr>
            <p:cNvSpPr/>
            <p:nvPr/>
          </p:nvSpPr>
          <p:spPr>
            <a:xfrm>
              <a:off x="25858285" y="29909545"/>
              <a:ext cx="18034" cy="30378"/>
            </a:xfrm>
            <a:custGeom>
              <a:avLst/>
              <a:gdLst/>
              <a:ahLst/>
              <a:cxnLst/>
              <a:rect l="0" t="0" r="0" b="0"/>
              <a:pathLst>
                <a:path w="18033" h="30378">
                  <a:moveTo>
                    <a:pt x="0" y="30378"/>
                  </a:moveTo>
                  <a:cubicBezTo>
                    <a:pt x="2489" y="25018"/>
                    <a:pt x="5333" y="19849"/>
                    <a:pt x="8521" y="14871"/>
                  </a:cubicBezTo>
                  <a:cubicBezTo>
                    <a:pt x="11340" y="9702"/>
                    <a:pt x="14515" y="4737"/>
                    <a:pt x="18033" y="0"/>
                  </a:cubicBezTo>
                  <a:cubicBezTo>
                    <a:pt x="15544" y="5359"/>
                    <a:pt x="12699" y="10540"/>
                    <a:pt x="9512" y="15506"/>
                  </a:cubicBezTo>
                  <a:cubicBezTo>
                    <a:pt x="6680" y="20675"/>
                    <a:pt x="3505" y="25641"/>
                    <a:pt x="0" y="3037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0" name="Free Form 3345">
              <a:extLst>
                <a:ext uri="{FF2B5EF4-FFF2-40B4-BE49-F238E27FC236}">
                  <a16:creationId xmlns:a16="http://schemas.microsoft.com/office/drawing/2014/main" id="{4A44E192-E547-7B2C-BE6A-4350A49EB475}"/>
                </a:ext>
              </a:extLst>
            </p:cNvPr>
            <p:cNvSpPr/>
            <p:nvPr/>
          </p:nvSpPr>
          <p:spPr>
            <a:xfrm>
              <a:off x="25857913" y="29915939"/>
              <a:ext cx="20104" cy="32245"/>
            </a:xfrm>
            <a:custGeom>
              <a:avLst/>
              <a:gdLst/>
              <a:ahLst/>
              <a:cxnLst/>
              <a:rect l="0" t="0" r="0" b="0"/>
              <a:pathLst>
                <a:path w="20103" h="32244">
                  <a:moveTo>
                    <a:pt x="20103" y="32244"/>
                  </a:moveTo>
                  <a:cubicBezTo>
                    <a:pt x="16243" y="27203"/>
                    <a:pt x="12725" y="21919"/>
                    <a:pt x="9537" y="16433"/>
                  </a:cubicBezTo>
                  <a:cubicBezTo>
                    <a:pt x="6019" y="11163"/>
                    <a:pt x="2832" y="5664"/>
                    <a:pt x="0" y="0"/>
                  </a:cubicBezTo>
                  <a:cubicBezTo>
                    <a:pt x="3848" y="5029"/>
                    <a:pt x="7378" y="10299"/>
                    <a:pt x="10566" y="15773"/>
                  </a:cubicBezTo>
                  <a:cubicBezTo>
                    <a:pt x="14096" y="21056"/>
                    <a:pt x="17284" y="26555"/>
                    <a:pt x="20103" y="3224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1" name="Free Form 3346">
              <a:extLst>
                <a:ext uri="{FF2B5EF4-FFF2-40B4-BE49-F238E27FC236}">
                  <a16:creationId xmlns:a16="http://schemas.microsoft.com/office/drawing/2014/main" id="{7BBC65AB-64CA-FB4F-61CB-064B07E2594F}"/>
                </a:ext>
              </a:extLst>
            </p:cNvPr>
            <p:cNvSpPr/>
            <p:nvPr/>
          </p:nvSpPr>
          <p:spPr>
            <a:xfrm>
              <a:off x="25883541" y="29927151"/>
              <a:ext cx="10744" cy="21538"/>
            </a:xfrm>
            <a:custGeom>
              <a:avLst/>
              <a:gdLst/>
              <a:ahLst/>
              <a:cxnLst/>
              <a:rect l="0" t="0" r="0" b="0"/>
              <a:pathLst>
                <a:path w="10744" h="21538">
                  <a:moveTo>
                    <a:pt x="10744" y="14503"/>
                  </a:moveTo>
                  <a:cubicBezTo>
                    <a:pt x="8737" y="9689"/>
                    <a:pt x="5905" y="5257"/>
                    <a:pt x="2362" y="1409"/>
                  </a:cubicBezTo>
                  <a:lnTo>
                    <a:pt x="3340" y="1244"/>
                  </a:lnTo>
                  <a:cubicBezTo>
                    <a:pt x="1295" y="6121"/>
                    <a:pt x="977" y="11556"/>
                    <a:pt x="2451" y="16636"/>
                  </a:cubicBezTo>
                  <a:lnTo>
                    <a:pt x="1371" y="16827"/>
                  </a:lnTo>
                  <a:cubicBezTo>
                    <a:pt x="1181" y="13195"/>
                    <a:pt x="1028" y="10159"/>
                    <a:pt x="977" y="8000"/>
                  </a:cubicBezTo>
                  <a:cubicBezTo>
                    <a:pt x="812" y="6883"/>
                    <a:pt x="812" y="5740"/>
                    <a:pt x="977" y="4622"/>
                  </a:cubicBezTo>
                  <a:cubicBezTo>
                    <a:pt x="1308" y="5714"/>
                    <a:pt x="1485" y="6832"/>
                    <a:pt x="1511" y="7975"/>
                  </a:cubicBezTo>
                  <a:cubicBezTo>
                    <a:pt x="1765" y="10109"/>
                    <a:pt x="2057" y="13144"/>
                    <a:pt x="2362" y="16751"/>
                  </a:cubicBezTo>
                  <a:lnTo>
                    <a:pt x="2793" y="21538"/>
                  </a:lnTo>
                  <a:lnTo>
                    <a:pt x="1320" y="16941"/>
                  </a:lnTo>
                  <a:cubicBezTo>
                    <a:pt x="292" y="13728"/>
                    <a:pt x="0" y="10324"/>
                    <a:pt x="469" y="6984"/>
                  </a:cubicBezTo>
                  <a:cubicBezTo>
                    <a:pt x="736" y="4851"/>
                    <a:pt x="1320" y="2768"/>
                    <a:pt x="2171" y="787"/>
                  </a:cubicBezTo>
                  <a:lnTo>
                    <a:pt x="2539" y="0"/>
                  </a:lnTo>
                  <a:lnTo>
                    <a:pt x="3136" y="622"/>
                  </a:lnTo>
                  <a:cubicBezTo>
                    <a:pt x="5791" y="3403"/>
                    <a:pt x="7912" y="6642"/>
                    <a:pt x="9410" y="10185"/>
                  </a:cubicBezTo>
                  <a:cubicBezTo>
                    <a:pt x="10109" y="11531"/>
                    <a:pt x="10566" y="12991"/>
                    <a:pt x="10744" y="1450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2" name="Free Form 3347">
              <a:extLst>
                <a:ext uri="{FF2B5EF4-FFF2-40B4-BE49-F238E27FC236}">
                  <a16:creationId xmlns:a16="http://schemas.microsoft.com/office/drawing/2014/main" id="{EC066729-92D9-1C26-08C8-74D2C6E2EB34}"/>
                </a:ext>
              </a:extLst>
            </p:cNvPr>
            <p:cNvSpPr/>
            <p:nvPr/>
          </p:nvSpPr>
          <p:spPr>
            <a:xfrm>
              <a:off x="25753767" y="30008520"/>
              <a:ext cx="15355" cy="22352"/>
            </a:xfrm>
            <a:custGeom>
              <a:avLst/>
              <a:gdLst/>
              <a:ahLst/>
              <a:cxnLst/>
              <a:rect l="0" t="0" r="0" b="0"/>
              <a:pathLst>
                <a:path w="15354" h="22351">
                  <a:moveTo>
                    <a:pt x="7848" y="22339"/>
                  </a:moveTo>
                  <a:cubicBezTo>
                    <a:pt x="7848" y="22339"/>
                    <a:pt x="8470" y="22110"/>
                    <a:pt x="9499" y="21538"/>
                  </a:cubicBezTo>
                  <a:cubicBezTo>
                    <a:pt x="10896" y="20726"/>
                    <a:pt x="12039" y="19519"/>
                    <a:pt x="12788" y="18084"/>
                  </a:cubicBezTo>
                  <a:cubicBezTo>
                    <a:pt x="13944" y="15963"/>
                    <a:pt x="14401" y="13538"/>
                    <a:pt x="14096" y="11150"/>
                  </a:cubicBezTo>
                  <a:cubicBezTo>
                    <a:pt x="13652" y="8166"/>
                    <a:pt x="12687" y="5283"/>
                    <a:pt x="11252" y="2628"/>
                  </a:cubicBezTo>
                  <a:lnTo>
                    <a:pt x="10286" y="596"/>
                  </a:lnTo>
                  <a:lnTo>
                    <a:pt x="11340" y="0"/>
                  </a:lnTo>
                  <a:cubicBezTo>
                    <a:pt x="12839" y="2819"/>
                    <a:pt x="12115" y="6299"/>
                    <a:pt x="9613" y="8280"/>
                  </a:cubicBezTo>
                  <a:cubicBezTo>
                    <a:pt x="8547" y="9105"/>
                    <a:pt x="7226" y="9537"/>
                    <a:pt x="5892" y="9474"/>
                  </a:cubicBezTo>
                  <a:cubicBezTo>
                    <a:pt x="4762" y="9372"/>
                    <a:pt x="3682" y="8978"/>
                    <a:pt x="2768" y="8318"/>
                  </a:cubicBezTo>
                  <a:cubicBezTo>
                    <a:pt x="1435" y="7416"/>
                    <a:pt x="507" y="6032"/>
                    <a:pt x="177" y="4457"/>
                  </a:cubicBezTo>
                  <a:cubicBezTo>
                    <a:pt x="0" y="3911"/>
                    <a:pt x="0" y="3327"/>
                    <a:pt x="177" y="2781"/>
                  </a:cubicBezTo>
                  <a:cubicBezTo>
                    <a:pt x="177" y="2781"/>
                    <a:pt x="177" y="3378"/>
                    <a:pt x="520" y="4368"/>
                  </a:cubicBezTo>
                  <a:cubicBezTo>
                    <a:pt x="990" y="5727"/>
                    <a:pt x="1917" y="6870"/>
                    <a:pt x="3136" y="7632"/>
                  </a:cubicBezTo>
                  <a:cubicBezTo>
                    <a:pt x="3987" y="8178"/>
                    <a:pt x="4965" y="8470"/>
                    <a:pt x="5968" y="8508"/>
                  </a:cubicBezTo>
                  <a:cubicBezTo>
                    <a:pt x="7010" y="8483"/>
                    <a:pt x="8013" y="8102"/>
                    <a:pt x="8813" y="7429"/>
                  </a:cubicBezTo>
                  <a:cubicBezTo>
                    <a:pt x="10782" y="5740"/>
                    <a:pt x="11353" y="2946"/>
                    <a:pt x="10210" y="622"/>
                  </a:cubicBezTo>
                  <a:lnTo>
                    <a:pt x="11252" y="50"/>
                  </a:lnTo>
                  <a:lnTo>
                    <a:pt x="12242" y="2095"/>
                  </a:lnTo>
                  <a:cubicBezTo>
                    <a:pt x="13703" y="4876"/>
                    <a:pt x="14668" y="7899"/>
                    <a:pt x="15087" y="11010"/>
                  </a:cubicBezTo>
                  <a:cubicBezTo>
                    <a:pt x="15354" y="13614"/>
                    <a:pt x="14757" y="16243"/>
                    <a:pt x="13385" y="18478"/>
                  </a:cubicBezTo>
                  <a:cubicBezTo>
                    <a:pt x="12496" y="19989"/>
                    <a:pt x="11150" y="21196"/>
                    <a:pt x="9550" y="21907"/>
                  </a:cubicBezTo>
                  <a:cubicBezTo>
                    <a:pt x="9029" y="22199"/>
                    <a:pt x="8445" y="22351"/>
                    <a:pt x="7848" y="22339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3" name="Free Form 3348">
              <a:extLst>
                <a:ext uri="{FF2B5EF4-FFF2-40B4-BE49-F238E27FC236}">
                  <a16:creationId xmlns:a16="http://schemas.microsoft.com/office/drawing/2014/main" id="{3F53A806-1832-6031-952A-66A4FB5B7A25}"/>
                </a:ext>
              </a:extLst>
            </p:cNvPr>
            <p:cNvSpPr/>
            <p:nvPr/>
          </p:nvSpPr>
          <p:spPr>
            <a:xfrm>
              <a:off x="25718014" y="29942051"/>
              <a:ext cx="91070" cy="2502"/>
            </a:xfrm>
            <a:custGeom>
              <a:avLst/>
              <a:gdLst/>
              <a:ahLst/>
              <a:cxnLst/>
              <a:rect l="0" t="0" r="0" b="0"/>
              <a:pathLst>
                <a:path w="91070" h="2501">
                  <a:moveTo>
                    <a:pt x="91070" y="114"/>
                  </a:moveTo>
                  <a:cubicBezTo>
                    <a:pt x="89889" y="380"/>
                    <a:pt x="88695" y="546"/>
                    <a:pt x="87489" y="596"/>
                  </a:cubicBezTo>
                  <a:cubicBezTo>
                    <a:pt x="85190" y="825"/>
                    <a:pt x="81812" y="1104"/>
                    <a:pt x="77761" y="1396"/>
                  </a:cubicBezTo>
                  <a:cubicBezTo>
                    <a:pt x="69519" y="1930"/>
                    <a:pt x="58139" y="2438"/>
                    <a:pt x="45529" y="2476"/>
                  </a:cubicBezTo>
                  <a:cubicBezTo>
                    <a:pt x="32930" y="2501"/>
                    <a:pt x="21538" y="2070"/>
                    <a:pt x="13284" y="1562"/>
                  </a:cubicBezTo>
                  <a:cubicBezTo>
                    <a:pt x="9169" y="1308"/>
                    <a:pt x="5841" y="1054"/>
                    <a:pt x="3543" y="825"/>
                  </a:cubicBezTo>
                  <a:cubicBezTo>
                    <a:pt x="2349" y="787"/>
                    <a:pt x="1155" y="634"/>
                    <a:pt x="0" y="368"/>
                  </a:cubicBezTo>
                  <a:cubicBezTo>
                    <a:pt x="1181" y="253"/>
                    <a:pt x="2387" y="253"/>
                    <a:pt x="3568" y="368"/>
                  </a:cubicBezTo>
                  <a:lnTo>
                    <a:pt x="13334" y="711"/>
                  </a:lnTo>
                  <a:cubicBezTo>
                    <a:pt x="21577" y="990"/>
                    <a:pt x="32956" y="1282"/>
                    <a:pt x="45529" y="1244"/>
                  </a:cubicBezTo>
                  <a:cubicBezTo>
                    <a:pt x="58114" y="1219"/>
                    <a:pt x="69468" y="850"/>
                    <a:pt x="77723" y="546"/>
                  </a:cubicBezTo>
                  <a:lnTo>
                    <a:pt x="87463" y="114"/>
                  </a:lnTo>
                  <a:cubicBezTo>
                    <a:pt x="88670" y="0"/>
                    <a:pt x="89876" y="0"/>
                    <a:pt x="91070" y="11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4" name="Free Form 3349">
              <a:extLst>
                <a:ext uri="{FF2B5EF4-FFF2-40B4-BE49-F238E27FC236}">
                  <a16:creationId xmlns:a16="http://schemas.microsoft.com/office/drawing/2014/main" id="{F6A22041-661A-2C81-B6F4-F347ACEA21A4}"/>
                </a:ext>
              </a:extLst>
            </p:cNvPr>
            <p:cNvSpPr/>
            <p:nvPr/>
          </p:nvSpPr>
          <p:spPr>
            <a:xfrm>
              <a:off x="25732650" y="29920115"/>
              <a:ext cx="12243" cy="1613"/>
            </a:xfrm>
            <a:custGeom>
              <a:avLst/>
              <a:gdLst/>
              <a:ahLst/>
              <a:cxnLst/>
              <a:rect l="0" t="0" r="0" b="0"/>
              <a:pathLst>
                <a:path w="12242" h="1612">
                  <a:moveTo>
                    <a:pt x="12242" y="190"/>
                  </a:moveTo>
                  <a:cubicBezTo>
                    <a:pt x="10375" y="1181"/>
                    <a:pt x="8254" y="1612"/>
                    <a:pt x="6134" y="1409"/>
                  </a:cubicBezTo>
                  <a:cubicBezTo>
                    <a:pt x="4025" y="1600"/>
                    <a:pt x="1892" y="1181"/>
                    <a:pt x="0" y="190"/>
                  </a:cubicBezTo>
                  <a:cubicBezTo>
                    <a:pt x="2044" y="0"/>
                    <a:pt x="4102" y="0"/>
                    <a:pt x="6134" y="190"/>
                  </a:cubicBezTo>
                  <a:cubicBezTo>
                    <a:pt x="8166" y="0"/>
                    <a:pt x="10210" y="0"/>
                    <a:pt x="12242" y="19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5" name="Free Form 3350">
              <a:extLst>
                <a:ext uri="{FF2B5EF4-FFF2-40B4-BE49-F238E27FC236}">
                  <a16:creationId xmlns:a16="http://schemas.microsoft.com/office/drawing/2014/main" id="{2F882282-28D5-101D-3D42-091156DD0866}"/>
                </a:ext>
              </a:extLst>
            </p:cNvPr>
            <p:cNvSpPr/>
            <p:nvPr/>
          </p:nvSpPr>
          <p:spPr>
            <a:xfrm>
              <a:off x="25732596" y="29923178"/>
              <a:ext cx="14985" cy="15913"/>
            </a:xfrm>
            <a:custGeom>
              <a:avLst/>
              <a:gdLst/>
              <a:ahLst/>
              <a:cxnLst/>
              <a:rect l="0" t="0" r="0" b="0"/>
              <a:pathLst>
                <a:path w="14985" h="15912">
                  <a:moveTo>
                    <a:pt x="88" y="10528"/>
                  </a:moveTo>
                  <a:cubicBezTo>
                    <a:pt x="88" y="10528"/>
                    <a:pt x="546" y="10896"/>
                    <a:pt x="1282" y="11633"/>
                  </a:cubicBezTo>
                  <a:cubicBezTo>
                    <a:pt x="2260" y="12674"/>
                    <a:pt x="3390" y="13550"/>
                    <a:pt x="4660" y="14223"/>
                  </a:cubicBezTo>
                  <a:cubicBezTo>
                    <a:pt x="6464" y="15227"/>
                    <a:pt x="8674" y="15227"/>
                    <a:pt x="10477" y="14223"/>
                  </a:cubicBezTo>
                  <a:cubicBezTo>
                    <a:pt x="12737" y="13106"/>
                    <a:pt x="13931" y="10566"/>
                    <a:pt x="13322" y="8115"/>
                  </a:cubicBezTo>
                  <a:cubicBezTo>
                    <a:pt x="12826" y="5880"/>
                    <a:pt x="10921" y="4229"/>
                    <a:pt x="8635" y="4089"/>
                  </a:cubicBezTo>
                  <a:cubicBezTo>
                    <a:pt x="6718" y="3987"/>
                    <a:pt x="4889" y="4914"/>
                    <a:pt x="3835" y="6527"/>
                  </a:cubicBezTo>
                  <a:lnTo>
                    <a:pt x="3492" y="7124"/>
                  </a:lnTo>
                  <a:lnTo>
                    <a:pt x="3098" y="6603"/>
                  </a:lnTo>
                  <a:cubicBezTo>
                    <a:pt x="1917" y="5092"/>
                    <a:pt x="1777" y="3009"/>
                    <a:pt x="2755" y="1358"/>
                  </a:cubicBezTo>
                  <a:cubicBezTo>
                    <a:pt x="3467" y="253"/>
                    <a:pt x="4203" y="0"/>
                    <a:pt x="4229" y="50"/>
                  </a:cubicBezTo>
                  <a:cubicBezTo>
                    <a:pt x="3848" y="533"/>
                    <a:pt x="3505" y="1041"/>
                    <a:pt x="3213" y="1587"/>
                  </a:cubicBezTo>
                  <a:cubicBezTo>
                    <a:pt x="2539" y="3047"/>
                    <a:pt x="2755" y="4775"/>
                    <a:pt x="3784" y="6019"/>
                  </a:cubicBezTo>
                  <a:lnTo>
                    <a:pt x="3047" y="6019"/>
                  </a:lnTo>
                  <a:cubicBezTo>
                    <a:pt x="4203" y="3987"/>
                    <a:pt x="6388" y="2781"/>
                    <a:pt x="8724" y="2857"/>
                  </a:cubicBezTo>
                  <a:cubicBezTo>
                    <a:pt x="12306" y="3124"/>
                    <a:pt x="14985" y="6235"/>
                    <a:pt x="14731" y="9816"/>
                  </a:cubicBezTo>
                  <a:cubicBezTo>
                    <a:pt x="14668" y="10655"/>
                    <a:pt x="14452" y="11455"/>
                    <a:pt x="14084" y="12204"/>
                  </a:cubicBezTo>
                  <a:cubicBezTo>
                    <a:pt x="13436" y="13411"/>
                    <a:pt x="12445" y="14388"/>
                    <a:pt x="11252" y="15036"/>
                  </a:cubicBezTo>
                  <a:cubicBezTo>
                    <a:pt x="10121" y="15646"/>
                    <a:pt x="8839" y="15912"/>
                    <a:pt x="7556" y="15811"/>
                  </a:cubicBezTo>
                  <a:cubicBezTo>
                    <a:pt x="6476" y="15709"/>
                    <a:pt x="5422" y="15366"/>
                    <a:pt x="4495" y="14820"/>
                  </a:cubicBezTo>
                  <a:cubicBezTo>
                    <a:pt x="3187" y="14033"/>
                    <a:pt x="2044" y="13004"/>
                    <a:pt x="1142" y="11772"/>
                  </a:cubicBezTo>
                  <a:cubicBezTo>
                    <a:pt x="292" y="11099"/>
                    <a:pt x="0" y="10553"/>
                    <a:pt x="88" y="1052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6" name="Free Form 3351">
              <a:extLst>
                <a:ext uri="{FF2B5EF4-FFF2-40B4-BE49-F238E27FC236}">
                  <a16:creationId xmlns:a16="http://schemas.microsoft.com/office/drawing/2014/main" id="{BA3AC8B6-AC1C-7E0D-9299-CED0B8EE2649}"/>
                </a:ext>
              </a:extLst>
            </p:cNvPr>
            <p:cNvSpPr/>
            <p:nvPr/>
          </p:nvSpPr>
          <p:spPr>
            <a:xfrm>
              <a:off x="25753098" y="29922660"/>
              <a:ext cx="8154" cy="13970"/>
            </a:xfrm>
            <a:custGeom>
              <a:avLst/>
              <a:gdLst/>
              <a:ahLst/>
              <a:cxnLst/>
              <a:rect l="0" t="0" r="0" b="0"/>
              <a:pathLst>
                <a:path w="8153" h="13969">
                  <a:moveTo>
                    <a:pt x="0" y="13969"/>
                  </a:moveTo>
                  <a:cubicBezTo>
                    <a:pt x="825" y="11379"/>
                    <a:pt x="2019" y="8915"/>
                    <a:pt x="3543" y="6667"/>
                  </a:cubicBezTo>
                  <a:cubicBezTo>
                    <a:pt x="4737" y="4229"/>
                    <a:pt x="6286" y="1981"/>
                    <a:pt x="8153" y="0"/>
                  </a:cubicBezTo>
                  <a:cubicBezTo>
                    <a:pt x="7327" y="2590"/>
                    <a:pt x="6134" y="5054"/>
                    <a:pt x="4597" y="7302"/>
                  </a:cubicBezTo>
                  <a:cubicBezTo>
                    <a:pt x="3403" y="9740"/>
                    <a:pt x="1854" y="11988"/>
                    <a:pt x="0" y="13969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7" name="Free Form 3352">
              <a:extLst>
                <a:ext uri="{FF2B5EF4-FFF2-40B4-BE49-F238E27FC236}">
                  <a16:creationId xmlns:a16="http://schemas.microsoft.com/office/drawing/2014/main" id="{1FF3D903-649D-6BC7-3F62-BC6E27B3B192}"/>
                </a:ext>
              </a:extLst>
            </p:cNvPr>
            <p:cNvSpPr/>
            <p:nvPr/>
          </p:nvSpPr>
          <p:spPr>
            <a:xfrm>
              <a:off x="25751314" y="29925958"/>
              <a:ext cx="12433" cy="14135"/>
            </a:xfrm>
            <a:custGeom>
              <a:avLst/>
              <a:gdLst/>
              <a:ahLst/>
              <a:cxnLst/>
              <a:rect l="0" t="0" r="0" b="0"/>
              <a:pathLst>
                <a:path w="12433" h="14134">
                  <a:moveTo>
                    <a:pt x="12204" y="14134"/>
                  </a:moveTo>
                  <a:cubicBezTo>
                    <a:pt x="6794" y="10845"/>
                    <a:pt x="2539" y="5968"/>
                    <a:pt x="0" y="165"/>
                  </a:cubicBezTo>
                  <a:cubicBezTo>
                    <a:pt x="304" y="0"/>
                    <a:pt x="2578" y="3454"/>
                    <a:pt x="5930" y="7289"/>
                  </a:cubicBezTo>
                  <a:cubicBezTo>
                    <a:pt x="9283" y="11125"/>
                    <a:pt x="12433" y="13855"/>
                    <a:pt x="12204" y="1413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8" name="Free Form 3353">
              <a:extLst>
                <a:ext uri="{FF2B5EF4-FFF2-40B4-BE49-F238E27FC236}">
                  <a16:creationId xmlns:a16="http://schemas.microsoft.com/office/drawing/2014/main" id="{7930D4F9-6330-B03A-60CF-94CF342F1C2C}"/>
                </a:ext>
              </a:extLst>
            </p:cNvPr>
            <p:cNvSpPr/>
            <p:nvPr/>
          </p:nvSpPr>
          <p:spPr>
            <a:xfrm>
              <a:off x="25655190" y="29862612"/>
              <a:ext cx="18694" cy="37846"/>
            </a:xfrm>
            <a:custGeom>
              <a:avLst/>
              <a:gdLst/>
              <a:ahLst/>
              <a:cxnLst/>
              <a:rect l="0" t="0" r="0" b="0"/>
              <a:pathLst>
                <a:path w="18694" h="37845">
                  <a:moveTo>
                    <a:pt x="1777" y="34696"/>
                  </a:moveTo>
                  <a:cubicBezTo>
                    <a:pt x="2514" y="35546"/>
                    <a:pt x="3441" y="36220"/>
                    <a:pt x="4470" y="36651"/>
                  </a:cubicBezTo>
                  <a:cubicBezTo>
                    <a:pt x="7365" y="37642"/>
                    <a:pt x="10578" y="36829"/>
                    <a:pt x="12649" y="34581"/>
                  </a:cubicBezTo>
                  <a:cubicBezTo>
                    <a:pt x="15443" y="30987"/>
                    <a:pt x="16979" y="26580"/>
                    <a:pt x="17017" y="22034"/>
                  </a:cubicBezTo>
                  <a:cubicBezTo>
                    <a:pt x="17386" y="16433"/>
                    <a:pt x="17106" y="10794"/>
                    <a:pt x="16205" y="5257"/>
                  </a:cubicBezTo>
                  <a:cubicBezTo>
                    <a:pt x="15912" y="3492"/>
                    <a:pt x="15658" y="1790"/>
                    <a:pt x="15430" y="177"/>
                  </a:cubicBezTo>
                  <a:lnTo>
                    <a:pt x="16624" y="177"/>
                  </a:lnTo>
                  <a:cubicBezTo>
                    <a:pt x="16979" y="2832"/>
                    <a:pt x="16979" y="5524"/>
                    <a:pt x="16624" y="8178"/>
                  </a:cubicBezTo>
                  <a:cubicBezTo>
                    <a:pt x="16281" y="10744"/>
                    <a:pt x="14998" y="13093"/>
                    <a:pt x="13017" y="14769"/>
                  </a:cubicBezTo>
                  <a:cubicBezTo>
                    <a:pt x="11226" y="16357"/>
                    <a:pt x="8724" y="16890"/>
                    <a:pt x="6438" y="16154"/>
                  </a:cubicBezTo>
                  <a:cubicBezTo>
                    <a:pt x="4546" y="15443"/>
                    <a:pt x="2971" y="14122"/>
                    <a:pt x="1943" y="12382"/>
                  </a:cubicBezTo>
                  <a:cubicBezTo>
                    <a:pt x="622" y="9931"/>
                    <a:pt x="0" y="7162"/>
                    <a:pt x="126" y="4368"/>
                  </a:cubicBezTo>
                  <a:cubicBezTo>
                    <a:pt x="76" y="3378"/>
                    <a:pt x="139" y="2374"/>
                    <a:pt x="304" y="1396"/>
                  </a:cubicBezTo>
                  <a:cubicBezTo>
                    <a:pt x="469" y="2336"/>
                    <a:pt x="558" y="3276"/>
                    <a:pt x="558" y="4229"/>
                  </a:cubicBezTo>
                  <a:cubicBezTo>
                    <a:pt x="596" y="6908"/>
                    <a:pt x="1308" y="9524"/>
                    <a:pt x="2628" y="11836"/>
                  </a:cubicBezTo>
                  <a:cubicBezTo>
                    <a:pt x="3594" y="13360"/>
                    <a:pt x="5029" y="14515"/>
                    <a:pt x="6718" y="15138"/>
                  </a:cubicBezTo>
                  <a:cubicBezTo>
                    <a:pt x="8712" y="15773"/>
                    <a:pt x="10883" y="15277"/>
                    <a:pt x="12395" y="13830"/>
                  </a:cubicBezTo>
                  <a:cubicBezTo>
                    <a:pt x="14134" y="12293"/>
                    <a:pt x="15265" y="10172"/>
                    <a:pt x="15544" y="7861"/>
                  </a:cubicBezTo>
                  <a:cubicBezTo>
                    <a:pt x="15874" y="5308"/>
                    <a:pt x="15874" y="2730"/>
                    <a:pt x="15544" y="177"/>
                  </a:cubicBezTo>
                  <a:lnTo>
                    <a:pt x="16738" y="0"/>
                  </a:lnTo>
                  <a:cubicBezTo>
                    <a:pt x="16967" y="1650"/>
                    <a:pt x="17246" y="3352"/>
                    <a:pt x="17513" y="5118"/>
                  </a:cubicBezTo>
                  <a:cubicBezTo>
                    <a:pt x="18440" y="10744"/>
                    <a:pt x="18694" y="16459"/>
                    <a:pt x="18249" y="22148"/>
                  </a:cubicBezTo>
                  <a:cubicBezTo>
                    <a:pt x="18135" y="26923"/>
                    <a:pt x="16420" y="31521"/>
                    <a:pt x="13385" y="35204"/>
                  </a:cubicBezTo>
                  <a:cubicBezTo>
                    <a:pt x="12064" y="36537"/>
                    <a:pt x="10337" y="37401"/>
                    <a:pt x="8483" y="37655"/>
                  </a:cubicBezTo>
                  <a:cubicBezTo>
                    <a:pt x="7086" y="37845"/>
                    <a:pt x="5676" y="37655"/>
                    <a:pt x="4394" y="37109"/>
                  </a:cubicBezTo>
                  <a:cubicBezTo>
                    <a:pt x="3581" y="36766"/>
                    <a:pt x="2882" y="36220"/>
                    <a:pt x="2349" y="35521"/>
                  </a:cubicBezTo>
                  <a:cubicBezTo>
                    <a:pt x="1866" y="35013"/>
                    <a:pt x="1752" y="34721"/>
                    <a:pt x="1777" y="3469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9" name="Free Form 3354">
              <a:extLst>
                <a:ext uri="{FF2B5EF4-FFF2-40B4-BE49-F238E27FC236}">
                  <a16:creationId xmlns:a16="http://schemas.microsoft.com/office/drawing/2014/main" id="{5510FDDC-DECD-71FC-D28E-94C745B98A3A}"/>
                </a:ext>
              </a:extLst>
            </p:cNvPr>
            <p:cNvSpPr/>
            <p:nvPr/>
          </p:nvSpPr>
          <p:spPr>
            <a:xfrm>
              <a:off x="25682404" y="29878185"/>
              <a:ext cx="14453" cy="17132"/>
            </a:xfrm>
            <a:custGeom>
              <a:avLst/>
              <a:gdLst/>
              <a:ahLst/>
              <a:cxnLst/>
              <a:rect l="0" t="0" r="0" b="0"/>
              <a:pathLst>
                <a:path w="14452" h="17132">
                  <a:moveTo>
                    <a:pt x="14452" y="16370"/>
                  </a:moveTo>
                  <a:cubicBezTo>
                    <a:pt x="14452" y="16370"/>
                    <a:pt x="13919" y="17132"/>
                    <a:pt x="12433" y="17132"/>
                  </a:cubicBezTo>
                  <a:cubicBezTo>
                    <a:pt x="10324" y="16954"/>
                    <a:pt x="8547" y="15481"/>
                    <a:pt x="7975" y="13449"/>
                  </a:cubicBezTo>
                  <a:cubicBezTo>
                    <a:pt x="7581" y="12115"/>
                    <a:pt x="7442" y="10731"/>
                    <a:pt x="7581" y="9359"/>
                  </a:cubicBezTo>
                  <a:cubicBezTo>
                    <a:pt x="7581" y="7886"/>
                    <a:pt x="7975" y="6375"/>
                    <a:pt x="7899" y="4902"/>
                  </a:cubicBezTo>
                  <a:cubicBezTo>
                    <a:pt x="7873" y="4178"/>
                    <a:pt x="7670" y="3467"/>
                    <a:pt x="7302" y="2857"/>
                  </a:cubicBezTo>
                  <a:cubicBezTo>
                    <a:pt x="6908" y="2260"/>
                    <a:pt x="6311" y="1841"/>
                    <a:pt x="5626" y="1663"/>
                  </a:cubicBezTo>
                  <a:cubicBezTo>
                    <a:pt x="4267" y="1409"/>
                    <a:pt x="3238" y="3060"/>
                    <a:pt x="2781" y="4724"/>
                  </a:cubicBezTo>
                  <a:cubicBezTo>
                    <a:pt x="1803" y="8762"/>
                    <a:pt x="1523" y="12941"/>
                    <a:pt x="1955" y="17081"/>
                  </a:cubicBezTo>
                  <a:lnTo>
                    <a:pt x="876" y="17081"/>
                  </a:lnTo>
                  <a:cubicBezTo>
                    <a:pt x="546" y="12852"/>
                    <a:pt x="292" y="9334"/>
                    <a:pt x="139" y="6857"/>
                  </a:cubicBezTo>
                  <a:cubicBezTo>
                    <a:pt x="0" y="5562"/>
                    <a:pt x="0" y="4241"/>
                    <a:pt x="139" y="2946"/>
                  </a:cubicBezTo>
                  <a:cubicBezTo>
                    <a:pt x="520" y="4190"/>
                    <a:pt x="749" y="5486"/>
                    <a:pt x="825" y="6807"/>
                  </a:cubicBezTo>
                  <a:cubicBezTo>
                    <a:pt x="1168" y="9245"/>
                    <a:pt x="1562" y="12763"/>
                    <a:pt x="2019" y="16967"/>
                  </a:cubicBezTo>
                  <a:lnTo>
                    <a:pt x="939" y="16967"/>
                  </a:lnTo>
                  <a:cubicBezTo>
                    <a:pt x="393" y="12699"/>
                    <a:pt x="647" y="8369"/>
                    <a:pt x="1676" y="4190"/>
                  </a:cubicBezTo>
                  <a:cubicBezTo>
                    <a:pt x="1854" y="3162"/>
                    <a:pt x="2273" y="2197"/>
                    <a:pt x="2895" y="1346"/>
                  </a:cubicBezTo>
                  <a:cubicBezTo>
                    <a:pt x="3555" y="457"/>
                    <a:pt x="4635" y="0"/>
                    <a:pt x="5740" y="126"/>
                  </a:cubicBezTo>
                  <a:cubicBezTo>
                    <a:pt x="7670" y="660"/>
                    <a:pt x="9004" y="2438"/>
                    <a:pt x="8940" y="4444"/>
                  </a:cubicBezTo>
                  <a:cubicBezTo>
                    <a:pt x="8902" y="5981"/>
                    <a:pt x="8750" y="7518"/>
                    <a:pt x="8496" y="9042"/>
                  </a:cubicBezTo>
                  <a:cubicBezTo>
                    <a:pt x="8343" y="10312"/>
                    <a:pt x="8420" y="11582"/>
                    <a:pt x="8712" y="12814"/>
                  </a:cubicBezTo>
                  <a:cubicBezTo>
                    <a:pt x="9131" y="14604"/>
                    <a:pt x="10566" y="15976"/>
                    <a:pt x="12382" y="16281"/>
                  </a:cubicBezTo>
                  <a:cubicBezTo>
                    <a:pt x="13055" y="16459"/>
                    <a:pt x="13766" y="16497"/>
                    <a:pt x="14452" y="1637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0" name="Free Form 3355">
              <a:extLst>
                <a:ext uri="{FF2B5EF4-FFF2-40B4-BE49-F238E27FC236}">
                  <a16:creationId xmlns:a16="http://schemas.microsoft.com/office/drawing/2014/main" id="{9DC02899-152D-05FA-CFC9-CF9E0D295C42}"/>
                </a:ext>
              </a:extLst>
            </p:cNvPr>
            <p:cNvSpPr/>
            <p:nvPr/>
          </p:nvSpPr>
          <p:spPr>
            <a:xfrm>
              <a:off x="25644875" y="30235701"/>
              <a:ext cx="139622" cy="84747"/>
            </a:xfrm>
            <a:custGeom>
              <a:avLst/>
              <a:gdLst/>
              <a:ahLst/>
              <a:cxnLst/>
              <a:rect l="0" t="0" r="0" b="0"/>
              <a:pathLst>
                <a:path w="139622" h="84746">
                  <a:moveTo>
                    <a:pt x="118756" y="20776"/>
                  </a:moveTo>
                  <a:cubicBezTo>
                    <a:pt x="118756" y="20776"/>
                    <a:pt x="109612" y="9423"/>
                    <a:pt x="97433" y="6870"/>
                  </a:cubicBezTo>
                  <a:cubicBezTo>
                    <a:pt x="85254" y="4305"/>
                    <a:pt x="70458" y="11213"/>
                    <a:pt x="64820" y="6870"/>
                  </a:cubicBezTo>
                  <a:cubicBezTo>
                    <a:pt x="59168" y="2527"/>
                    <a:pt x="40880" y="0"/>
                    <a:pt x="38721" y="6273"/>
                  </a:cubicBezTo>
                  <a:cubicBezTo>
                    <a:pt x="36562" y="12547"/>
                    <a:pt x="39598" y="19926"/>
                    <a:pt x="51751" y="20776"/>
                  </a:cubicBezTo>
                  <a:cubicBezTo>
                    <a:pt x="59689" y="21424"/>
                    <a:pt x="67550" y="22732"/>
                    <a:pt x="75259" y="24688"/>
                  </a:cubicBezTo>
                  <a:cubicBezTo>
                    <a:pt x="75259" y="24688"/>
                    <a:pt x="10451" y="64731"/>
                    <a:pt x="6959" y="69074"/>
                  </a:cubicBezTo>
                  <a:cubicBezTo>
                    <a:pt x="3467" y="73417"/>
                    <a:pt x="0" y="77761"/>
                    <a:pt x="3060" y="81253"/>
                  </a:cubicBezTo>
                  <a:cubicBezTo>
                    <a:pt x="6134" y="84746"/>
                    <a:pt x="17856" y="76021"/>
                    <a:pt x="17856" y="76021"/>
                  </a:cubicBezTo>
                  <a:lnTo>
                    <a:pt x="47408" y="72528"/>
                  </a:lnTo>
                  <a:cubicBezTo>
                    <a:pt x="56730" y="74573"/>
                    <a:pt x="66280" y="75310"/>
                    <a:pt x="75805" y="74713"/>
                  </a:cubicBezTo>
                  <a:cubicBezTo>
                    <a:pt x="88860" y="73417"/>
                    <a:pt x="102767" y="63842"/>
                    <a:pt x="102767" y="63842"/>
                  </a:cubicBezTo>
                  <a:lnTo>
                    <a:pt x="133208" y="59041"/>
                  </a:lnTo>
                  <a:cubicBezTo>
                    <a:pt x="133208" y="59041"/>
                    <a:pt x="139622" y="28180"/>
                    <a:pt x="118756" y="20776"/>
                  </a:cubicBez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1" name="Free Form 3356">
              <a:extLst>
                <a:ext uri="{FF2B5EF4-FFF2-40B4-BE49-F238E27FC236}">
                  <a16:creationId xmlns:a16="http://schemas.microsoft.com/office/drawing/2014/main" id="{4B625362-0E6E-7FE9-51D8-2FFF5EB0C035}"/>
                </a:ext>
              </a:extLst>
            </p:cNvPr>
            <p:cNvSpPr/>
            <p:nvPr/>
          </p:nvSpPr>
          <p:spPr>
            <a:xfrm>
              <a:off x="25663347" y="30295252"/>
              <a:ext cx="41859" cy="16028"/>
            </a:xfrm>
            <a:custGeom>
              <a:avLst/>
              <a:gdLst/>
              <a:ahLst/>
              <a:cxnLst/>
              <a:rect l="0" t="0" r="0" b="0"/>
              <a:pathLst>
                <a:path w="41858" h="16027">
                  <a:moveTo>
                    <a:pt x="774" y="15963"/>
                  </a:moveTo>
                  <a:cubicBezTo>
                    <a:pt x="914" y="15963"/>
                    <a:pt x="774" y="15252"/>
                    <a:pt x="774" y="14084"/>
                  </a:cubicBezTo>
                  <a:cubicBezTo>
                    <a:pt x="952" y="12445"/>
                    <a:pt x="1638" y="10896"/>
                    <a:pt x="2730" y="9664"/>
                  </a:cubicBezTo>
                  <a:cubicBezTo>
                    <a:pt x="6845" y="5829"/>
                    <a:pt x="12064" y="3403"/>
                    <a:pt x="17640" y="2705"/>
                  </a:cubicBezTo>
                  <a:cubicBezTo>
                    <a:pt x="23278" y="1854"/>
                    <a:pt x="28993" y="1689"/>
                    <a:pt x="34670" y="2222"/>
                  </a:cubicBezTo>
                  <a:cubicBezTo>
                    <a:pt x="37058" y="2552"/>
                    <a:pt x="39458" y="2616"/>
                    <a:pt x="41858" y="2425"/>
                  </a:cubicBezTo>
                  <a:cubicBezTo>
                    <a:pt x="39598" y="1574"/>
                    <a:pt x="37223" y="1066"/>
                    <a:pt x="34810" y="914"/>
                  </a:cubicBezTo>
                  <a:cubicBezTo>
                    <a:pt x="29019" y="0"/>
                    <a:pt x="23113" y="0"/>
                    <a:pt x="17322" y="914"/>
                  </a:cubicBezTo>
                  <a:cubicBezTo>
                    <a:pt x="11353" y="1650"/>
                    <a:pt x="5841" y="4470"/>
                    <a:pt x="1739" y="8864"/>
                  </a:cubicBezTo>
                  <a:cubicBezTo>
                    <a:pt x="584" y="10363"/>
                    <a:pt x="0" y="12229"/>
                    <a:pt x="88" y="14122"/>
                  </a:cubicBezTo>
                  <a:cubicBezTo>
                    <a:pt x="241" y="15392"/>
                    <a:pt x="660" y="16027"/>
                    <a:pt x="774" y="15963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2" name="Free Form 3357">
              <a:extLst>
                <a:ext uri="{FF2B5EF4-FFF2-40B4-BE49-F238E27FC236}">
                  <a16:creationId xmlns:a16="http://schemas.microsoft.com/office/drawing/2014/main" id="{B35A0127-610D-A587-6D9C-A4888FAB3EB0}"/>
                </a:ext>
              </a:extLst>
            </p:cNvPr>
            <p:cNvSpPr/>
            <p:nvPr/>
          </p:nvSpPr>
          <p:spPr>
            <a:xfrm>
              <a:off x="25684139" y="30282544"/>
              <a:ext cx="20955" cy="12369"/>
            </a:xfrm>
            <a:custGeom>
              <a:avLst/>
              <a:gdLst/>
              <a:ahLst/>
              <a:cxnLst/>
              <a:rect l="0" t="0" r="0" b="0"/>
              <a:pathLst>
                <a:path w="20954" h="12369">
                  <a:moveTo>
                    <a:pt x="253" y="11950"/>
                  </a:moveTo>
                  <a:cubicBezTo>
                    <a:pt x="482" y="12369"/>
                    <a:pt x="5283" y="10159"/>
                    <a:pt x="10921" y="6984"/>
                  </a:cubicBezTo>
                  <a:cubicBezTo>
                    <a:pt x="16573" y="3797"/>
                    <a:pt x="20954" y="850"/>
                    <a:pt x="20688" y="419"/>
                  </a:cubicBezTo>
                  <a:cubicBezTo>
                    <a:pt x="20434" y="0"/>
                    <a:pt x="15671" y="2184"/>
                    <a:pt x="10020" y="5359"/>
                  </a:cubicBezTo>
                  <a:cubicBezTo>
                    <a:pt x="4368" y="8547"/>
                    <a:pt x="0" y="11493"/>
                    <a:pt x="253" y="11950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3" name="Free Form 3358">
              <a:extLst>
                <a:ext uri="{FF2B5EF4-FFF2-40B4-BE49-F238E27FC236}">
                  <a16:creationId xmlns:a16="http://schemas.microsoft.com/office/drawing/2014/main" id="{C659AF7C-F593-31C6-78CB-D984BB8AF509}"/>
                </a:ext>
              </a:extLst>
            </p:cNvPr>
            <p:cNvSpPr/>
            <p:nvPr/>
          </p:nvSpPr>
          <p:spPr>
            <a:xfrm>
              <a:off x="25708496" y="30271103"/>
              <a:ext cx="7671" cy="21628"/>
            </a:xfrm>
            <a:custGeom>
              <a:avLst/>
              <a:gdLst/>
              <a:ahLst/>
              <a:cxnLst/>
              <a:rect l="0" t="0" r="0" b="0"/>
              <a:pathLst>
                <a:path w="7670" h="21627">
                  <a:moveTo>
                    <a:pt x="7238" y="393"/>
                  </a:moveTo>
                  <a:cubicBezTo>
                    <a:pt x="6984" y="0"/>
                    <a:pt x="2730" y="3632"/>
                    <a:pt x="1358" y="10109"/>
                  </a:cubicBezTo>
                  <a:cubicBezTo>
                    <a:pt x="0" y="16573"/>
                    <a:pt x="2298" y="21627"/>
                    <a:pt x="2692" y="21462"/>
                  </a:cubicBezTo>
                  <a:cubicBezTo>
                    <a:pt x="3098" y="21284"/>
                    <a:pt x="1841" y="16433"/>
                    <a:pt x="3149" y="10578"/>
                  </a:cubicBezTo>
                  <a:cubicBezTo>
                    <a:pt x="4457" y="4737"/>
                    <a:pt x="7670" y="761"/>
                    <a:pt x="7238" y="393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4" name="Free Form 3359">
              <a:extLst>
                <a:ext uri="{FF2B5EF4-FFF2-40B4-BE49-F238E27FC236}">
                  <a16:creationId xmlns:a16="http://schemas.microsoft.com/office/drawing/2014/main" id="{84B8444D-C455-9613-83D0-0BFF4F31CD44}"/>
                </a:ext>
              </a:extLst>
            </p:cNvPr>
            <p:cNvSpPr/>
            <p:nvPr/>
          </p:nvSpPr>
          <p:spPr>
            <a:xfrm>
              <a:off x="25990244" y="30020812"/>
              <a:ext cx="280870" cy="285264"/>
            </a:xfrm>
            <a:custGeom>
              <a:avLst/>
              <a:gdLst/>
              <a:ahLst/>
              <a:cxnLst/>
              <a:rect l="0" t="0" r="0" b="0"/>
              <a:pathLst>
                <a:path w="280870" h="285264">
                  <a:moveTo>
                    <a:pt x="280870" y="36931"/>
                  </a:moveTo>
                  <a:lnTo>
                    <a:pt x="187208" y="14922"/>
                  </a:lnTo>
                  <a:lnTo>
                    <a:pt x="178382" y="0"/>
                  </a:lnTo>
                  <a:lnTo>
                    <a:pt x="84428" y="1498"/>
                  </a:lnTo>
                  <a:lnTo>
                    <a:pt x="62597" y="24866"/>
                  </a:lnTo>
                  <a:lnTo>
                    <a:pt x="0" y="55587"/>
                  </a:lnTo>
                  <a:lnTo>
                    <a:pt x="52552" y="276209"/>
                  </a:lnTo>
                  <a:lnTo>
                    <a:pt x="228889" y="285264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5" name="Free Form 3360">
              <a:extLst>
                <a:ext uri="{FF2B5EF4-FFF2-40B4-BE49-F238E27FC236}">
                  <a16:creationId xmlns:a16="http://schemas.microsoft.com/office/drawing/2014/main" id="{D76DDE75-CF43-D186-33ED-516A6D47A28C}"/>
                </a:ext>
              </a:extLst>
            </p:cNvPr>
            <p:cNvSpPr/>
            <p:nvPr/>
          </p:nvSpPr>
          <p:spPr>
            <a:xfrm>
              <a:off x="25755570" y="30069446"/>
              <a:ext cx="261134" cy="266189"/>
            </a:xfrm>
            <a:custGeom>
              <a:avLst/>
              <a:gdLst/>
              <a:ahLst/>
              <a:cxnLst/>
              <a:rect l="0" t="0" r="0" b="0"/>
              <a:pathLst>
                <a:path w="261134" h="266189">
                  <a:moveTo>
                    <a:pt x="20865" y="166165"/>
                  </a:moveTo>
                  <a:lnTo>
                    <a:pt x="91845" y="172921"/>
                  </a:lnTo>
                  <a:cubicBezTo>
                    <a:pt x="100938" y="170381"/>
                    <a:pt x="110552" y="170381"/>
                    <a:pt x="119632" y="172921"/>
                  </a:cubicBezTo>
                  <a:cubicBezTo>
                    <a:pt x="133259" y="177353"/>
                    <a:pt x="155154" y="161364"/>
                    <a:pt x="155154" y="161364"/>
                  </a:cubicBezTo>
                  <a:lnTo>
                    <a:pt x="186040" y="115263"/>
                  </a:lnTo>
                  <a:cubicBezTo>
                    <a:pt x="186040" y="115263"/>
                    <a:pt x="199667" y="20573"/>
                    <a:pt x="215656" y="10502"/>
                  </a:cubicBezTo>
                  <a:cubicBezTo>
                    <a:pt x="231632" y="419"/>
                    <a:pt x="233029" y="0"/>
                    <a:pt x="233029" y="0"/>
                  </a:cubicBezTo>
                  <a:lnTo>
                    <a:pt x="261134" y="174369"/>
                  </a:lnTo>
                  <a:lnTo>
                    <a:pt x="223911" y="235404"/>
                  </a:lnTo>
                  <a:cubicBezTo>
                    <a:pt x="223911" y="235404"/>
                    <a:pt x="190790" y="266189"/>
                    <a:pt x="177188" y="265020"/>
                  </a:cubicBezTo>
                  <a:cubicBezTo>
                    <a:pt x="163586" y="263852"/>
                    <a:pt x="0" y="241538"/>
                    <a:pt x="0" y="241538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6" name="Free Form 3361">
              <a:extLst>
                <a:ext uri="{FF2B5EF4-FFF2-40B4-BE49-F238E27FC236}">
                  <a16:creationId xmlns:a16="http://schemas.microsoft.com/office/drawing/2014/main" id="{FF7691F5-F0C8-F922-AEB4-C59194832F77}"/>
                </a:ext>
              </a:extLst>
            </p:cNvPr>
            <p:cNvSpPr/>
            <p:nvPr/>
          </p:nvSpPr>
          <p:spPr>
            <a:xfrm>
              <a:off x="26127883" y="30017918"/>
              <a:ext cx="164412" cy="406637"/>
            </a:xfrm>
            <a:custGeom>
              <a:avLst/>
              <a:gdLst/>
              <a:ahLst/>
              <a:cxnLst/>
              <a:rect l="0" t="0" r="0" b="0"/>
              <a:pathLst>
                <a:path w="164412" h="406636">
                  <a:moveTo>
                    <a:pt x="71119" y="21742"/>
                  </a:moveTo>
                  <a:lnTo>
                    <a:pt x="39890" y="0"/>
                  </a:lnTo>
                  <a:lnTo>
                    <a:pt x="47954" y="33832"/>
                  </a:lnTo>
                  <a:lnTo>
                    <a:pt x="0" y="212951"/>
                  </a:lnTo>
                  <a:cubicBezTo>
                    <a:pt x="0" y="212951"/>
                    <a:pt x="4622" y="347074"/>
                    <a:pt x="2844" y="406636"/>
                  </a:cubicBezTo>
                  <a:lnTo>
                    <a:pt x="164412" y="406636"/>
                  </a:lnTo>
                  <a:lnTo>
                    <a:pt x="121486" y="333384"/>
                  </a:lnTo>
                  <a:lnTo>
                    <a:pt x="144791" y="37756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7" name="Free Form 3362">
              <a:extLst>
                <a:ext uri="{FF2B5EF4-FFF2-40B4-BE49-F238E27FC236}">
                  <a16:creationId xmlns:a16="http://schemas.microsoft.com/office/drawing/2014/main" id="{764360FD-41D2-8796-CF7A-213423DD6310}"/>
                </a:ext>
              </a:extLst>
            </p:cNvPr>
            <p:cNvSpPr/>
            <p:nvPr/>
          </p:nvSpPr>
          <p:spPr>
            <a:xfrm>
              <a:off x="25985416" y="30019731"/>
              <a:ext cx="151153" cy="404961"/>
            </a:xfrm>
            <a:custGeom>
              <a:avLst/>
              <a:gdLst/>
              <a:ahLst/>
              <a:cxnLst/>
              <a:rect l="0" t="0" r="0" b="0"/>
              <a:pathLst>
                <a:path w="151153" h="404960">
                  <a:moveTo>
                    <a:pt x="151153" y="404820"/>
                  </a:moveTo>
                  <a:lnTo>
                    <a:pt x="143978" y="205382"/>
                  </a:lnTo>
                  <a:cubicBezTo>
                    <a:pt x="143978" y="205382"/>
                    <a:pt x="99795" y="153249"/>
                    <a:pt x="92467" y="100786"/>
                  </a:cubicBezTo>
                  <a:cubicBezTo>
                    <a:pt x="85139" y="48322"/>
                    <a:pt x="82701" y="20180"/>
                    <a:pt x="82701" y="20180"/>
                  </a:cubicBezTo>
                  <a:lnTo>
                    <a:pt x="89267" y="0"/>
                  </a:lnTo>
                  <a:lnTo>
                    <a:pt x="64794" y="24637"/>
                  </a:lnTo>
                  <a:cubicBezTo>
                    <a:pt x="64794" y="24637"/>
                    <a:pt x="50278" y="29666"/>
                    <a:pt x="47192" y="30835"/>
                  </a:cubicBezTo>
                  <a:cubicBezTo>
                    <a:pt x="31114" y="36931"/>
                    <a:pt x="15366" y="43852"/>
                    <a:pt x="0" y="51561"/>
                  </a:cubicBezTo>
                  <a:lnTo>
                    <a:pt x="35432" y="326297"/>
                  </a:lnTo>
                  <a:cubicBezTo>
                    <a:pt x="35432" y="326297"/>
                    <a:pt x="14477" y="370099"/>
                    <a:pt x="0" y="404960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8" name="Free Form 3363">
              <a:extLst>
                <a:ext uri="{FF2B5EF4-FFF2-40B4-BE49-F238E27FC236}">
                  <a16:creationId xmlns:a16="http://schemas.microsoft.com/office/drawing/2014/main" id="{9DCEA835-CEBB-30FB-8E7F-355D19307C08}"/>
                </a:ext>
              </a:extLst>
            </p:cNvPr>
            <p:cNvSpPr/>
            <p:nvPr/>
          </p:nvSpPr>
          <p:spPr>
            <a:xfrm>
              <a:off x="25990257" y="30153170"/>
              <a:ext cx="33934" cy="194727"/>
            </a:xfrm>
            <a:custGeom>
              <a:avLst/>
              <a:gdLst/>
              <a:ahLst/>
              <a:cxnLst/>
              <a:rect l="0" t="0" r="0" b="0"/>
              <a:pathLst>
                <a:path w="33934" h="194727">
                  <a:moveTo>
                    <a:pt x="28180" y="166279"/>
                  </a:moveTo>
                  <a:cubicBezTo>
                    <a:pt x="29831" y="175080"/>
                    <a:pt x="31190" y="182179"/>
                    <a:pt x="32206" y="187094"/>
                  </a:cubicBezTo>
                  <a:lnTo>
                    <a:pt x="33400" y="192771"/>
                  </a:lnTo>
                  <a:cubicBezTo>
                    <a:pt x="33514" y="193431"/>
                    <a:pt x="33680" y="194092"/>
                    <a:pt x="33908" y="194727"/>
                  </a:cubicBezTo>
                  <a:cubicBezTo>
                    <a:pt x="33934" y="194053"/>
                    <a:pt x="33870" y="193368"/>
                    <a:pt x="33718" y="192707"/>
                  </a:cubicBezTo>
                  <a:cubicBezTo>
                    <a:pt x="33489" y="191234"/>
                    <a:pt x="33210" y="189367"/>
                    <a:pt x="32829" y="187030"/>
                  </a:cubicBezTo>
                  <a:cubicBezTo>
                    <a:pt x="31990" y="181887"/>
                    <a:pt x="30797" y="174800"/>
                    <a:pt x="29349" y="166139"/>
                  </a:cubicBezTo>
                  <a:cubicBezTo>
                    <a:pt x="26364" y="148309"/>
                    <a:pt x="22275" y="124039"/>
                    <a:pt x="17792" y="97230"/>
                  </a:cubicBezTo>
                  <a:cubicBezTo>
                    <a:pt x="13296" y="70433"/>
                    <a:pt x="9016" y="45986"/>
                    <a:pt x="5727" y="28384"/>
                  </a:cubicBezTo>
                  <a:cubicBezTo>
                    <a:pt x="4102" y="19608"/>
                    <a:pt x="2717" y="12483"/>
                    <a:pt x="1714" y="7607"/>
                  </a:cubicBezTo>
                  <a:cubicBezTo>
                    <a:pt x="1231" y="5270"/>
                    <a:pt x="838" y="3428"/>
                    <a:pt x="533" y="1930"/>
                  </a:cubicBezTo>
                  <a:cubicBezTo>
                    <a:pt x="419" y="1269"/>
                    <a:pt x="241" y="622"/>
                    <a:pt x="12" y="0"/>
                  </a:cubicBezTo>
                  <a:cubicBezTo>
                    <a:pt x="0" y="660"/>
                    <a:pt x="50" y="1333"/>
                    <a:pt x="190" y="1981"/>
                  </a:cubicBezTo>
                  <a:cubicBezTo>
                    <a:pt x="444" y="3454"/>
                    <a:pt x="723" y="5359"/>
                    <a:pt x="1092" y="7658"/>
                  </a:cubicBezTo>
                  <a:cubicBezTo>
                    <a:pt x="1943" y="12801"/>
                    <a:pt x="3136" y="19862"/>
                    <a:pt x="4584" y="28523"/>
                  </a:cubicBezTo>
                  <a:cubicBezTo>
                    <a:pt x="7569" y="46354"/>
                    <a:pt x="11633" y="70636"/>
                    <a:pt x="16141" y="9743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9" name="Free Form 3364">
              <a:extLst>
                <a:ext uri="{FF2B5EF4-FFF2-40B4-BE49-F238E27FC236}">
                  <a16:creationId xmlns:a16="http://schemas.microsoft.com/office/drawing/2014/main" id="{243F02DB-09C0-6832-789E-BFBF64A7DB2C}"/>
                </a:ext>
              </a:extLst>
            </p:cNvPr>
            <p:cNvSpPr/>
            <p:nvPr/>
          </p:nvSpPr>
          <p:spPr>
            <a:xfrm>
              <a:off x="26131630" y="30039741"/>
              <a:ext cx="102437" cy="226845"/>
            </a:xfrm>
            <a:custGeom>
              <a:avLst/>
              <a:gdLst/>
              <a:ahLst/>
              <a:cxnLst/>
              <a:rect l="0" t="0" r="0" b="0"/>
              <a:pathLst>
                <a:path w="102437" h="226844">
                  <a:moveTo>
                    <a:pt x="0" y="226844"/>
                  </a:moveTo>
                  <a:cubicBezTo>
                    <a:pt x="596" y="226362"/>
                    <a:pt x="1142" y="225828"/>
                    <a:pt x="1650" y="225257"/>
                  </a:cubicBezTo>
                  <a:lnTo>
                    <a:pt x="6108" y="220431"/>
                  </a:lnTo>
                  <a:lnTo>
                    <a:pt x="22453" y="202283"/>
                  </a:lnTo>
                  <a:lnTo>
                    <a:pt x="77850" y="139825"/>
                  </a:lnTo>
                  <a:lnTo>
                    <a:pt x="78193" y="139431"/>
                  </a:lnTo>
                  <a:lnTo>
                    <a:pt x="78053" y="138949"/>
                  </a:lnTo>
                  <a:lnTo>
                    <a:pt x="69239" y="107237"/>
                  </a:lnTo>
                  <a:cubicBezTo>
                    <a:pt x="67906" y="102500"/>
                    <a:pt x="66598" y="97827"/>
                    <a:pt x="65328" y="93204"/>
                  </a:cubicBezTo>
                  <a:lnTo>
                    <a:pt x="64451" y="94436"/>
                  </a:lnTo>
                  <a:lnTo>
                    <a:pt x="101192" y="93013"/>
                  </a:lnTo>
                  <a:lnTo>
                    <a:pt x="102437" y="93013"/>
                  </a:lnTo>
                  <a:lnTo>
                    <a:pt x="102005" y="91845"/>
                  </a:lnTo>
                  <a:lnTo>
                    <a:pt x="77367" y="25729"/>
                  </a:lnTo>
                  <a:cubicBezTo>
                    <a:pt x="74332" y="17741"/>
                    <a:pt x="71919" y="11328"/>
                    <a:pt x="70154" y="6730"/>
                  </a:cubicBezTo>
                  <a:lnTo>
                    <a:pt x="68160" y="1701"/>
                  </a:lnTo>
                  <a:cubicBezTo>
                    <a:pt x="67956" y="1117"/>
                    <a:pt x="67690" y="546"/>
                    <a:pt x="67372" y="0"/>
                  </a:cubicBezTo>
                  <a:cubicBezTo>
                    <a:pt x="67461" y="634"/>
                    <a:pt x="67639" y="1244"/>
                    <a:pt x="67880" y="1816"/>
                  </a:cubicBezTo>
                  <a:cubicBezTo>
                    <a:pt x="68312" y="3124"/>
                    <a:pt x="68884" y="4825"/>
                    <a:pt x="69582" y="6934"/>
                  </a:cubicBezTo>
                  <a:cubicBezTo>
                    <a:pt x="71233" y="11582"/>
                    <a:pt x="73506" y="18059"/>
                    <a:pt x="76313" y="26123"/>
                  </a:cubicBezTo>
                  <a:lnTo>
                    <a:pt x="100303" y="92607"/>
                  </a:lnTo>
                  <a:lnTo>
                    <a:pt x="101103" y="91388"/>
                  </a:lnTo>
                  <a:lnTo>
                    <a:pt x="64362" y="92696"/>
                  </a:lnTo>
                  <a:lnTo>
                    <a:pt x="63143" y="92696"/>
                  </a:lnTo>
                  <a:lnTo>
                    <a:pt x="63486" y="93864"/>
                  </a:lnTo>
                  <a:cubicBezTo>
                    <a:pt x="64769" y="98462"/>
                    <a:pt x="66064" y="103135"/>
                    <a:pt x="67372" y="107885"/>
                  </a:cubicBezTo>
                  <a:cubicBezTo>
                    <a:pt x="70433" y="118819"/>
                    <a:pt x="73392" y="129462"/>
                    <a:pt x="76224" y="139596"/>
                  </a:cubicBezTo>
                  <a:lnTo>
                    <a:pt x="76427" y="138720"/>
                  </a:lnTo>
                  <a:lnTo>
                    <a:pt x="21551" y="201521"/>
                  </a:lnTo>
                  <a:lnTo>
                    <a:pt x="5587" y="220025"/>
                  </a:lnTo>
                  <a:cubicBezTo>
                    <a:pt x="3860" y="222133"/>
                    <a:pt x="2438" y="223784"/>
                    <a:pt x="1396" y="225054"/>
                  </a:cubicBezTo>
                  <a:cubicBezTo>
                    <a:pt x="876" y="225613"/>
                    <a:pt x="406" y="226209"/>
                    <a:pt x="0" y="22684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0" name="Free Form 3365">
              <a:extLst>
                <a:ext uri="{FF2B5EF4-FFF2-40B4-BE49-F238E27FC236}">
                  <a16:creationId xmlns:a16="http://schemas.microsoft.com/office/drawing/2014/main" id="{34E81111-1892-2CBE-EAB1-F6973A3AFD45}"/>
                </a:ext>
              </a:extLst>
            </p:cNvPr>
            <p:cNvSpPr/>
            <p:nvPr/>
          </p:nvSpPr>
          <p:spPr>
            <a:xfrm>
              <a:off x="26129296" y="30222130"/>
              <a:ext cx="7328" cy="202449"/>
            </a:xfrm>
            <a:custGeom>
              <a:avLst/>
              <a:gdLst/>
              <a:ahLst/>
              <a:cxnLst/>
              <a:rect l="0" t="0" r="0" b="0"/>
              <a:pathLst>
                <a:path w="7327" h="202448">
                  <a:moveTo>
                    <a:pt x="6819" y="202448"/>
                  </a:moveTo>
                  <a:cubicBezTo>
                    <a:pt x="7327" y="202448"/>
                    <a:pt x="6362" y="157021"/>
                    <a:pt x="4635" y="101205"/>
                  </a:cubicBezTo>
                  <a:cubicBezTo>
                    <a:pt x="2895" y="45389"/>
                    <a:pt x="1079" y="0"/>
                    <a:pt x="546" y="25"/>
                  </a:cubicBezTo>
                  <a:cubicBezTo>
                    <a:pt x="0" y="50"/>
                    <a:pt x="977" y="45452"/>
                    <a:pt x="2705" y="101268"/>
                  </a:cubicBezTo>
                  <a:cubicBezTo>
                    <a:pt x="4432" y="157084"/>
                    <a:pt x="6286" y="202448"/>
                    <a:pt x="6819" y="2024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1" name="Free Form 3366">
              <a:extLst>
                <a:ext uri="{FF2B5EF4-FFF2-40B4-BE49-F238E27FC236}">
                  <a16:creationId xmlns:a16="http://schemas.microsoft.com/office/drawing/2014/main" id="{AA87FD7C-3387-B2D9-0F99-1CC28D608714}"/>
                </a:ext>
              </a:extLst>
            </p:cNvPr>
            <p:cNvSpPr/>
            <p:nvPr/>
          </p:nvSpPr>
          <p:spPr>
            <a:xfrm>
              <a:off x="26036640" y="30043236"/>
              <a:ext cx="95440" cy="228179"/>
            </a:xfrm>
            <a:custGeom>
              <a:avLst/>
              <a:gdLst/>
              <a:ahLst/>
              <a:cxnLst/>
              <a:rect l="0" t="0" r="0" b="0"/>
              <a:pathLst>
                <a:path w="95439" h="228178">
                  <a:moveTo>
                    <a:pt x="13792" y="0"/>
                  </a:moveTo>
                  <a:cubicBezTo>
                    <a:pt x="13588" y="685"/>
                    <a:pt x="13449" y="1384"/>
                    <a:pt x="13398" y="2095"/>
                  </a:cubicBezTo>
                  <a:cubicBezTo>
                    <a:pt x="13169" y="3657"/>
                    <a:pt x="12852" y="5702"/>
                    <a:pt x="12483" y="8229"/>
                  </a:cubicBezTo>
                  <a:cubicBezTo>
                    <a:pt x="11772" y="13906"/>
                    <a:pt x="10756" y="21488"/>
                    <a:pt x="9651" y="30949"/>
                  </a:cubicBezTo>
                  <a:cubicBezTo>
                    <a:pt x="7200" y="50596"/>
                    <a:pt x="3975" y="77824"/>
                    <a:pt x="0" y="108939"/>
                  </a:cubicBezTo>
                  <a:lnTo>
                    <a:pt x="0" y="110209"/>
                  </a:lnTo>
                  <a:lnTo>
                    <a:pt x="1244" y="109980"/>
                  </a:lnTo>
                  <a:lnTo>
                    <a:pt x="21602" y="106488"/>
                  </a:lnTo>
                  <a:lnTo>
                    <a:pt x="20548" y="105129"/>
                  </a:lnTo>
                  <a:cubicBezTo>
                    <a:pt x="19329" y="107974"/>
                    <a:pt x="17995" y="110806"/>
                    <a:pt x="16687" y="113816"/>
                  </a:cubicBezTo>
                  <a:lnTo>
                    <a:pt x="9055" y="130846"/>
                  </a:lnTo>
                  <a:lnTo>
                    <a:pt x="8801" y="131418"/>
                  </a:lnTo>
                  <a:lnTo>
                    <a:pt x="9194" y="131875"/>
                  </a:lnTo>
                  <a:lnTo>
                    <a:pt x="65632" y="197317"/>
                  </a:lnTo>
                  <a:lnTo>
                    <a:pt x="82663" y="216596"/>
                  </a:lnTo>
                  <a:lnTo>
                    <a:pt x="87298" y="221726"/>
                  </a:lnTo>
                  <a:cubicBezTo>
                    <a:pt x="88378" y="222895"/>
                    <a:pt x="95388" y="228178"/>
                    <a:pt x="95414" y="228114"/>
                  </a:cubicBezTo>
                  <a:cubicBezTo>
                    <a:pt x="95439" y="228064"/>
                    <a:pt x="88543" y="222755"/>
                    <a:pt x="87578" y="221498"/>
                  </a:cubicBezTo>
                  <a:lnTo>
                    <a:pt x="83209" y="216138"/>
                  </a:lnTo>
                  <a:lnTo>
                    <a:pt x="66737" y="196492"/>
                  </a:lnTo>
                  <a:cubicBezTo>
                    <a:pt x="52552" y="179741"/>
                    <a:pt x="32930" y="156741"/>
                    <a:pt x="10782" y="130630"/>
                  </a:cubicBezTo>
                  <a:lnTo>
                    <a:pt x="10782" y="131621"/>
                  </a:lnTo>
                  <a:cubicBezTo>
                    <a:pt x="13258" y="126173"/>
                    <a:pt x="15811" y="120267"/>
                    <a:pt x="18452" y="114590"/>
                  </a:cubicBezTo>
                  <a:cubicBezTo>
                    <a:pt x="19748" y="111746"/>
                    <a:pt x="21081" y="108647"/>
                    <a:pt x="22313" y="105904"/>
                  </a:cubicBezTo>
                  <a:lnTo>
                    <a:pt x="23050" y="104253"/>
                  </a:lnTo>
                  <a:lnTo>
                    <a:pt x="21284" y="104557"/>
                  </a:lnTo>
                  <a:lnTo>
                    <a:pt x="927" y="108113"/>
                  </a:lnTo>
                  <a:lnTo>
                    <a:pt x="2006" y="109129"/>
                  </a:lnTo>
                  <a:cubicBezTo>
                    <a:pt x="5587" y="77900"/>
                    <a:pt x="8737" y="50735"/>
                    <a:pt x="10985" y="31089"/>
                  </a:cubicBezTo>
                  <a:cubicBezTo>
                    <a:pt x="12001" y="21488"/>
                    <a:pt x="12826" y="13741"/>
                    <a:pt x="13423" y="8178"/>
                  </a:cubicBezTo>
                  <a:cubicBezTo>
                    <a:pt x="13677" y="5651"/>
                    <a:pt x="13855" y="3606"/>
                    <a:pt x="13995" y="2044"/>
                  </a:cubicBezTo>
                  <a:cubicBezTo>
                    <a:pt x="13995" y="1358"/>
                    <a:pt x="13931" y="673"/>
                    <a:pt x="13792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2" name="Free Form 3367">
              <a:extLst>
                <a:ext uri="{FF2B5EF4-FFF2-40B4-BE49-F238E27FC236}">
                  <a16:creationId xmlns:a16="http://schemas.microsoft.com/office/drawing/2014/main" id="{F09EB2F8-5037-39BA-3F75-B3D3B2835F4E}"/>
                </a:ext>
              </a:extLst>
            </p:cNvPr>
            <p:cNvSpPr/>
            <p:nvPr/>
          </p:nvSpPr>
          <p:spPr>
            <a:xfrm>
              <a:off x="26131630" y="30131602"/>
              <a:ext cx="101155" cy="134987"/>
            </a:xfrm>
            <a:custGeom>
              <a:avLst/>
              <a:gdLst/>
              <a:ahLst/>
              <a:cxnLst/>
              <a:rect l="0" t="0" r="0" b="0"/>
              <a:pathLst>
                <a:path w="101154" h="134986">
                  <a:moveTo>
                    <a:pt x="101154" y="355"/>
                  </a:moveTo>
                  <a:cubicBezTo>
                    <a:pt x="100532" y="2374"/>
                    <a:pt x="87324" y="4394"/>
                    <a:pt x="85025" y="9956"/>
                  </a:cubicBezTo>
                  <a:cubicBezTo>
                    <a:pt x="82726" y="15519"/>
                    <a:pt x="83869" y="21881"/>
                    <a:pt x="85482" y="27673"/>
                  </a:cubicBezTo>
                  <a:cubicBezTo>
                    <a:pt x="87108" y="33464"/>
                    <a:pt x="89254" y="39331"/>
                    <a:pt x="88860" y="45351"/>
                  </a:cubicBezTo>
                  <a:cubicBezTo>
                    <a:pt x="88124" y="56146"/>
                    <a:pt x="79602" y="64540"/>
                    <a:pt x="71652" y="71868"/>
                  </a:cubicBezTo>
                  <a:cubicBezTo>
                    <a:pt x="49402" y="92315"/>
                    <a:pt x="22262" y="114451"/>
                    <a:pt x="0" y="134986"/>
                  </a:cubicBezTo>
                  <a:cubicBezTo>
                    <a:pt x="19697" y="109853"/>
                    <a:pt x="45427" y="83882"/>
                    <a:pt x="67194" y="60464"/>
                  </a:cubicBezTo>
                  <a:cubicBezTo>
                    <a:pt x="70687" y="57250"/>
                    <a:pt x="73405" y="53288"/>
                    <a:pt x="75119" y="48869"/>
                  </a:cubicBezTo>
                  <a:cubicBezTo>
                    <a:pt x="76846" y="43192"/>
                    <a:pt x="75119" y="37121"/>
                    <a:pt x="73481" y="31444"/>
                  </a:cubicBezTo>
                  <a:cubicBezTo>
                    <a:pt x="71246" y="23875"/>
                    <a:pt x="69011" y="16306"/>
                    <a:pt x="66775" y="8737"/>
                  </a:cubicBezTo>
                  <a:cubicBezTo>
                    <a:pt x="66204" y="6794"/>
                    <a:pt x="64959" y="3530"/>
                    <a:pt x="64642" y="2489"/>
                  </a:cubicBezTo>
                  <a:cubicBezTo>
                    <a:pt x="67372" y="1904"/>
                    <a:pt x="70141" y="1562"/>
                    <a:pt x="72935" y="1460"/>
                  </a:cubicBezTo>
                  <a:cubicBezTo>
                    <a:pt x="82307" y="419"/>
                    <a:pt x="91731" y="0"/>
                    <a:pt x="101154" y="215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3" name="Free Form 3368">
              <a:extLst>
                <a:ext uri="{FF2B5EF4-FFF2-40B4-BE49-F238E27FC236}">
                  <a16:creationId xmlns:a16="http://schemas.microsoft.com/office/drawing/2014/main" id="{D0154BE7-9C3E-9361-27B4-D076FD048D89}"/>
                </a:ext>
              </a:extLst>
            </p:cNvPr>
            <p:cNvSpPr/>
            <p:nvPr/>
          </p:nvSpPr>
          <p:spPr>
            <a:xfrm>
              <a:off x="26241696" y="30055671"/>
              <a:ext cx="133527" cy="309152"/>
            </a:xfrm>
            <a:custGeom>
              <a:avLst/>
              <a:gdLst/>
              <a:ahLst/>
              <a:cxnLst/>
              <a:rect l="0" t="0" r="0" b="0"/>
              <a:pathLst>
                <a:path w="133526" h="309152">
                  <a:moveTo>
                    <a:pt x="30949" y="0"/>
                  </a:moveTo>
                  <a:cubicBezTo>
                    <a:pt x="30949" y="0"/>
                    <a:pt x="61784" y="10845"/>
                    <a:pt x="71436" y="43865"/>
                  </a:cubicBezTo>
                  <a:cubicBezTo>
                    <a:pt x="81088" y="76884"/>
                    <a:pt x="88467" y="122871"/>
                    <a:pt x="98182" y="151750"/>
                  </a:cubicBezTo>
                  <a:cubicBezTo>
                    <a:pt x="107885" y="180617"/>
                    <a:pt x="100227" y="182979"/>
                    <a:pt x="105675" y="194612"/>
                  </a:cubicBezTo>
                  <a:cubicBezTo>
                    <a:pt x="111123" y="206258"/>
                    <a:pt x="133526" y="241805"/>
                    <a:pt x="116381" y="267979"/>
                  </a:cubicBezTo>
                  <a:cubicBezTo>
                    <a:pt x="99224" y="294154"/>
                    <a:pt x="82142" y="309152"/>
                    <a:pt x="50024" y="296376"/>
                  </a:cubicBezTo>
                  <a:cubicBezTo>
                    <a:pt x="31228" y="289048"/>
                    <a:pt x="14173" y="277834"/>
                    <a:pt x="0" y="263458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4" name="Free Form 3369">
              <a:extLst>
                <a:ext uri="{FF2B5EF4-FFF2-40B4-BE49-F238E27FC236}">
                  <a16:creationId xmlns:a16="http://schemas.microsoft.com/office/drawing/2014/main" id="{A54A435A-FF1F-F4B5-AF15-31E9A1BCDB87}"/>
                </a:ext>
              </a:extLst>
            </p:cNvPr>
            <p:cNvSpPr/>
            <p:nvPr/>
          </p:nvSpPr>
          <p:spPr>
            <a:xfrm>
              <a:off x="26251131" y="30116114"/>
              <a:ext cx="41389" cy="239698"/>
            </a:xfrm>
            <a:custGeom>
              <a:avLst/>
              <a:gdLst/>
              <a:ahLst/>
              <a:cxnLst/>
              <a:rect l="0" t="0" r="0" b="0"/>
              <a:pathLst>
                <a:path w="41388" h="239697">
                  <a:moveTo>
                    <a:pt x="40652" y="0"/>
                  </a:moveTo>
                  <a:cubicBezTo>
                    <a:pt x="40525" y="812"/>
                    <a:pt x="40461" y="1638"/>
                    <a:pt x="40487" y="2476"/>
                  </a:cubicBezTo>
                  <a:lnTo>
                    <a:pt x="40487" y="9562"/>
                  </a:lnTo>
                  <a:lnTo>
                    <a:pt x="40487" y="14706"/>
                  </a:lnTo>
                  <a:cubicBezTo>
                    <a:pt x="40487" y="16586"/>
                    <a:pt x="40195" y="18592"/>
                    <a:pt x="40029" y="20776"/>
                  </a:cubicBezTo>
                  <a:cubicBezTo>
                    <a:pt x="39661" y="25133"/>
                    <a:pt x="39458" y="30124"/>
                    <a:pt x="38582" y="35572"/>
                  </a:cubicBezTo>
                  <a:cubicBezTo>
                    <a:pt x="38213" y="38417"/>
                    <a:pt x="37807" y="41249"/>
                    <a:pt x="37413" y="44093"/>
                  </a:cubicBezTo>
                  <a:cubicBezTo>
                    <a:pt x="37020" y="46925"/>
                    <a:pt x="36308" y="50139"/>
                    <a:pt x="35737" y="53352"/>
                  </a:cubicBezTo>
                  <a:cubicBezTo>
                    <a:pt x="34696" y="59727"/>
                    <a:pt x="33045" y="66458"/>
                    <a:pt x="31457" y="73583"/>
                  </a:cubicBezTo>
                  <a:cubicBezTo>
                    <a:pt x="28041" y="87781"/>
                    <a:pt x="23761" y="103262"/>
                    <a:pt x="19164" y="119493"/>
                  </a:cubicBezTo>
                  <a:cubicBezTo>
                    <a:pt x="14566" y="135736"/>
                    <a:pt x="10439" y="151318"/>
                    <a:pt x="7238" y="165606"/>
                  </a:cubicBezTo>
                  <a:cubicBezTo>
                    <a:pt x="5791" y="172781"/>
                    <a:pt x="4394" y="179576"/>
                    <a:pt x="3340" y="186014"/>
                  </a:cubicBezTo>
                  <a:cubicBezTo>
                    <a:pt x="2857" y="189253"/>
                    <a:pt x="2298" y="192352"/>
                    <a:pt x="1930" y="195323"/>
                  </a:cubicBezTo>
                  <a:cubicBezTo>
                    <a:pt x="1562" y="198308"/>
                    <a:pt x="1333" y="201203"/>
                    <a:pt x="1041" y="203985"/>
                  </a:cubicBezTo>
                  <a:cubicBezTo>
                    <a:pt x="368" y="209471"/>
                    <a:pt x="368" y="214488"/>
                    <a:pt x="190" y="218869"/>
                  </a:cubicBezTo>
                  <a:cubicBezTo>
                    <a:pt x="190" y="221079"/>
                    <a:pt x="0" y="223098"/>
                    <a:pt x="25" y="224990"/>
                  </a:cubicBezTo>
                  <a:cubicBezTo>
                    <a:pt x="50" y="226895"/>
                    <a:pt x="190" y="228572"/>
                    <a:pt x="253" y="230134"/>
                  </a:cubicBezTo>
                  <a:cubicBezTo>
                    <a:pt x="419" y="232979"/>
                    <a:pt x="533" y="235442"/>
                    <a:pt x="647" y="237233"/>
                  </a:cubicBezTo>
                  <a:cubicBezTo>
                    <a:pt x="660" y="238058"/>
                    <a:pt x="749" y="238884"/>
                    <a:pt x="901" y="239697"/>
                  </a:cubicBezTo>
                  <a:cubicBezTo>
                    <a:pt x="965" y="238871"/>
                    <a:pt x="965" y="238033"/>
                    <a:pt x="901" y="237208"/>
                  </a:cubicBezTo>
                  <a:lnTo>
                    <a:pt x="901" y="230108"/>
                  </a:lnTo>
                  <a:lnTo>
                    <a:pt x="901" y="224990"/>
                  </a:lnTo>
                  <a:cubicBezTo>
                    <a:pt x="901" y="223149"/>
                    <a:pt x="1104" y="221079"/>
                    <a:pt x="1193" y="218894"/>
                  </a:cubicBezTo>
                  <a:cubicBezTo>
                    <a:pt x="1473" y="214551"/>
                    <a:pt x="1562" y="209547"/>
                    <a:pt x="2349" y="204099"/>
                  </a:cubicBezTo>
                  <a:cubicBezTo>
                    <a:pt x="2666" y="201267"/>
                    <a:pt x="3009" y="198422"/>
                    <a:pt x="3340" y="195577"/>
                  </a:cubicBezTo>
                  <a:cubicBezTo>
                    <a:pt x="3682" y="192745"/>
                    <a:pt x="4343" y="189532"/>
                    <a:pt x="4851" y="186332"/>
                  </a:cubicBezTo>
                  <a:cubicBezTo>
                    <a:pt x="5816" y="179944"/>
                    <a:pt x="7378" y="173188"/>
                    <a:pt x="8889" y="166025"/>
                  </a:cubicBezTo>
                  <a:cubicBezTo>
                    <a:pt x="12179" y="151839"/>
                    <a:pt x="16344" y="136307"/>
                    <a:pt x="20916" y="120064"/>
                  </a:cubicBezTo>
                  <a:cubicBezTo>
                    <a:pt x="25488" y="103821"/>
                    <a:pt x="29755" y="88302"/>
                    <a:pt x="33095" y="74040"/>
                  </a:cubicBezTo>
                  <a:cubicBezTo>
                    <a:pt x="34632" y="66890"/>
                    <a:pt x="36220" y="60108"/>
                    <a:pt x="37248" y="53656"/>
                  </a:cubicBezTo>
                  <a:cubicBezTo>
                    <a:pt x="37782" y="50456"/>
                    <a:pt x="38404" y="47383"/>
                    <a:pt x="38810" y="44373"/>
                  </a:cubicBezTo>
                  <a:cubicBezTo>
                    <a:pt x="39204" y="41363"/>
                    <a:pt x="39521" y="38531"/>
                    <a:pt x="39852" y="35851"/>
                  </a:cubicBezTo>
                  <a:cubicBezTo>
                    <a:pt x="40652" y="30378"/>
                    <a:pt x="40766" y="25348"/>
                    <a:pt x="41045" y="20980"/>
                  </a:cubicBezTo>
                  <a:cubicBezTo>
                    <a:pt x="41045" y="18795"/>
                    <a:pt x="41325" y="16751"/>
                    <a:pt x="41363" y="14871"/>
                  </a:cubicBezTo>
                  <a:cubicBezTo>
                    <a:pt x="41388" y="13004"/>
                    <a:pt x="41363" y="11277"/>
                    <a:pt x="41363" y="9715"/>
                  </a:cubicBezTo>
                  <a:cubicBezTo>
                    <a:pt x="41363" y="6870"/>
                    <a:pt x="41223" y="4406"/>
                    <a:pt x="41160" y="2616"/>
                  </a:cubicBezTo>
                  <a:cubicBezTo>
                    <a:pt x="41084" y="1727"/>
                    <a:pt x="40918" y="850"/>
                    <a:pt x="40652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5" name="Free Form 3370">
              <a:extLst>
                <a:ext uri="{FF2B5EF4-FFF2-40B4-BE49-F238E27FC236}">
                  <a16:creationId xmlns:a16="http://schemas.microsoft.com/office/drawing/2014/main" id="{B75E6A2D-CD67-9BB2-938B-A794AC98A376}"/>
                </a:ext>
              </a:extLst>
            </p:cNvPr>
            <p:cNvSpPr/>
            <p:nvPr/>
          </p:nvSpPr>
          <p:spPr>
            <a:xfrm>
              <a:off x="26264045" y="30229910"/>
              <a:ext cx="78219" cy="22568"/>
            </a:xfrm>
            <a:custGeom>
              <a:avLst/>
              <a:gdLst/>
              <a:ahLst/>
              <a:cxnLst/>
              <a:rect l="0" t="0" r="0" b="0"/>
              <a:pathLst>
                <a:path w="78218" h="22567">
                  <a:moveTo>
                    <a:pt x="0" y="5587"/>
                  </a:moveTo>
                  <a:cubicBezTo>
                    <a:pt x="0" y="5930"/>
                    <a:pt x="4571" y="4737"/>
                    <a:pt x="11975" y="4000"/>
                  </a:cubicBezTo>
                  <a:cubicBezTo>
                    <a:pt x="31355" y="2082"/>
                    <a:pt x="50862" y="6248"/>
                    <a:pt x="67766" y="15925"/>
                  </a:cubicBezTo>
                  <a:cubicBezTo>
                    <a:pt x="74218" y="19646"/>
                    <a:pt x="77812" y="22567"/>
                    <a:pt x="78015" y="22275"/>
                  </a:cubicBezTo>
                  <a:cubicBezTo>
                    <a:pt x="78218" y="21996"/>
                    <a:pt x="77278" y="21399"/>
                    <a:pt x="75665" y="20040"/>
                  </a:cubicBezTo>
                  <a:cubicBezTo>
                    <a:pt x="73392" y="18110"/>
                    <a:pt x="70966" y="16357"/>
                    <a:pt x="68414" y="14808"/>
                  </a:cubicBezTo>
                  <a:cubicBezTo>
                    <a:pt x="51548" y="4292"/>
                    <a:pt x="31521" y="0"/>
                    <a:pt x="11810" y="2692"/>
                  </a:cubicBezTo>
                  <a:cubicBezTo>
                    <a:pt x="8851" y="3086"/>
                    <a:pt x="5930" y="3682"/>
                    <a:pt x="3060" y="4508"/>
                  </a:cubicBezTo>
                  <a:cubicBezTo>
                    <a:pt x="1993" y="4711"/>
                    <a:pt x="965" y="5079"/>
                    <a:pt x="0" y="558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6" name="Free Form 3371">
              <a:extLst>
                <a:ext uri="{FF2B5EF4-FFF2-40B4-BE49-F238E27FC236}">
                  <a16:creationId xmlns:a16="http://schemas.microsoft.com/office/drawing/2014/main" id="{2512BB6E-85B9-F325-D4F2-B8AA4DD92D38}"/>
                </a:ext>
              </a:extLst>
            </p:cNvPr>
            <p:cNvSpPr/>
            <p:nvPr/>
          </p:nvSpPr>
          <p:spPr>
            <a:xfrm>
              <a:off x="25905669" y="30234985"/>
              <a:ext cx="41757" cy="51955"/>
            </a:xfrm>
            <a:custGeom>
              <a:avLst/>
              <a:gdLst/>
              <a:ahLst/>
              <a:cxnLst/>
              <a:rect l="0" t="0" r="0" b="0"/>
              <a:pathLst>
                <a:path w="41757" h="51955">
                  <a:moveTo>
                    <a:pt x="0" y="114"/>
                  </a:moveTo>
                  <a:cubicBezTo>
                    <a:pt x="0" y="393"/>
                    <a:pt x="3174" y="2273"/>
                    <a:pt x="8115" y="5791"/>
                  </a:cubicBezTo>
                  <a:cubicBezTo>
                    <a:pt x="20992" y="15328"/>
                    <a:pt x="31152" y="28041"/>
                    <a:pt x="37616" y="42696"/>
                  </a:cubicBezTo>
                  <a:cubicBezTo>
                    <a:pt x="40080" y="48373"/>
                    <a:pt x="41198" y="51955"/>
                    <a:pt x="41477" y="51866"/>
                  </a:cubicBezTo>
                  <a:cubicBezTo>
                    <a:pt x="41757" y="51790"/>
                    <a:pt x="41477" y="50901"/>
                    <a:pt x="41058" y="49199"/>
                  </a:cubicBezTo>
                  <a:cubicBezTo>
                    <a:pt x="40461" y="46824"/>
                    <a:pt x="39725" y="44474"/>
                    <a:pt x="38836" y="42188"/>
                  </a:cubicBezTo>
                  <a:cubicBezTo>
                    <a:pt x="32892" y="26949"/>
                    <a:pt x="22427" y="13880"/>
                    <a:pt x="8864" y="4737"/>
                  </a:cubicBezTo>
                  <a:cubicBezTo>
                    <a:pt x="6832" y="3365"/>
                    <a:pt x="4698" y="2133"/>
                    <a:pt x="2501" y="1054"/>
                  </a:cubicBezTo>
                  <a:cubicBezTo>
                    <a:pt x="939" y="368"/>
                    <a:pt x="63" y="0"/>
                    <a:pt x="0" y="11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7" name="Free Form 3372">
              <a:extLst>
                <a:ext uri="{FF2B5EF4-FFF2-40B4-BE49-F238E27FC236}">
                  <a16:creationId xmlns:a16="http://schemas.microsoft.com/office/drawing/2014/main" id="{6C8D1AEB-FC39-78CF-8D0D-0A8BECE181A7}"/>
                </a:ext>
              </a:extLst>
            </p:cNvPr>
            <p:cNvSpPr/>
            <p:nvPr/>
          </p:nvSpPr>
          <p:spPr>
            <a:xfrm>
              <a:off x="25950069" y="29762793"/>
              <a:ext cx="244435" cy="260055"/>
            </a:xfrm>
            <a:custGeom>
              <a:avLst/>
              <a:gdLst/>
              <a:ahLst/>
              <a:cxnLst/>
              <a:rect l="0" t="0" r="0" b="0"/>
              <a:pathLst>
                <a:path w="244434" h="260055">
                  <a:moveTo>
                    <a:pt x="196238" y="51218"/>
                  </a:moveTo>
                  <a:cubicBezTo>
                    <a:pt x="205890" y="45084"/>
                    <a:pt x="208214" y="30860"/>
                    <a:pt x="202994" y="20700"/>
                  </a:cubicBezTo>
                  <a:cubicBezTo>
                    <a:pt x="197774" y="10540"/>
                    <a:pt x="186675" y="4368"/>
                    <a:pt x="175372" y="2552"/>
                  </a:cubicBezTo>
                  <a:cubicBezTo>
                    <a:pt x="158697" y="0"/>
                    <a:pt x="141806" y="5587"/>
                    <a:pt x="129945" y="17576"/>
                  </a:cubicBezTo>
                  <a:cubicBezTo>
                    <a:pt x="123734" y="23990"/>
                    <a:pt x="118591" y="32371"/>
                    <a:pt x="110247" y="35292"/>
                  </a:cubicBezTo>
                  <a:cubicBezTo>
                    <a:pt x="102805" y="37870"/>
                    <a:pt x="94601" y="35546"/>
                    <a:pt x="86790" y="36562"/>
                  </a:cubicBezTo>
                  <a:cubicBezTo>
                    <a:pt x="76351" y="37909"/>
                    <a:pt x="67398" y="45338"/>
                    <a:pt x="62038" y="54431"/>
                  </a:cubicBezTo>
                  <a:cubicBezTo>
                    <a:pt x="57035" y="63740"/>
                    <a:pt x="54037" y="73989"/>
                    <a:pt x="53237" y="84517"/>
                  </a:cubicBezTo>
                  <a:cubicBezTo>
                    <a:pt x="52094" y="94144"/>
                    <a:pt x="51332" y="104672"/>
                    <a:pt x="44716" y="111695"/>
                  </a:cubicBezTo>
                  <a:cubicBezTo>
                    <a:pt x="38099" y="118705"/>
                    <a:pt x="27939" y="119975"/>
                    <a:pt x="19875" y="124839"/>
                  </a:cubicBezTo>
                  <a:cubicBezTo>
                    <a:pt x="4483" y="135024"/>
                    <a:pt x="0" y="155624"/>
                    <a:pt x="9766" y="171283"/>
                  </a:cubicBezTo>
                  <a:cubicBezTo>
                    <a:pt x="12953" y="175943"/>
                    <a:pt x="17551" y="180223"/>
                    <a:pt x="17919" y="185875"/>
                  </a:cubicBezTo>
                  <a:cubicBezTo>
                    <a:pt x="18262" y="191018"/>
                    <a:pt x="14935" y="195616"/>
                    <a:pt x="13372" y="200556"/>
                  </a:cubicBezTo>
                  <a:cubicBezTo>
                    <a:pt x="9347" y="213218"/>
                    <a:pt x="19735" y="228292"/>
                    <a:pt x="33019" y="228940"/>
                  </a:cubicBezTo>
                  <a:cubicBezTo>
                    <a:pt x="39725" y="229346"/>
                    <a:pt x="46900" y="226730"/>
                    <a:pt x="52894" y="229740"/>
                  </a:cubicBezTo>
                  <a:cubicBezTo>
                    <a:pt x="58889" y="232750"/>
                    <a:pt x="61099" y="239900"/>
                    <a:pt x="64909" y="245386"/>
                  </a:cubicBezTo>
                  <a:cubicBezTo>
                    <a:pt x="72998" y="256295"/>
                    <a:pt x="87616" y="260055"/>
                    <a:pt x="99960" y="254416"/>
                  </a:cubicBezTo>
                  <a:cubicBezTo>
                    <a:pt x="104875" y="251990"/>
                    <a:pt x="109536" y="247990"/>
                    <a:pt x="115009" y="248358"/>
                  </a:cubicBezTo>
                  <a:cubicBezTo>
                    <a:pt x="120496" y="248726"/>
                    <a:pt x="124801" y="253413"/>
                    <a:pt x="130173" y="254441"/>
                  </a:cubicBezTo>
                  <a:cubicBezTo>
                    <a:pt x="137222" y="255800"/>
                    <a:pt x="143914" y="250606"/>
                    <a:pt x="148093" y="244789"/>
                  </a:cubicBezTo>
                  <a:cubicBezTo>
                    <a:pt x="152258" y="238960"/>
                    <a:pt x="155217" y="232090"/>
                    <a:pt x="160551" y="227352"/>
                  </a:cubicBezTo>
                  <a:cubicBezTo>
                    <a:pt x="167587" y="221104"/>
                    <a:pt x="177582" y="219542"/>
                    <a:pt x="186332" y="216507"/>
                  </a:cubicBezTo>
                  <a:cubicBezTo>
                    <a:pt x="224279" y="203426"/>
                    <a:pt x="244434" y="162062"/>
                    <a:pt x="231366" y="124115"/>
                  </a:cubicBezTo>
                  <a:cubicBezTo>
                    <a:pt x="230248" y="120890"/>
                    <a:pt x="228915" y="117740"/>
                    <a:pt x="227352" y="11470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8" name="Free Form 3373">
              <a:extLst>
                <a:ext uri="{FF2B5EF4-FFF2-40B4-BE49-F238E27FC236}">
                  <a16:creationId xmlns:a16="http://schemas.microsoft.com/office/drawing/2014/main" id="{5D6DE0F5-E1D3-36EB-EE86-216B3E391113}"/>
                </a:ext>
              </a:extLst>
            </p:cNvPr>
            <p:cNvSpPr/>
            <p:nvPr/>
          </p:nvSpPr>
          <p:spPr>
            <a:xfrm>
              <a:off x="26030275" y="29810491"/>
              <a:ext cx="151941" cy="273403"/>
            </a:xfrm>
            <a:custGeom>
              <a:avLst/>
              <a:gdLst/>
              <a:ahLst/>
              <a:cxnLst/>
              <a:rect l="0" t="0" r="0" b="0"/>
              <a:pathLst>
                <a:path w="151941" h="273402">
                  <a:moveTo>
                    <a:pt x="137069" y="229169"/>
                  </a:moveTo>
                  <a:lnTo>
                    <a:pt x="138466" y="160297"/>
                  </a:lnTo>
                  <a:lnTo>
                    <a:pt x="151547" y="44093"/>
                  </a:lnTo>
                  <a:cubicBezTo>
                    <a:pt x="151941" y="35800"/>
                    <a:pt x="145921" y="28574"/>
                    <a:pt x="137691" y="27482"/>
                  </a:cubicBezTo>
                  <a:lnTo>
                    <a:pt x="53517" y="3657"/>
                  </a:lnTo>
                  <a:cubicBezTo>
                    <a:pt x="26466" y="0"/>
                    <a:pt x="7442" y="32930"/>
                    <a:pt x="4940" y="60133"/>
                  </a:cubicBezTo>
                  <a:cubicBezTo>
                    <a:pt x="2108" y="90372"/>
                    <a:pt x="0" y="127354"/>
                    <a:pt x="2946" y="150048"/>
                  </a:cubicBezTo>
                  <a:cubicBezTo>
                    <a:pt x="8864" y="195692"/>
                    <a:pt x="43522" y="202448"/>
                    <a:pt x="43522" y="202448"/>
                  </a:cubicBezTo>
                  <a:lnTo>
                    <a:pt x="42303" y="231378"/>
                  </a:lnTo>
                  <a:lnTo>
                    <a:pt x="94677" y="273402"/>
                  </a:ln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9" name="Free Form 3374">
              <a:extLst>
                <a:ext uri="{FF2B5EF4-FFF2-40B4-BE49-F238E27FC236}">
                  <a16:creationId xmlns:a16="http://schemas.microsoft.com/office/drawing/2014/main" id="{2395CEF5-E808-FF30-D7CA-45922743F82E}"/>
                </a:ext>
              </a:extLst>
            </p:cNvPr>
            <p:cNvSpPr/>
            <p:nvPr/>
          </p:nvSpPr>
          <p:spPr>
            <a:xfrm>
              <a:off x="26045295" y="29899161"/>
              <a:ext cx="11900" cy="11671"/>
            </a:xfrm>
            <a:custGeom>
              <a:avLst/>
              <a:gdLst/>
              <a:ahLst/>
              <a:cxnLst/>
              <a:rect l="0" t="0" r="0" b="0"/>
              <a:pathLst>
                <a:path w="11899" h="11671">
                  <a:moveTo>
                    <a:pt x="114" y="5359"/>
                  </a:moveTo>
                  <a:cubicBezTo>
                    <a:pt x="0" y="8521"/>
                    <a:pt x="2412" y="11188"/>
                    <a:pt x="5562" y="11404"/>
                  </a:cubicBezTo>
                  <a:cubicBezTo>
                    <a:pt x="8648" y="11671"/>
                    <a:pt x="11379" y="9410"/>
                    <a:pt x="11696" y="6324"/>
                  </a:cubicBezTo>
                  <a:cubicBezTo>
                    <a:pt x="11899" y="3200"/>
                    <a:pt x="9537" y="495"/>
                    <a:pt x="6400" y="279"/>
                  </a:cubicBezTo>
                  <a:cubicBezTo>
                    <a:pt x="6362" y="279"/>
                    <a:pt x="6324" y="279"/>
                    <a:pt x="6273" y="279"/>
                  </a:cubicBezTo>
                  <a:cubicBezTo>
                    <a:pt x="3174" y="0"/>
                    <a:pt x="431" y="2260"/>
                    <a:pt x="114" y="535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0" name="Free Form 3375">
              <a:extLst>
                <a:ext uri="{FF2B5EF4-FFF2-40B4-BE49-F238E27FC236}">
                  <a16:creationId xmlns:a16="http://schemas.microsoft.com/office/drawing/2014/main" id="{A34BC70B-9978-C618-3B2A-24C02B1D5D31}"/>
                </a:ext>
              </a:extLst>
            </p:cNvPr>
            <p:cNvSpPr/>
            <p:nvPr/>
          </p:nvSpPr>
          <p:spPr>
            <a:xfrm>
              <a:off x="26042369" y="29884361"/>
              <a:ext cx="23901" cy="7048"/>
            </a:xfrm>
            <a:custGeom>
              <a:avLst/>
              <a:gdLst/>
              <a:ahLst/>
              <a:cxnLst/>
              <a:rect l="0" t="0" r="0" b="0"/>
              <a:pathLst>
                <a:path w="23901" h="7048">
                  <a:moveTo>
                    <a:pt x="342" y="5765"/>
                  </a:moveTo>
                  <a:cubicBezTo>
                    <a:pt x="1054" y="6527"/>
                    <a:pt x="5562" y="3403"/>
                    <a:pt x="11696" y="3606"/>
                  </a:cubicBezTo>
                  <a:cubicBezTo>
                    <a:pt x="17830" y="3809"/>
                    <a:pt x="22491" y="7048"/>
                    <a:pt x="23202" y="6451"/>
                  </a:cubicBezTo>
                  <a:cubicBezTo>
                    <a:pt x="23901" y="5854"/>
                    <a:pt x="22834" y="4711"/>
                    <a:pt x="20865" y="3213"/>
                  </a:cubicBezTo>
                  <a:cubicBezTo>
                    <a:pt x="18198" y="1257"/>
                    <a:pt x="14998" y="165"/>
                    <a:pt x="11696" y="88"/>
                  </a:cubicBezTo>
                  <a:cubicBezTo>
                    <a:pt x="8445" y="0"/>
                    <a:pt x="5245" y="939"/>
                    <a:pt x="2552" y="2781"/>
                  </a:cubicBezTo>
                  <a:cubicBezTo>
                    <a:pt x="685" y="4063"/>
                    <a:pt x="0" y="5397"/>
                    <a:pt x="342" y="576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1" name="Free Form 3376">
              <a:extLst>
                <a:ext uri="{FF2B5EF4-FFF2-40B4-BE49-F238E27FC236}">
                  <a16:creationId xmlns:a16="http://schemas.microsoft.com/office/drawing/2014/main" id="{19F39BAF-01D8-CF15-B1AA-BFD43E2D2D3B}"/>
                </a:ext>
              </a:extLst>
            </p:cNvPr>
            <p:cNvSpPr/>
            <p:nvPr/>
          </p:nvSpPr>
          <p:spPr>
            <a:xfrm>
              <a:off x="26104270" y="29900552"/>
              <a:ext cx="11963" cy="11646"/>
            </a:xfrm>
            <a:custGeom>
              <a:avLst/>
              <a:gdLst/>
              <a:ahLst/>
              <a:cxnLst/>
              <a:rect l="0" t="0" r="0" b="0"/>
              <a:pathLst>
                <a:path w="11963" h="11645">
                  <a:moveTo>
                    <a:pt x="190" y="5359"/>
                  </a:moveTo>
                  <a:cubicBezTo>
                    <a:pt x="0" y="8483"/>
                    <a:pt x="2387" y="11175"/>
                    <a:pt x="5511" y="11366"/>
                  </a:cubicBezTo>
                  <a:cubicBezTo>
                    <a:pt x="5562" y="11379"/>
                    <a:pt x="5600" y="11379"/>
                    <a:pt x="5638" y="11379"/>
                  </a:cubicBezTo>
                  <a:cubicBezTo>
                    <a:pt x="8737" y="11645"/>
                    <a:pt x="11455" y="9385"/>
                    <a:pt x="11772" y="6299"/>
                  </a:cubicBezTo>
                  <a:cubicBezTo>
                    <a:pt x="11963" y="3162"/>
                    <a:pt x="9588" y="469"/>
                    <a:pt x="6451" y="279"/>
                  </a:cubicBezTo>
                  <a:lnTo>
                    <a:pt x="6349" y="279"/>
                  </a:lnTo>
                  <a:cubicBezTo>
                    <a:pt x="3251" y="0"/>
                    <a:pt x="507" y="2260"/>
                    <a:pt x="190" y="535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2" name="Free Form 3377">
              <a:extLst>
                <a:ext uri="{FF2B5EF4-FFF2-40B4-BE49-F238E27FC236}">
                  <a16:creationId xmlns:a16="http://schemas.microsoft.com/office/drawing/2014/main" id="{BCCA5E4A-7095-7E0E-C0D6-12E96DACE01D}"/>
                </a:ext>
              </a:extLst>
            </p:cNvPr>
            <p:cNvSpPr/>
            <p:nvPr/>
          </p:nvSpPr>
          <p:spPr>
            <a:xfrm>
              <a:off x="26103946" y="29887234"/>
              <a:ext cx="23799" cy="7099"/>
            </a:xfrm>
            <a:custGeom>
              <a:avLst/>
              <a:gdLst/>
              <a:ahLst/>
              <a:cxnLst/>
              <a:rect l="0" t="0" r="0" b="0"/>
              <a:pathLst>
                <a:path w="23799" h="7099">
                  <a:moveTo>
                    <a:pt x="342" y="5816"/>
                  </a:moveTo>
                  <a:cubicBezTo>
                    <a:pt x="1054" y="6578"/>
                    <a:pt x="5562" y="3454"/>
                    <a:pt x="11848" y="3632"/>
                  </a:cubicBezTo>
                  <a:cubicBezTo>
                    <a:pt x="18110" y="3797"/>
                    <a:pt x="22605" y="7099"/>
                    <a:pt x="23202" y="6464"/>
                  </a:cubicBezTo>
                  <a:cubicBezTo>
                    <a:pt x="23799" y="5841"/>
                    <a:pt x="22859" y="4737"/>
                    <a:pt x="20865" y="3238"/>
                  </a:cubicBezTo>
                  <a:cubicBezTo>
                    <a:pt x="18211" y="1282"/>
                    <a:pt x="15023" y="190"/>
                    <a:pt x="11721" y="114"/>
                  </a:cubicBezTo>
                  <a:cubicBezTo>
                    <a:pt x="8470" y="0"/>
                    <a:pt x="5257" y="939"/>
                    <a:pt x="2565" y="2781"/>
                  </a:cubicBezTo>
                  <a:cubicBezTo>
                    <a:pt x="711" y="4114"/>
                    <a:pt x="0" y="5448"/>
                    <a:pt x="342" y="581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3" name="Free Form 3378">
              <a:extLst>
                <a:ext uri="{FF2B5EF4-FFF2-40B4-BE49-F238E27FC236}">
                  <a16:creationId xmlns:a16="http://schemas.microsoft.com/office/drawing/2014/main" id="{C1B0EB8B-F821-CFE1-CBEB-FEF1C67A4761}"/>
                </a:ext>
              </a:extLst>
            </p:cNvPr>
            <p:cNvSpPr/>
            <p:nvPr/>
          </p:nvSpPr>
          <p:spPr>
            <a:xfrm>
              <a:off x="26064090" y="29886411"/>
              <a:ext cx="21183" cy="52818"/>
            </a:xfrm>
            <a:custGeom>
              <a:avLst/>
              <a:gdLst/>
              <a:ahLst/>
              <a:cxnLst/>
              <a:rect l="0" t="0" r="0" b="0"/>
              <a:pathLst>
                <a:path w="21183" h="52818">
                  <a:moveTo>
                    <a:pt x="16154" y="52463"/>
                  </a:moveTo>
                  <a:cubicBezTo>
                    <a:pt x="12877" y="51358"/>
                    <a:pt x="9474" y="50647"/>
                    <a:pt x="6019" y="50354"/>
                  </a:cubicBezTo>
                  <a:cubicBezTo>
                    <a:pt x="4432" y="50139"/>
                    <a:pt x="2895" y="49770"/>
                    <a:pt x="2666" y="48691"/>
                  </a:cubicBezTo>
                  <a:cubicBezTo>
                    <a:pt x="2578" y="47027"/>
                    <a:pt x="2997" y="45389"/>
                    <a:pt x="3860" y="43979"/>
                  </a:cubicBezTo>
                  <a:lnTo>
                    <a:pt x="8940" y="31902"/>
                  </a:lnTo>
                  <a:cubicBezTo>
                    <a:pt x="16014" y="14871"/>
                    <a:pt x="21183" y="673"/>
                    <a:pt x="20497" y="342"/>
                  </a:cubicBezTo>
                  <a:cubicBezTo>
                    <a:pt x="19811" y="0"/>
                    <a:pt x="13512" y="13741"/>
                    <a:pt x="6299" y="30911"/>
                  </a:cubicBezTo>
                  <a:cubicBezTo>
                    <a:pt x="4597" y="35140"/>
                    <a:pt x="2946" y="39179"/>
                    <a:pt x="1422" y="43039"/>
                  </a:cubicBezTo>
                  <a:cubicBezTo>
                    <a:pt x="355" y="44944"/>
                    <a:pt x="0" y="47167"/>
                    <a:pt x="393" y="49313"/>
                  </a:cubicBezTo>
                  <a:cubicBezTo>
                    <a:pt x="850" y="50469"/>
                    <a:pt x="1803" y="51358"/>
                    <a:pt x="2984" y="51726"/>
                  </a:cubicBezTo>
                  <a:cubicBezTo>
                    <a:pt x="3898" y="51993"/>
                    <a:pt x="4864" y="52145"/>
                    <a:pt x="5816" y="52183"/>
                  </a:cubicBezTo>
                  <a:cubicBezTo>
                    <a:pt x="9232" y="52717"/>
                    <a:pt x="12712" y="52818"/>
                    <a:pt x="16154" y="5246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4" name="Free Form 3379">
              <a:extLst>
                <a:ext uri="{FF2B5EF4-FFF2-40B4-BE49-F238E27FC236}">
                  <a16:creationId xmlns:a16="http://schemas.microsoft.com/office/drawing/2014/main" id="{B304A487-4325-C9F7-6BFE-894B5ADC7D56}"/>
                </a:ext>
              </a:extLst>
            </p:cNvPr>
            <p:cNvSpPr/>
            <p:nvPr/>
          </p:nvSpPr>
          <p:spPr>
            <a:xfrm>
              <a:off x="26073798" y="29998440"/>
              <a:ext cx="61289" cy="30797"/>
            </a:xfrm>
            <a:custGeom>
              <a:avLst/>
              <a:gdLst/>
              <a:ahLst/>
              <a:cxnLst/>
              <a:rect l="0" t="0" r="0" b="0"/>
              <a:pathLst>
                <a:path w="61289" h="30797">
                  <a:moveTo>
                    <a:pt x="0" y="14503"/>
                  </a:moveTo>
                  <a:cubicBezTo>
                    <a:pt x="21386" y="15430"/>
                    <a:pt x="42595" y="10413"/>
                    <a:pt x="61289" y="0"/>
                  </a:cubicBezTo>
                  <a:cubicBezTo>
                    <a:pt x="61289" y="0"/>
                    <a:pt x="45656" y="30797"/>
                    <a:pt x="317" y="25260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5" name="Free Form 3380">
              <a:extLst>
                <a:ext uri="{FF2B5EF4-FFF2-40B4-BE49-F238E27FC236}">
                  <a16:creationId xmlns:a16="http://schemas.microsoft.com/office/drawing/2014/main" id="{72A01BE2-95F8-0BDF-F9D8-800A31CB3C90}"/>
                </a:ext>
              </a:extLst>
            </p:cNvPr>
            <p:cNvSpPr/>
            <p:nvPr/>
          </p:nvSpPr>
          <p:spPr>
            <a:xfrm>
              <a:off x="26102019" y="29861659"/>
              <a:ext cx="29096" cy="10947"/>
            </a:xfrm>
            <a:custGeom>
              <a:avLst/>
              <a:gdLst/>
              <a:ahLst/>
              <a:cxnLst/>
              <a:rect l="0" t="0" r="0" b="0"/>
              <a:pathLst>
                <a:path w="29095" h="10947">
                  <a:moveTo>
                    <a:pt x="253" y="5499"/>
                  </a:moveTo>
                  <a:cubicBezTo>
                    <a:pt x="825" y="7200"/>
                    <a:pt x="7099" y="6578"/>
                    <a:pt x="14452" y="7683"/>
                  </a:cubicBezTo>
                  <a:cubicBezTo>
                    <a:pt x="21805" y="8788"/>
                    <a:pt x="27685" y="10947"/>
                    <a:pt x="28650" y="9448"/>
                  </a:cubicBezTo>
                  <a:cubicBezTo>
                    <a:pt x="29095" y="8737"/>
                    <a:pt x="28104" y="7086"/>
                    <a:pt x="25806" y="5384"/>
                  </a:cubicBezTo>
                  <a:cubicBezTo>
                    <a:pt x="19443" y="1104"/>
                    <a:pt x="11467" y="0"/>
                    <a:pt x="4178" y="2374"/>
                  </a:cubicBezTo>
                  <a:cubicBezTo>
                    <a:pt x="1422" y="3365"/>
                    <a:pt x="0" y="4673"/>
                    <a:pt x="253" y="549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6" name="Free Form 3381">
              <a:extLst>
                <a:ext uri="{FF2B5EF4-FFF2-40B4-BE49-F238E27FC236}">
                  <a16:creationId xmlns:a16="http://schemas.microsoft.com/office/drawing/2014/main" id="{55F8B4BB-DFF7-5A3C-1535-3D215AC14BF2}"/>
                </a:ext>
              </a:extLst>
            </p:cNvPr>
            <p:cNvSpPr/>
            <p:nvPr/>
          </p:nvSpPr>
          <p:spPr>
            <a:xfrm>
              <a:off x="26045064" y="29861557"/>
              <a:ext cx="22174" cy="8496"/>
            </a:xfrm>
            <a:custGeom>
              <a:avLst/>
              <a:gdLst/>
              <a:ahLst/>
              <a:cxnLst/>
              <a:rect l="0" t="0" r="0" b="0"/>
              <a:pathLst>
                <a:path w="22173" h="8496">
                  <a:moveTo>
                    <a:pt x="457" y="7048"/>
                  </a:moveTo>
                  <a:cubicBezTo>
                    <a:pt x="1536" y="8496"/>
                    <a:pt x="5880" y="7048"/>
                    <a:pt x="11074" y="7213"/>
                  </a:cubicBezTo>
                  <a:cubicBezTo>
                    <a:pt x="16268" y="7391"/>
                    <a:pt x="20637" y="8470"/>
                    <a:pt x="21691" y="6997"/>
                  </a:cubicBezTo>
                  <a:cubicBezTo>
                    <a:pt x="22173" y="6286"/>
                    <a:pt x="21526" y="4838"/>
                    <a:pt x="19621" y="3441"/>
                  </a:cubicBezTo>
                  <a:cubicBezTo>
                    <a:pt x="14465" y="0"/>
                    <a:pt x="7746" y="0"/>
                    <a:pt x="2590" y="3441"/>
                  </a:cubicBezTo>
                  <a:cubicBezTo>
                    <a:pt x="660" y="4889"/>
                    <a:pt x="0" y="6337"/>
                    <a:pt x="457" y="70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7" name="Free Form 3382">
              <a:extLst>
                <a:ext uri="{FF2B5EF4-FFF2-40B4-BE49-F238E27FC236}">
                  <a16:creationId xmlns:a16="http://schemas.microsoft.com/office/drawing/2014/main" id="{2D1BD79B-7238-66A3-F6D6-758726AA2AD2}"/>
                </a:ext>
              </a:extLst>
            </p:cNvPr>
            <p:cNvSpPr/>
            <p:nvPr/>
          </p:nvSpPr>
          <p:spPr>
            <a:xfrm>
              <a:off x="26081460" y="29950794"/>
              <a:ext cx="22389" cy="20053"/>
            </a:xfrm>
            <a:custGeom>
              <a:avLst/>
              <a:gdLst/>
              <a:ahLst/>
              <a:cxnLst/>
              <a:rect l="0" t="0" r="0" b="0"/>
              <a:pathLst>
                <a:path w="22389" h="20053">
                  <a:moveTo>
                    <a:pt x="18402" y="939"/>
                  </a:moveTo>
                  <a:cubicBezTo>
                    <a:pt x="22389" y="6172"/>
                    <a:pt x="21386" y="13652"/>
                    <a:pt x="16154" y="17652"/>
                  </a:cubicBezTo>
                  <a:cubicBezTo>
                    <a:pt x="15036" y="18503"/>
                    <a:pt x="13779" y="19151"/>
                    <a:pt x="12445" y="19557"/>
                  </a:cubicBezTo>
                  <a:cubicBezTo>
                    <a:pt x="10985" y="20053"/>
                    <a:pt x="9410" y="20053"/>
                    <a:pt x="7950" y="19557"/>
                  </a:cubicBezTo>
                  <a:cubicBezTo>
                    <a:pt x="5575" y="18237"/>
                    <a:pt x="3848" y="15989"/>
                    <a:pt x="3187" y="13347"/>
                  </a:cubicBezTo>
                  <a:cubicBezTo>
                    <a:pt x="2336" y="11277"/>
                    <a:pt x="1511" y="9169"/>
                    <a:pt x="685" y="7099"/>
                  </a:cubicBezTo>
                  <a:cubicBezTo>
                    <a:pt x="0" y="6172"/>
                    <a:pt x="190" y="4851"/>
                    <a:pt x="1117" y="4165"/>
                  </a:cubicBezTo>
                  <a:cubicBezTo>
                    <a:pt x="1511" y="3873"/>
                    <a:pt x="1993" y="3721"/>
                    <a:pt x="2476" y="3746"/>
                  </a:cubicBezTo>
                  <a:lnTo>
                    <a:pt x="17919" y="0"/>
                  </a:ln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8" name="Free Form 3383">
              <a:extLst>
                <a:ext uri="{FF2B5EF4-FFF2-40B4-BE49-F238E27FC236}">
                  <a16:creationId xmlns:a16="http://schemas.microsoft.com/office/drawing/2014/main" id="{039583B7-2C17-5BF6-DD43-4B0578CF8519}"/>
                </a:ext>
              </a:extLst>
            </p:cNvPr>
            <p:cNvSpPr/>
            <p:nvPr/>
          </p:nvSpPr>
          <p:spPr>
            <a:xfrm>
              <a:off x="26078403" y="29948491"/>
              <a:ext cx="25577" cy="22263"/>
            </a:xfrm>
            <a:custGeom>
              <a:avLst/>
              <a:gdLst/>
              <a:ahLst/>
              <a:cxnLst/>
              <a:rect l="0" t="0" r="0" b="0"/>
              <a:pathLst>
                <a:path w="25577" h="22262">
                  <a:moveTo>
                    <a:pt x="9931" y="21894"/>
                  </a:moveTo>
                  <a:cubicBezTo>
                    <a:pt x="12534" y="22262"/>
                    <a:pt x="15189" y="21932"/>
                    <a:pt x="17627" y="20929"/>
                  </a:cubicBezTo>
                  <a:cubicBezTo>
                    <a:pt x="20472" y="20014"/>
                    <a:pt x="22872" y="18071"/>
                    <a:pt x="24358" y="15481"/>
                  </a:cubicBezTo>
                  <a:cubicBezTo>
                    <a:pt x="25221" y="13868"/>
                    <a:pt x="25577" y="12039"/>
                    <a:pt x="25374" y="10223"/>
                  </a:cubicBezTo>
                  <a:cubicBezTo>
                    <a:pt x="25272" y="8356"/>
                    <a:pt x="24815" y="6527"/>
                    <a:pt x="24040" y="4825"/>
                  </a:cubicBezTo>
                  <a:cubicBezTo>
                    <a:pt x="23278" y="3174"/>
                    <a:pt x="22199" y="1676"/>
                    <a:pt x="20865" y="431"/>
                  </a:cubicBezTo>
                  <a:lnTo>
                    <a:pt x="20408" y="0"/>
                  </a:lnTo>
                  <a:lnTo>
                    <a:pt x="19862" y="203"/>
                  </a:lnTo>
                  <a:cubicBezTo>
                    <a:pt x="8648" y="4178"/>
                    <a:pt x="0" y="6172"/>
                    <a:pt x="0" y="6654"/>
                  </a:cubicBezTo>
                  <a:cubicBezTo>
                    <a:pt x="0" y="7137"/>
                    <a:pt x="9105" y="5943"/>
                    <a:pt x="20497" y="2108"/>
                  </a:cubicBezTo>
                  <a:lnTo>
                    <a:pt x="19494" y="1879"/>
                  </a:lnTo>
                  <a:cubicBezTo>
                    <a:pt x="20675" y="2959"/>
                    <a:pt x="21640" y="4254"/>
                    <a:pt x="22339" y="5689"/>
                  </a:cubicBezTo>
                  <a:cubicBezTo>
                    <a:pt x="25056" y="10159"/>
                    <a:pt x="23621" y="15989"/>
                    <a:pt x="19151" y="18706"/>
                  </a:cubicBezTo>
                  <a:cubicBezTo>
                    <a:pt x="18541" y="19075"/>
                    <a:pt x="17894" y="19367"/>
                    <a:pt x="17233" y="19595"/>
                  </a:cubicBezTo>
                  <a:cubicBezTo>
                    <a:pt x="12890" y="21323"/>
                    <a:pt x="9842" y="21526"/>
                    <a:pt x="9931" y="2189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9" name="Free Form 3384">
              <a:extLst>
                <a:ext uri="{FF2B5EF4-FFF2-40B4-BE49-F238E27FC236}">
                  <a16:creationId xmlns:a16="http://schemas.microsoft.com/office/drawing/2014/main" id="{86EF61FC-9E05-A14F-4557-034263114F8A}"/>
                </a:ext>
              </a:extLst>
            </p:cNvPr>
            <p:cNvSpPr/>
            <p:nvPr/>
          </p:nvSpPr>
          <p:spPr>
            <a:xfrm>
              <a:off x="26001513" y="29788766"/>
              <a:ext cx="143292" cy="95745"/>
            </a:xfrm>
            <a:custGeom>
              <a:avLst/>
              <a:gdLst/>
              <a:ahLst/>
              <a:cxnLst/>
              <a:rect l="0" t="0" r="0" b="0"/>
              <a:pathLst>
                <a:path w="143292" h="95744">
                  <a:moveTo>
                    <a:pt x="3098" y="72287"/>
                  </a:moveTo>
                  <a:cubicBezTo>
                    <a:pt x="4978" y="65340"/>
                    <a:pt x="9207" y="59257"/>
                    <a:pt x="15074" y="55079"/>
                  </a:cubicBezTo>
                  <a:cubicBezTo>
                    <a:pt x="18554" y="53301"/>
                    <a:pt x="21919" y="51345"/>
                    <a:pt x="25183" y="49199"/>
                  </a:cubicBezTo>
                  <a:cubicBezTo>
                    <a:pt x="31736" y="43903"/>
                    <a:pt x="33273" y="34696"/>
                    <a:pt x="37312" y="27292"/>
                  </a:cubicBezTo>
                  <a:cubicBezTo>
                    <a:pt x="42722" y="17640"/>
                    <a:pt x="52463" y="11175"/>
                    <a:pt x="63461" y="9943"/>
                  </a:cubicBezTo>
                  <a:cubicBezTo>
                    <a:pt x="72452" y="9029"/>
                    <a:pt x="81736" y="11734"/>
                    <a:pt x="90511" y="9512"/>
                  </a:cubicBezTo>
                  <a:cubicBezTo>
                    <a:pt x="96988" y="7873"/>
                    <a:pt x="102665" y="3670"/>
                    <a:pt x="109218" y="2412"/>
                  </a:cubicBezTo>
                  <a:cubicBezTo>
                    <a:pt x="122032" y="0"/>
                    <a:pt x="133920" y="9182"/>
                    <a:pt x="143292" y="18313"/>
                  </a:cubicBezTo>
                  <a:cubicBezTo>
                    <a:pt x="143292" y="27482"/>
                    <a:pt x="136028" y="33591"/>
                    <a:pt x="129094" y="39471"/>
                  </a:cubicBezTo>
                  <a:cubicBezTo>
                    <a:pt x="121931" y="45402"/>
                    <a:pt x="112533" y="47891"/>
                    <a:pt x="103376" y="46278"/>
                  </a:cubicBezTo>
                  <a:cubicBezTo>
                    <a:pt x="96366" y="45008"/>
                    <a:pt x="88721" y="41452"/>
                    <a:pt x="82650" y="45173"/>
                  </a:cubicBezTo>
                  <a:cubicBezTo>
                    <a:pt x="76580" y="48894"/>
                    <a:pt x="76034" y="58686"/>
                    <a:pt x="70382" y="63600"/>
                  </a:cubicBezTo>
                  <a:cubicBezTo>
                    <a:pt x="62318" y="70585"/>
                    <a:pt x="49491" y="64020"/>
                    <a:pt x="39153" y="67067"/>
                  </a:cubicBezTo>
                  <a:cubicBezTo>
                    <a:pt x="31228" y="69417"/>
                    <a:pt x="26288" y="76973"/>
                    <a:pt x="21043" y="83336"/>
                  </a:cubicBezTo>
                  <a:cubicBezTo>
                    <a:pt x="15785" y="89686"/>
                    <a:pt x="7924" y="95744"/>
                    <a:pt x="0" y="93382"/>
                  </a:cubicBezTo>
                  <a:cubicBezTo>
                    <a:pt x="215" y="86257"/>
                    <a:pt x="1257" y="79170"/>
                    <a:pt x="3098" y="7228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0" name="Free Form 3385">
              <a:extLst>
                <a:ext uri="{FF2B5EF4-FFF2-40B4-BE49-F238E27FC236}">
                  <a16:creationId xmlns:a16="http://schemas.microsoft.com/office/drawing/2014/main" id="{2C788889-CC52-2A4D-B941-EB251C7756B7}"/>
                </a:ext>
              </a:extLst>
            </p:cNvPr>
            <p:cNvSpPr/>
            <p:nvPr/>
          </p:nvSpPr>
          <p:spPr>
            <a:xfrm>
              <a:off x="26098161" y="29793846"/>
              <a:ext cx="158825" cy="212139"/>
            </a:xfrm>
            <a:custGeom>
              <a:avLst/>
              <a:gdLst/>
              <a:ahLst/>
              <a:cxnLst/>
              <a:rect l="0" t="0" r="0" b="0"/>
              <a:pathLst>
                <a:path w="158824" h="212138">
                  <a:moveTo>
                    <a:pt x="2438" y="28511"/>
                  </a:moveTo>
                  <a:cubicBezTo>
                    <a:pt x="8115" y="26860"/>
                    <a:pt x="19926" y="23177"/>
                    <a:pt x="22986" y="18173"/>
                  </a:cubicBezTo>
                  <a:cubicBezTo>
                    <a:pt x="29666" y="7391"/>
                    <a:pt x="41452" y="0"/>
                    <a:pt x="53491" y="660"/>
                  </a:cubicBezTo>
                  <a:cubicBezTo>
                    <a:pt x="66280" y="1663"/>
                    <a:pt x="76897" y="10985"/>
                    <a:pt x="79551" y="23545"/>
                  </a:cubicBezTo>
                  <a:cubicBezTo>
                    <a:pt x="94791" y="24078"/>
                    <a:pt x="108520" y="32918"/>
                    <a:pt x="115314" y="46570"/>
                  </a:cubicBezTo>
                  <a:cubicBezTo>
                    <a:pt x="116203" y="48297"/>
                    <a:pt x="116953" y="50075"/>
                    <a:pt x="117588" y="51904"/>
                  </a:cubicBezTo>
                  <a:cubicBezTo>
                    <a:pt x="122172" y="60019"/>
                    <a:pt x="122947" y="69747"/>
                    <a:pt x="119696" y="78472"/>
                  </a:cubicBezTo>
                  <a:cubicBezTo>
                    <a:pt x="117702" y="83641"/>
                    <a:pt x="114324" y="89407"/>
                    <a:pt x="116851" y="94296"/>
                  </a:cubicBezTo>
                  <a:cubicBezTo>
                    <a:pt x="119378" y="99173"/>
                    <a:pt x="126414" y="99401"/>
                    <a:pt x="131761" y="101243"/>
                  </a:cubicBezTo>
                  <a:cubicBezTo>
                    <a:pt x="141285" y="104824"/>
                    <a:pt x="146873" y="114717"/>
                    <a:pt x="145019" y="124725"/>
                  </a:cubicBezTo>
                  <a:cubicBezTo>
                    <a:pt x="144270" y="128167"/>
                    <a:pt x="142632" y="131595"/>
                    <a:pt x="143343" y="135063"/>
                  </a:cubicBezTo>
                  <a:cubicBezTo>
                    <a:pt x="144054" y="138530"/>
                    <a:pt x="147166" y="141197"/>
                    <a:pt x="149528" y="144003"/>
                  </a:cubicBezTo>
                  <a:cubicBezTo>
                    <a:pt x="158824" y="155078"/>
                    <a:pt x="157389" y="171587"/>
                    <a:pt x="146315" y="180884"/>
                  </a:cubicBezTo>
                  <a:cubicBezTo>
                    <a:pt x="142835" y="183805"/>
                    <a:pt x="138644" y="185773"/>
                    <a:pt x="134174" y="186586"/>
                  </a:cubicBezTo>
                  <a:cubicBezTo>
                    <a:pt x="130110" y="187323"/>
                    <a:pt x="125652" y="187157"/>
                    <a:pt x="122134" y="189431"/>
                  </a:cubicBezTo>
                  <a:cubicBezTo>
                    <a:pt x="118096" y="191933"/>
                    <a:pt x="116457" y="196809"/>
                    <a:pt x="113612" y="200619"/>
                  </a:cubicBezTo>
                  <a:cubicBezTo>
                    <a:pt x="107809" y="207960"/>
                    <a:pt x="98093" y="210995"/>
                    <a:pt x="89140" y="208252"/>
                  </a:cubicBezTo>
                  <a:cubicBezTo>
                    <a:pt x="87400" y="207655"/>
                    <a:pt x="85749" y="206829"/>
                    <a:pt x="84225" y="205775"/>
                  </a:cubicBezTo>
                  <a:cubicBezTo>
                    <a:pt x="81393" y="209585"/>
                    <a:pt x="77215" y="212138"/>
                    <a:pt x="69861" y="212138"/>
                  </a:cubicBezTo>
                  <a:lnTo>
                    <a:pt x="71563" y="116356"/>
                  </a:lnTo>
                  <a:cubicBezTo>
                    <a:pt x="70522" y="118705"/>
                    <a:pt x="68414" y="120407"/>
                    <a:pt x="65886" y="120928"/>
                  </a:cubicBezTo>
                  <a:cubicBezTo>
                    <a:pt x="50532" y="124382"/>
                    <a:pt x="48284" y="92696"/>
                    <a:pt x="51701" y="84009"/>
                  </a:cubicBezTo>
                  <a:cubicBezTo>
                    <a:pt x="45910" y="79259"/>
                    <a:pt x="40728" y="73798"/>
                    <a:pt x="36283" y="67779"/>
                  </a:cubicBezTo>
                  <a:cubicBezTo>
                    <a:pt x="32054" y="61505"/>
                    <a:pt x="28307" y="44411"/>
                    <a:pt x="29209" y="36715"/>
                  </a:cubicBezTo>
                  <a:cubicBezTo>
                    <a:pt x="23621" y="37032"/>
                    <a:pt x="0" y="29247"/>
                    <a:pt x="2438" y="2851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1" name="Free Form 3386">
              <a:extLst>
                <a:ext uri="{FF2B5EF4-FFF2-40B4-BE49-F238E27FC236}">
                  <a16:creationId xmlns:a16="http://schemas.microsoft.com/office/drawing/2014/main" id="{B17DFDF2-B362-9559-C837-1B32BE499D99}"/>
                </a:ext>
              </a:extLst>
            </p:cNvPr>
            <p:cNvSpPr/>
            <p:nvPr/>
          </p:nvSpPr>
          <p:spPr>
            <a:xfrm>
              <a:off x="26165016" y="29906026"/>
              <a:ext cx="29590" cy="50824"/>
            </a:xfrm>
            <a:custGeom>
              <a:avLst/>
              <a:gdLst/>
              <a:ahLst/>
              <a:cxnLst/>
              <a:rect l="0" t="0" r="0" b="0"/>
              <a:pathLst>
                <a:path w="29590" h="50824">
                  <a:moveTo>
                    <a:pt x="571" y="11810"/>
                  </a:moveTo>
                  <a:cubicBezTo>
                    <a:pt x="1054" y="2070"/>
                    <a:pt x="12953" y="0"/>
                    <a:pt x="21411" y="4851"/>
                  </a:cubicBezTo>
                  <a:cubicBezTo>
                    <a:pt x="26034" y="7696"/>
                    <a:pt x="29590" y="12915"/>
                    <a:pt x="29158" y="23253"/>
                  </a:cubicBezTo>
                  <a:cubicBezTo>
                    <a:pt x="28028" y="50824"/>
                    <a:pt x="571" y="44005"/>
                    <a:pt x="571" y="43128"/>
                  </a:cubicBezTo>
                  <a:cubicBezTo>
                    <a:pt x="571" y="42239"/>
                    <a:pt x="0" y="23164"/>
                    <a:pt x="571" y="11810"/>
                  </a:cubicBez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2" name="Free Form 3387">
              <a:extLst>
                <a:ext uri="{FF2B5EF4-FFF2-40B4-BE49-F238E27FC236}">
                  <a16:creationId xmlns:a16="http://schemas.microsoft.com/office/drawing/2014/main" id="{47D0E4D8-A0A8-94F1-E61B-129D5DFF5B26}"/>
                </a:ext>
              </a:extLst>
            </p:cNvPr>
            <p:cNvSpPr/>
            <p:nvPr/>
          </p:nvSpPr>
          <p:spPr>
            <a:xfrm>
              <a:off x="26174415" y="29917481"/>
              <a:ext cx="12966" cy="24371"/>
            </a:xfrm>
            <a:custGeom>
              <a:avLst/>
              <a:gdLst/>
              <a:ahLst/>
              <a:cxnLst/>
              <a:rect l="0" t="0" r="0" b="0"/>
              <a:pathLst>
                <a:path w="12966" h="24371">
                  <a:moveTo>
                    <a:pt x="0" y="21704"/>
                  </a:moveTo>
                  <a:cubicBezTo>
                    <a:pt x="0" y="21704"/>
                    <a:pt x="482" y="22072"/>
                    <a:pt x="1282" y="22466"/>
                  </a:cubicBezTo>
                  <a:cubicBezTo>
                    <a:pt x="2400" y="23012"/>
                    <a:pt x="3682" y="23088"/>
                    <a:pt x="4851" y="22694"/>
                  </a:cubicBezTo>
                  <a:cubicBezTo>
                    <a:pt x="7696" y="21767"/>
                    <a:pt x="10528" y="17221"/>
                    <a:pt x="10794" y="12255"/>
                  </a:cubicBezTo>
                  <a:cubicBezTo>
                    <a:pt x="10947" y="9893"/>
                    <a:pt x="10591" y="7531"/>
                    <a:pt x="9740" y="5321"/>
                  </a:cubicBezTo>
                  <a:cubicBezTo>
                    <a:pt x="9270" y="3568"/>
                    <a:pt x="7975" y="2133"/>
                    <a:pt x="6273" y="1485"/>
                  </a:cubicBezTo>
                  <a:cubicBezTo>
                    <a:pt x="5156" y="1181"/>
                    <a:pt x="3975" y="1689"/>
                    <a:pt x="3441" y="2717"/>
                  </a:cubicBezTo>
                  <a:cubicBezTo>
                    <a:pt x="3035" y="3454"/>
                    <a:pt x="3213" y="4013"/>
                    <a:pt x="3035" y="4038"/>
                  </a:cubicBezTo>
                  <a:cubicBezTo>
                    <a:pt x="2870" y="4076"/>
                    <a:pt x="2476" y="3568"/>
                    <a:pt x="2755" y="2425"/>
                  </a:cubicBezTo>
                  <a:cubicBezTo>
                    <a:pt x="2933" y="1752"/>
                    <a:pt x="3327" y="1168"/>
                    <a:pt x="3886" y="749"/>
                  </a:cubicBezTo>
                  <a:cubicBezTo>
                    <a:pt x="4673" y="215"/>
                    <a:pt x="5651" y="0"/>
                    <a:pt x="6591" y="152"/>
                  </a:cubicBezTo>
                  <a:cubicBezTo>
                    <a:pt x="8864" y="711"/>
                    <a:pt x="10693" y="2400"/>
                    <a:pt x="11417" y="4635"/>
                  </a:cubicBezTo>
                  <a:cubicBezTo>
                    <a:pt x="12509" y="7073"/>
                    <a:pt x="12966" y="9740"/>
                    <a:pt x="12776" y="12395"/>
                  </a:cubicBezTo>
                  <a:cubicBezTo>
                    <a:pt x="12382" y="17932"/>
                    <a:pt x="9309" y="23012"/>
                    <a:pt x="5283" y="24002"/>
                  </a:cubicBezTo>
                  <a:cubicBezTo>
                    <a:pt x="3759" y="24371"/>
                    <a:pt x="2158" y="24040"/>
                    <a:pt x="914" y="23088"/>
                  </a:cubicBezTo>
                  <a:cubicBezTo>
                    <a:pt x="0" y="22389"/>
                    <a:pt x="0" y="21767"/>
                    <a:pt x="0" y="21704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3" name="Free Form 3388">
              <a:extLst>
                <a:ext uri="{FF2B5EF4-FFF2-40B4-BE49-F238E27FC236}">
                  <a16:creationId xmlns:a16="http://schemas.microsoft.com/office/drawing/2014/main" id="{E48E3155-8DD5-5CAC-56A9-167C4ACCA76C}"/>
                </a:ext>
              </a:extLst>
            </p:cNvPr>
            <p:cNvSpPr/>
            <p:nvPr/>
          </p:nvSpPr>
          <p:spPr>
            <a:xfrm>
              <a:off x="26138643" y="29814919"/>
              <a:ext cx="66001" cy="134632"/>
            </a:xfrm>
            <a:custGeom>
              <a:avLst/>
              <a:gdLst/>
              <a:ahLst/>
              <a:cxnLst/>
              <a:rect l="0" t="0" r="0" b="0"/>
              <a:pathLst>
                <a:path w="66001" h="134631">
                  <a:moveTo>
                    <a:pt x="0" y="0"/>
                  </a:moveTo>
                  <a:cubicBezTo>
                    <a:pt x="2146" y="1104"/>
                    <a:pt x="4013" y="2679"/>
                    <a:pt x="5473" y="4597"/>
                  </a:cubicBezTo>
                  <a:cubicBezTo>
                    <a:pt x="8318" y="8369"/>
                    <a:pt x="9258" y="15557"/>
                    <a:pt x="7518" y="23672"/>
                  </a:cubicBezTo>
                  <a:lnTo>
                    <a:pt x="7518" y="24358"/>
                  </a:lnTo>
                  <a:lnTo>
                    <a:pt x="8204" y="24536"/>
                  </a:lnTo>
                  <a:cubicBezTo>
                    <a:pt x="16230" y="26695"/>
                    <a:pt x="22796" y="32473"/>
                    <a:pt x="25945" y="40169"/>
                  </a:cubicBezTo>
                  <a:cubicBezTo>
                    <a:pt x="26809" y="42315"/>
                    <a:pt x="27279" y="44589"/>
                    <a:pt x="27368" y="46900"/>
                  </a:cubicBezTo>
                  <a:cubicBezTo>
                    <a:pt x="27317" y="49351"/>
                    <a:pt x="27025" y="51802"/>
                    <a:pt x="26517" y="54203"/>
                  </a:cubicBezTo>
                  <a:cubicBezTo>
                    <a:pt x="25971" y="56781"/>
                    <a:pt x="25615" y="59397"/>
                    <a:pt x="25463" y="62038"/>
                  </a:cubicBezTo>
                  <a:cubicBezTo>
                    <a:pt x="25260" y="64909"/>
                    <a:pt x="26034" y="67766"/>
                    <a:pt x="27647" y="70154"/>
                  </a:cubicBezTo>
                  <a:cubicBezTo>
                    <a:pt x="31089" y="75373"/>
                    <a:pt x="36601" y="77926"/>
                    <a:pt x="41312" y="80428"/>
                  </a:cubicBezTo>
                  <a:cubicBezTo>
                    <a:pt x="46011" y="82485"/>
                    <a:pt x="50342" y="85317"/>
                    <a:pt x="54114" y="88810"/>
                  </a:cubicBezTo>
                  <a:cubicBezTo>
                    <a:pt x="60349" y="94918"/>
                    <a:pt x="64032" y="103186"/>
                    <a:pt x="64413" y="111911"/>
                  </a:cubicBezTo>
                  <a:cubicBezTo>
                    <a:pt x="64604" y="117803"/>
                    <a:pt x="63359" y="123645"/>
                    <a:pt x="60781" y="128954"/>
                  </a:cubicBezTo>
                  <a:cubicBezTo>
                    <a:pt x="58940" y="132700"/>
                    <a:pt x="57403" y="134631"/>
                    <a:pt x="57581" y="134631"/>
                  </a:cubicBezTo>
                  <a:cubicBezTo>
                    <a:pt x="58025" y="134262"/>
                    <a:pt x="58406" y="133843"/>
                    <a:pt x="58736" y="133373"/>
                  </a:cubicBezTo>
                  <a:cubicBezTo>
                    <a:pt x="59803" y="132103"/>
                    <a:pt x="60743" y="130732"/>
                    <a:pt x="61581" y="129297"/>
                  </a:cubicBezTo>
                  <a:cubicBezTo>
                    <a:pt x="64515" y="123963"/>
                    <a:pt x="66001" y="117969"/>
                    <a:pt x="65886" y="111885"/>
                  </a:cubicBezTo>
                  <a:cubicBezTo>
                    <a:pt x="65709" y="102741"/>
                    <a:pt x="61975" y="94017"/>
                    <a:pt x="55498" y="87552"/>
                  </a:cubicBezTo>
                  <a:cubicBezTo>
                    <a:pt x="51624" y="83895"/>
                    <a:pt x="47167" y="80910"/>
                    <a:pt x="42303" y="78726"/>
                  </a:cubicBezTo>
                  <a:cubicBezTo>
                    <a:pt x="37566" y="76262"/>
                    <a:pt x="32359" y="73697"/>
                    <a:pt x="29387" y="69099"/>
                  </a:cubicBezTo>
                  <a:cubicBezTo>
                    <a:pt x="26339" y="64934"/>
                    <a:pt x="27711" y="59448"/>
                    <a:pt x="28498" y="54507"/>
                  </a:cubicBezTo>
                  <a:cubicBezTo>
                    <a:pt x="29031" y="51993"/>
                    <a:pt x="29311" y="49440"/>
                    <a:pt x="29362" y="46875"/>
                  </a:cubicBezTo>
                  <a:cubicBezTo>
                    <a:pt x="29247" y="44347"/>
                    <a:pt x="28701" y="41858"/>
                    <a:pt x="27736" y="39521"/>
                  </a:cubicBezTo>
                  <a:cubicBezTo>
                    <a:pt x="24345" y="31330"/>
                    <a:pt x="17259" y="25260"/>
                    <a:pt x="8661" y="23139"/>
                  </a:cubicBezTo>
                  <a:lnTo>
                    <a:pt x="9169" y="23990"/>
                  </a:lnTo>
                  <a:cubicBezTo>
                    <a:pt x="10820" y="15468"/>
                    <a:pt x="9512" y="8039"/>
                    <a:pt x="6337" y="4114"/>
                  </a:cubicBezTo>
                  <a:cubicBezTo>
                    <a:pt x="5105" y="2603"/>
                    <a:pt x="3517" y="1435"/>
                    <a:pt x="1701" y="711"/>
                  </a:cubicBezTo>
                  <a:cubicBezTo>
                    <a:pt x="1168" y="393"/>
                    <a:pt x="596" y="152"/>
                    <a:pt x="0" y="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4" name="Free Form 3389">
              <a:extLst>
                <a:ext uri="{FF2B5EF4-FFF2-40B4-BE49-F238E27FC236}">
                  <a16:creationId xmlns:a16="http://schemas.microsoft.com/office/drawing/2014/main" id="{FD836CAB-6215-8085-C6E0-97B36D754CAF}"/>
                </a:ext>
              </a:extLst>
            </p:cNvPr>
            <p:cNvSpPr/>
            <p:nvPr/>
          </p:nvSpPr>
          <p:spPr>
            <a:xfrm>
              <a:off x="26197633" y="30190323"/>
              <a:ext cx="108063" cy="140067"/>
            </a:xfrm>
            <a:custGeom>
              <a:avLst/>
              <a:gdLst/>
              <a:ahLst/>
              <a:cxnLst/>
              <a:rect l="0" t="0" r="0" b="0"/>
              <a:pathLst>
                <a:path w="108063" h="140066">
                  <a:moveTo>
                    <a:pt x="72287" y="21894"/>
                  </a:moveTo>
                  <a:cubicBezTo>
                    <a:pt x="65988" y="26593"/>
                    <a:pt x="59422" y="30936"/>
                    <a:pt x="52640" y="34899"/>
                  </a:cubicBezTo>
                  <a:cubicBezTo>
                    <a:pt x="48208" y="36804"/>
                    <a:pt x="36461" y="47243"/>
                    <a:pt x="33616" y="58038"/>
                  </a:cubicBezTo>
                  <a:cubicBezTo>
                    <a:pt x="30784" y="68820"/>
                    <a:pt x="23139" y="74218"/>
                    <a:pt x="20611" y="79272"/>
                  </a:cubicBezTo>
                  <a:cubicBezTo>
                    <a:pt x="18084" y="84327"/>
                    <a:pt x="18084" y="105281"/>
                    <a:pt x="18402" y="110501"/>
                  </a:cubicBezTo>
                  <a:cubicBezTo>
                    <a:pt x="18719" y="115721"/>
                    <a:pt x="3187" y="127532"/>
                    <a:pt x="2222" y="129830"/>
                  </a:cubicBezTo>
                  <a:cubicBezTo>
                    <a:pt x="1257" y="132129"/>
                    <a:pt x="0" y="137450"/>
                    <a:pt x="4127" y="138720"/>
                  </a:cubicBezTo>
                  <a:cubicBezTo>
                    <a:pt x="7746" y="140066"/>
                    <a:pt x="11823" y="139469"/>
                    <a:pt x="14909" y="137133"/>
                  </a:cubicBezTo>
                  <a:cubicBezTo>
                    <a:pt x="17119" y="134923"/>
                    <a:pt x="26263" y="126973"/>
                    <a:pt x="26263" y="126973"/>
                  </a:cubicBezTo>
                  <a:cubicBezTo>
                    <a:pt x="26263" y="126973"/>
                    <a:pt x="25323" y="136815"/>
                    <a:pt x="28485" y="137450"/>
                  </a:cubicBezTo>
                  <a:cubicBezTo>
                    <a:pt x="31216" y="137780"/>
                    <a:pt x="33984" y="137780"/>
                    <a:pt x="36715" y="137450"/>
                  </a:cubicBezTo>
                  <a:lnTo>
                    <a:pt x="48475" y="120013"/>
                  </a:lnTo>
                  <a:cubicBezTo>
                    <a:pt x="48475" y="120013"/>
                    <a:pt x="51307" y="132357"/>
                    <a:pt x="56387" y="131113"/>
                  </a:cubicBezTo>
                  <a:cubicBezTo>
                    <a:pt x="61467" y="129868"/>
                    <a:pt x="64616" y="128560"/>
                    <a:pt x="65277" y="120953"/>
                  </a:cubicBezTo>
                  <a:cubicBezTo>
                    <a:pt x="65988" y="115200"/>
                    <a:pt x="67372" y="109561"/>
                    <a:pt x="69392" y="104138"/>
                  </a:cubicBezTo>
                  <a:lnTo>
                    <a:pt x="69392" y="97814"/>
                  </a:lnTo>
                  <a:cubicBezTo>
                    <a:pt x="69392" y="97814"/>
                    <a:pt x="76034" y="106043"/>
                    <a:pt x="81114" y="104799"/>
                  </a:cubicBezTo>
                  <a:cubicBezTo>
                    <a:pt x="86193" y="103541"/>
                    <a:pt x="88416" y="100989"/>
                    <a:pt x="88721" y="99122"/>
                  </a:cubicBezTo>
                  <a:cubicBezTo>
                    <a:pt x="88302" y="92404"/>
                    <a:pt x="87248" y="85749"/>
                    <a:pt x="85546" y="79247"/>
                  </a:cubicBezTo>
                  <a:cubicBezTo>
                    <a:pt x="83768" y="73837"/>
                    <a:pt x="81660" y="68541"/>
                    <a:pt x="79209" y="63397"/>
                  </a:cubicBezTo>
                  <a:cubicBezTo>
                    <a:pt x="79209" y="63397"/>
                    <a:pt x="76376" y="49427"/>
                    <a:pt x="79526" y="44068"/>
                  </a:cubicBezTo>
                  <a:cubicBezTo>
                    <a:pt x="82676" y="38696"/>
                    <a:pt x="100455" y="23456"/>
                    <a:pt x="102665" y="18376"/>
                  </a:cubicBezTo>
                  <a:cubicBezTo>
                    <a:pt x="104875" y="13296"/>
                    <a:pt x="108063" y="5689"/>
                    <a:pt x="100455" y="2844"/>
                  </a:cubicBezTo>
                  <a:cubicBezTo>
                    <a:pt x="92848" y="0"/>
                    <a:pt x="83247" y="14261"/>
                    <a:pt x="72287" y="21894"/>
                  </a:cubicBez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5" name="Free Form 3390">
              <a:extLst>
                <a:ext uri="{FF2B5EF4-FFF2-40B4-BE49-F238E27FC236}">
                  <a16:creationId xmlns:a16="http://schemas.microsoft.com/office/drawing/2014/main" id="{A5C46940-8CFC-688B-26F2-AF4ECFC3E25D}"/>
                </a:ext>
              </a:extLst>
            </p:cNvPr>
            <p:cNvSpPr/>
            <p:nvPr/>
          </p:nvSpPr>
          <p:spPr>
            <a:xfrm>
              <a:off x="26232757" y="30254891"/>
              <a:ext cx="27025" cy="6566"/>
            </a:xfrm>
            <a:custGeom>
              <a:avLst/>
              <a:gdLst/>
              <a:ahLst/>
              <a:cxnLst/>
              <a:rect l="0" t="0" r="0" b="0"/>
              <a:pathLst>
                <a:path w="27025" h="6565">
                  <a:moveTo>
                    <a:pt x="0" y="507"/>
                  </a:moveTo>
                  <a:cubicBezTo>
                    <a:pt x="0" y="673"/>
                    <a:pt x="1054" y="1816"/>
                    <a:pt x="3378" y="3035"/>
                  </a:cubicBezTo>
                  <a:cubicBezTo>
                    <a:pt x="9562" y="6134"/>
                    <a:pt x="16738" y="6565"/>
                    <a:pt x="23253" y="4229"/>
                  </a:cubicBezTo>
                  <a:cubicBezTo>
                    <a:pt x="25717" y="3289"/>
                    <a:pt x="27025" y="2298"/>
                    <a:pt x="26949" y="2095"/>
                  </a:cubicBezTo>
                  <a:cubicBezTo>
                    <a:pt x="26860" y="1904"/>
                    <a:pt x="20891" y="4368"/>
                    <a:pt x="13233" y="3860"/>
                  </a:cubicBezTo>
                  <a:cubicBezTo>
                    <a:pt x="5562" y="3352"/>
                    <a:pt x="253" y="0"/>
                    <a:pt x="0" y="507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6" name="Free Form 3391">
              <a:extLst>
                <a:ext uri="{FF2B5EF4-FFF2-40B4-BE49-F238E27FC236}">
                  <a16:creationId xmlns:a16="http://schemas.microsoft.com/office/drawing/2014/main" id="{D732836A-27F9-F0D4-EA48-972DBFC67CBB}"/>
                </a:ext>
              </a:extLst>
            </p:cNvPr>
            <p:cNvSpPr/>
            <p:nvPr/>
          </p:nvSpPr>
          <p:spPr>
            <a:xfrm>
              <a:off x="26224587" y="30302616"/>
              <a:ext cx="6833" cy="16090"/>
            </a:xfrm>
            <a:custGeom>
              <a:avLst/>
              <a:gdLst/>
              <a:ahLst/>
              <a:cxnLst/>
              <a:rect l="0" t="0" r="0" b="0"/>
              <a:pathLst>
                <a:path w="6832" h="16090">
                  <a:moveTo>
                    <a:pt x="419" y="15811"/>
                  </a:moveTo>
                  <a:cubicBezTo>
                    <a:pt x="850" y="16090"/>
                    <a:pt x="3263" y="12966"/>
                    <a:pt x="5054" y="8508"/>
                  </a:cubicBezTo>
                  <a:cubicBezTo>
                    <a:pt x="6832" y="4051"/>
                    <a:pt x="6756" y="0"/>
                    <a:pt x="6273" y="0"/>
                  </a:cubicBezTo>
                  <a:cubicBezTo>
                    <a:pt x="5791" y="0"/>
                    <a:pt x="4902" y="3606"/>
                    <a:pt x="3428" y="7924"/>
                  </a:cubicBezTo>
                  <a:cubicBezTo>
                    <a:pt x="1955" y="12229"/>
                    <a:pt x="0" y="15531"/>
                    <a:pt x="419" y="15811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7" name="Free Form 3392">
              <a:extLst>
                <a:ext uri="{FF2B5EF4-FFF2-40B4-BE49-F238E27FC236}">
                  <a16:creationId xmlns:a16="http://schemas.microsoft.com/office/drawing/2014/main" id="{5C216173-118F-150B-61E7-853C0F2D78BD}"/>
                </a:ext>
              </a:extLst>
            </p:cNvPr>
            <p:cNvSpPr/>
            <p:nvPr/>
          </p:nvSpPr>
          <p:spPr>
            <a:xfrm>
              <a:off x="26245398" y="30294385"/>
              <a:ext cx="4598" cy="16548"/>
            </a:xfrm>
            <a:custGeom>
              <a:avLst/>
              <a:gdLst/>
              <a:ahLst/>
              <a:cxnLst/>
              <a:rect l="0" t="0" r="0" b="0"/>
              <a:pathLst>
                <a:path w="4597" h="16547">
                  <a:moveTo>
                    <a:pt x="419" y="16319"/>
                  </a:moveTo>
                  <a:cubicBezTo>
                    <a:pt x="850" y="16547"/>
                    <a:pt x="2832" y="13169"/>
                    <a:pt x="3708" y="8508"/>
                  </a:cubicBezTo>
                  <a:cubicBezTo>
                    <a:pt x="4597" y="3860"/>
                    <a:pt x="4076" y="0"/>
                    <a:pt x="3708" y="0"/>
                  </a:cubicBezTo>
                  <a:cubicBezTo>
                    <a:pt x="2857" y="2641"/>
                    <a:pt x="2285" y="5372"/>
                    <a:pt x="2031" y="8140"/>
                  </a:cubicBezTo>
                  <a:cubicBezTo>
                    <a:pt x="1041" y="12572"/>
                    <a:pt x="0" y="16116"/>
                    <a:pt x="419" y="16319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8" name="Free Form 3393">
              <a:extLst>
                <a:ext uri="{FF2B5EF4-FFF2-40B4-BE49-F238E27FC236}">
                  <a16:creationId xmlns:a16="http://schemas.microsoft.com/office/drawing/2014/main" id="{F8AA57A3-C62F-D4C6-31D5-89A6114DAE41}"/>
                </a:ext>
              </a:extLst>
            </p:cNvPr>
            <p:cNvSpPr/>
            <p:nvPr/>
          </p:nvSpPr>
          <p:spPr>
            <a:xfrm>
              <a:off x="25401534" y="29663881"/>
              <a:ext cx="982970" cy="761319"/>
            </a:xfrm>
            <a:custGeom>
              <a:avLst/>
              <a:gdLst/>
              <a:ahLst/>
              <a:cxnLst/>
              <a:rect l="0" t="0" r="0" b="0"/>
              <a:pathLst>
                <a:path w="982969" h="761318">
                  <a:moveTo>
                    <a:pt x="982461" y="760671"/>
                  </a:moveTo>
                  <a:cubicBezTo>
                    <a:pt x="982461" y="755591"/>
                    <a:pt x="982207" y="459735"/>
                    <a:pt x="981839" y="736"/>
                  </a:cubicBezTo>
                  <a:lnTo>
                    <a:pt x="982461" y="1358"/>
                  </a:lnTo>
                  <a:lnTo>
                    <a:pt x="660" y="1473"/>
                  </a:lnTo>
                  <a:lnTo>
                    <a:pt x="1396" y="736"/>
                  </a:lnTo>
                  <a:lnTo>
                    <a:pt x="1396" y="760671"/>
                  </a:lnTo>
                  <a:lnTo>
                    <a:pt x="711" y="759985"/>
                  </a:lnTo>
                  <a:lnTo>
                    <a:pt x="982601" y="760671"/>
                  </a:lnTo>
                  <a:lnTo>
                    <a:pt x="660" y="761318"/>
                  </a:lnTo>
                  <a:lnTo>
                    <a:pt x="0" y="761318"/>
                  </a:lnTo>
                  <a:lnTo>
                    <a:pt x="0" y="760671"/>
                  </a:lnTo>
                  <a:lnTo>
                    <a:pt x="0" y="736"/>
                  </a:lnTo>
                  <a:lnTo>
                    <a:pt x="0" y="0"/>
                  </a:lnTo>
                  <a:lnTo>
                    <a:pt x="660" y="0"/>
                  </a:lnTo>
                  <a:lnTo>
                    <a:pt x="982461" y="139"/>
                  </a:lnTo>
                  <a:lnTo>
                    <a:pt x="982969" y="139"/>
                  </a:lnTo>
                  <a:lnTo>
                    <a:pt x="982969" y="736"/>
                  </a:lnTo>
                  <a:cubicBezTo>
                    <a:pt x="982690" y="459671"/>
                    <a:pt x="982461" y="755591"/>
                    <a:pt x="982461" y="76067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9" name="Free Form 3394">
              <a:extLst>
                <a:ext uri="{FF2B5EF4-FFF2-40B4-BE49-F238E27FC236}">
                  <a16:creationId xmlns:a16="http://schemas.microsoft.com/office/drawing/2014/main" id="{040A39C8-539C-3098-874F-C34251FCC06B}"/>
                </a:ext>
              </a:extLst>
            </p:cNvPr>
            <p:cNvSpPr/>
            <p:nvPr/>
          </p:nvSpPr>
          <p:spPr>
            <a:xfrm>
              <a:off x="25739470" y="30696817"/>
              <a:ext cx="171258" cy="137946"/>
            </a:xfrm>
            <a:custGeom>
              <a:avLst/>
              <a:gdLst/>
              <a:ahLst/>
              <a:cxnLst/>
              <a:rect l="0" t="0" r="0" b="0"/>
              <a:pathLst>
                <a:path w="171257" h="137945">
                  <a:moveTo>
                    <a:pt x="0" y="0"/>
                  </a:moveTo>
                  <a:lnTo>
                    <a:pt x="20980" y="137945"/>
                  </a:lnTo>
                  <a:lnTo>
                    <a:pt x="142949" y="137945"/>
                  </a:lnTo>
                  <a:lnTo>
                    <a:pt x="171257" y="1981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0" name="Free Form 3406">
              <a:extLst>
                <a:ext uri="{FF2B5EF4-FFF2-40B4-BE49-F238E27FC236}">
                  <a16:creationId xmlns:a16="http://schemas.microsoft.com/office/drawing/2014/main" id="{54A3356D-8955-94CC-A0D1-148DA0F6D884}"/>
                </a:ext>
              </a:extLst>
            </p:cNvPr>
            <p:cNvSpPr/>
            <p:nvPr/>
          </p:nvSpPr>
          <p:spPr>
            <a:xfrm>
              <a:off x="25826568" y="30424637"/>
              <a:ext cx="32144" cy="264056"/>
            </a:xfrm>
            <a:custGeom>
              <a:avLst/>
              <a:gdLst/>
              <a:ahLst/>
              <a:cxnLst/>
              <a:rect l="0" t="0" r="0" b="0"/>
              <a:pathLst>
                <a:path w="32143" h="264055">
                  <a:moveTo>
                    <a:pt x="32143" y="0"/>
                  </a:moveTo>
                  <a:cubicBezTo>
                    <a:pt x="32130" y="228"/>
                    <a:pt x="32079" y="457"/>
                    <a:pt x="32003" y="685"/>
                  </a:cubicBezTo>
                  <a:lnTo>
                    <a:pt x="31432" y="2616"/>
                  </a:lnTo>
                  <a:cubicBezTo>
                    <a:pt x="30860" y="4432"/>
                    <a:pt x="30098" y="6921"/>
                    <a:pt x="29108" y="10045"/>
                  </a:cubicBezTo>
                  <a:cubicBezTo>
                    <a:pt x="28117" y="13169"/>
                    <a:pt x="26834" y="17233"/>
                    <a:pt x="25526" y="21856"/>
                  </a:cubicBezTo>
                  <a:cubicBezTo>
                    <a:pt x="24218" y="26491"/>
                    <a:pt x="22694" y="31711"/>
                    <a:pt x="21132" y="37591"/>
                  </a:cubicBezTo>
                  <a:cubicBezTo>
                    <a:pt x="19570" y="43458"/>
                    <a:pt x="17919" y="49859"/>
                    <a:pt x="16382" y="56806"/>
                  </a:cubicBezTo>
                  <a:cubicBezTo>
                    <a:pt x="14858" y="63766"/>
                    <a:pt x="13258" y="71170"/>
                    <a:pt x="11671" y="79005"/>
                  </a:cubicBezTo>
                  <a:cubicBezTo>
                    <a:pt x="8839" y="94740"/>
                    <a:pt x="5994" y="112139"/>
                    <a:pt x="4203" y="130478"/>
                  </a:cubicBezTo>
                  <a:cubicBezTo>
                    <a:pt x="2412" y="148829"/>
                    <a:pt x="1600" y="166457"/>
                    <a:pt x="1371" y="182433"/>
                  </a:cubicBezTo>
                  <a:cubicBezTo>
                    <a:pt x="1371" y="190447"/>
                    <a:pt x="1371" y="198054"/>
                    <a:pt x="1600" y="205153"/>
                  </a:cubicBezTo>
                  <a:cubicBezTo>
                    <a:pt x="1816" y="212252"/>
                    <a:pt x="2082" y="218894"/>
                    <a:pt x="2451" y="225028"/>
                  </a:cubicBezTo>
                  <a:cubicBezTo>
                    <a:pt x="2819" y="231150"/>
                    <a:pt x="3263" y="236382"/>
                    <a:pt x="3632" y="241322"/>
                  </a:cubicBezTo>
                  <a:cubicBezTo>
                    <a:pt x="4013" y="246263"/>
                    <a:pt x="4432" y="250238"/>
                    <a:pt x="4825" y="253590"/>
                  </a:cubicBezTo>
                  <a:cubicBezTo>
                    <a:pt x="5232" y="256930"/>
                    <a:pt x="5422" y="259458"/>
                    <a:pt x="5626" y="261363"/>
                  </a:cubicBezTo>
                  <a:cubicBezTo>
                    <a:pt x="5626" y="262163"/>
                    <a:pt x="5765" y="262836"/>
                    <a:pt x="5791" y="263382"/>
                  </a:cubicBezTo>
                  <a:cubicBezTo>
                    <a:pt x="5829" y="263915"/>
                    <a:pt x="5791" y="264055"/>
                    <a:pt x="5791" y="264055"/>
                  </a:cubicBezTo>
                  <a:cubicBezTo>
                    <a:pt x="5702" y="263852"/>
                    <a:pt x="5651" y="263636"/>
                    <a:pt x="5626" y="263407"/>
                  </a:cubicBezTo>
                  <a:cubicBezTo>
                    <a:pt x="5626" y="262861"/>
                    <a:pt x="5422" y="262188"/>
                    <a:pt x="5308" y="261388"/>
                  </a:cubicBezTo>
                  <a:cubicBezTo>
                    <a:pt x="5054" y="259521"/>
                    <a:pt x="4686" y="256930"/>
                    <a:pt x="4229" y="253667"/>
                  </a:cubicBezTo>
                  <a:cubicBezTo>
                    <a:pt x="3784" y="250403"/>
                    <a:pt x="3238" y="246199"/>
                    <a:pt x="2819" y="241399"/>
                  </a:cubicBezTo>
                  <a:cubicBezTo>
                    <a:pt x="2387" y="236611"/>
                    <a:pt x="1739" y="231150"/>
                    <a:pt x="1396" y="225105"/>
                  </a:cubicBezTo>
                  <a:cubicBezTo>
                    <a:pt x="1054" y="219059"/>
                    <a:pt x="546" y="212417"/>
                    <a:pt x="368" y="205229"/>
                  </a:cubicBezTo>
                  <a:cubicBezTo>
                    <a:pt x="203" y="198054"/>
                    <a:pt x="63" y="190497"/>
                    <a:pt x="0" y="182522"/>
                  </a:cubicBezTo>
                  <a:cubicBezTo>
                    <a:pt x="177" y="166482"/>
                    <a:pt x="965" y="148855"/>
                    <a:pt x="2844" y="130427"/>
                  </a:cubicBezTo>
                  <a:cubicBezTo>
                    <a:pt x="4711" y="112000"/>
                    <a:pt x="7442" y="94601"/>
                    <a:pt x="10451" y="78840"/>
                  </a:cubicBezTo>
                  <a:cubicBezTo>
                    <a:pt x="12077" y="71004"/>
                    <a:pt x="13550" y="63537"/>
                    <a:pt x="15277" y="56615"/>
                  </a:cubicBezTo>
                  <a:cubicBezTo>
                    <a:pt x="17005" y="49681"/>
                    <a:pt x="18605" y="43268"/>
                    <a:pt x="20218" y="37413"/>
                  </a:cubicBezTo>
                  <a:cubicBezTo>
                    <a:pt x="21831" y="31571"/>
                    <a:pt x="23431" y="26314"/>
                    <a:pt x="24815" y="21716"/>
                  </a:cubicBezTo>
                  <a:cubicBezTo>
                    <a:pt x="26212" y="17119"/>
                    <a:pt x="27520" y="13195"/>
                    <a:pt x="28650" y="9969"/>
                  </a:cubicBezTo>
                  <a:lnTo>
                    <a:pt x="31203" y="2616"/>
                  </a:lnTo>
                  <a:cubicBezTo>
                    <a:pt x="31521" y="1841"/>
                    <a:pt x="31749" y="1219"/>
                    <a:pt x="31914" y="711"/>
                  </a:cubicBezTo>
                  <a:cubicBezTo>
                    <a:pt x="31965" y="469"/>
                    <a:pt x="32041" y="228"/>
                    <a:pt x="32143" y="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1" name="Free Form 3407">
              <a:extLst>
                <a:ext uri="{FF2B5EF4-FFF2-40B4-BE49-F238E27FC236}">
                  <a16:creationId xmlns:a16="http://schemas.microsoft.com/office/drawing/2014/main" id="{CFF35392-9319-456B-BA8F-CE60BAD64AF5}"/>
                </a:ext>
              </a:extLst>
            </p:cNvPr>
            <p:cNvSpPr/>
            <p:nvPr/>
          </p:nvSpPr>
          <p:spPr>
            <a:xfrm>
              <a:off x="25834523" y="30482692"/>
              <a:ext cx="35776" cy="39243"/>
            </a:xfrm>
            <a:custGeom>
              <a:avLst/>
              <a:gdLst/>
              <a:ahLst/>
              <a:cxnLst/>
              <a:rect l="0" t="0" r="0" b="0"/>
              <a:pathLst>
                <a:path w="35775" h="39242">
                  <a:moveTo>
                    <a:pt x="2184" y="27342"/>
                  </a:moveTo>
                  <a:cubicBezTo>
                    <a:pt x="5549" y="17411"/>
                    <a:pt x="12255" y="8953"/>
                    <a:pt x="21145" y="3403"/>
                  </a:cubicBezTo>
                  <a:cubicBezTo>
                    <a:pt x="24155" y="1536"/>
                    <a:pt x="27990" y="0"/>
                    <a:pt x="31165" y="1562"/>
                  </a:cubicBezTo>
                  <a:cubicBezTo>
                    <a:pt x="35432" y="3606"/>
                    <a:pt x="35775" y="9601"/>
                    <a:pt x="34492" y="14134"/>
                  </a:cubicBezTo>
                  <a:cubicBezTo>
                    <a:pt x="32308" y="21869"/>
                    <a:pt x="27419" y="28561"/>
                    <a:pt x="20700" y="32968"/>
                  </a:cubicBezTo>
                  <a:cubicBezTo>
                    <a:pt x="14757" y="37375"/>
                    <a:pt x="7315" y="39242"/>
                    <a:pt x="0" y="38188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2" name="Free Form 3408">
              <a:extLst>
                <a:ext uri="{FF2B5EF4-FFF2-40B4-BE49-F238E27FC236}">
                  <a16:creationId xmlns:a16="http://schemas.microsoft.com/office/drawing/2014/main" id="{BB44CBF1-519D-3BCA-C3E6-336DD9E884BB}"/>
                </a:ext>
              </a:extLst>
            </p:cNvPr>
            <p:cNvSpPr/>
            <p:nvPr/>
          </p:nvSpPr>
          <p:spPr>
            <a:xfrm>
              <a:off x="25828053" y="30528151"/>
              <a:ext cx="36512" cy="45504"/>
            </a:xfrm>
            <a:custGeom>
              <a:avLst/>
              <a:gdLst/>
              <a:ahLst/>
              <a:cxnLst/>
              <a:rect l="0" t="0" r="0" b="0"/>
              <a:pathLst>
                <a:path w="36512" h="45503">
                  <a:moveTo>
                    <a:pt x="1244" y="39572"/>
                  </a:moveTo>
                  <a:cubicBezTo>
                    <a:pt x="4394" y="27647"/>
                    <a:pt x="13906" y="10731"/>
                    <a:pt x="23761" y="3378"/>
                  </a:cubicBezTo>
                  <a:cubicBezTo>
                    <a:pt x="25260" y="2095"/>
                    <a:pt x="26987" y="1130"/>
                    <a:pt x="28866" y="533"/>
                  </a:cubicBezTo>
                  <a:cubicBezTo>
                    <a:pt x="30771" y="0"/>
                    <a:pt x="32829" y="431"/>
                    <a:pt x="34353" y="1701"/>
                  </a:cubicBezTo>
                  <a:cubicBezTo>
                    <a:pt x="36054" y="3975"/>
                    <a:pt x="36512" y="6946"/>
                    <a:pt x="35572" y="9626"/>
                  </a:cubicBezTo>
                  <a:cubicBezTo>
                    <a:pt x="31482" y="27368"/>
                    <a:pt x="17703" y="41261"/>
                    <a:pt x="0" y="4550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3" name="Free Form 3409">
              <a:extLst>
                <a:ext uri="{FF2B5EF4-FFF2-40B4-BE49-F238E27FC236}">
                  <a16:creationId xmlns:a16="http://schemas.microsoft.com/office/drawing/2014/main" id="{7AF922F5-E7A1-F6A8-6D6D-37FC857048D9}"/>
                </a:ext>
              </a:extLst>
            </p:cNvPr>
            <p:cNvSpPr/>
            <p:nvPr/>
          </p:nvSpPr>
          <p:spPr>
            <a:xfrm>
              <a:off x="25827255" y="30586916"/>
              <a:ext cx="36906" cy="43129"/>
            </a:xfrm>
            <a:custGeom>
              <a:avLst/>
              <a:gdLst/>
              <a:ahLst/>
              <a:cxnLst/>
              <a:rect l="0" t="0" r="0" b="0"/>
              <a:pathLst>
                <a:path w="36905" h="43128">
                  <a:moveTo>
                    <a:pt x="0" y="31571"/>
                  </a:moveTo>
                  <a:cubicBezTo>
                    <a:pt x="4902" y="20205"/>
                    <a:pt x="12737" y="10337"/>
                    <a:pt x="22707" y="3009"/>
                  </a:cubicBezTo>
                  <a:cubicBezTo>
                    <a:pt x="24853" y="1028"/>
                    <a:pt x="27711" y="0"/>
                    <a:pt x="30632" y="165"/>
                  </a:cubicBezTo>
                  <a:cubicBezTo>
                    <a:pt x="34950" y="939"/>
                    <a:pt x="36905" y="6184"/>
                    <a:pt x="36512" y="10566"/>
                  </a:cubicBezTo>
                  <a:cubicBezTo>
                    <a:pt x="35737" y="19532"/>
                    <a:pt x="28879" y="26745"/>
                    <a:pt x="21805" y="32333"/>
                  </a:cubicBezTo>
                  <a:cubicBezTo>
                    <a:pt x="15290" y="36816"/>
                    <a:pt x="8229" y="40449"/>
                    <a:pt x="800" y="43128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4" name="Free Form 3410">
              <a:extLst>
                <a:ext uri="{FF2B5EF4-FFF2-40B4-BE49-F238E27FC236}">
                  <a16:creationId xmlns:a16="http://schemas.microsoft.com/office/drawing/2014/main" id="{910ABAE1-9C14-5961-A11E-0B523FD83EFD}"/>
                </a:ext>
              </a:extLst>
            </p:cNvPr>
            <p:cNvSpPr/>
            <p:nvPr/>
          </p:nvSpPr>
          <p:spPr>
            <a:xfrm>
              <a:off x="25828419" y="30630014"/>
              <a:ext cx="32587" cy="32195"/>
            </a:xfrm>
            <a:custGeom>
              <a:avLst/>
              <a:gdLst/>
              <a:ahLst/>
              <a:cxnLst/>
              <a:rect l="0" t="0" r="0" b="0"/>
              <a:pathLst>
                <a:path w="32587" h="32194">
                  <a:moveTo>
                    <a:pt x="0" y="24955"/>
                  </a:moveTo>
                  <a:cubicBezTo>
                    <a:pt x="4737" y="16306"/>
                    <a:pt x="11328" y="8801"/>
                    <a:pt x="19303" y="2984"/>
                  </a:cubicBezTo>
                  <a:cubicBezTo>
                    <a:pt x="20967" y="1689"/>
                    <a:pt x="22910" y="787"/>
                    <a:pt x="24980" y="368"/>
                  </a:cubicBezTo>
                  <a:cubicBezTo>
                    <a:pt x="27126" y="0"/>
                    <a:pt x="29298" y="825"/>
                    <a:pt x="30657" y="2527"/>
                  </a:cubicBezTo>
                  <a:cubicBezTo>
                    <a:pt x="32587" y="5372"/>
                    <a:pt x="30657" y="9232"/>
                    <a:pt x="28676" y="11975"/>
                  </a:cubicBezTo>
                  <a:cubicBezTo>
                    <a:pt x="21856" y="21475"/>
                    <a:pt x="12204" y="28549"/>
                    <a:pt x="1104" y="32194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5" name="Free Form 3411">
              <a:extLst>
                <a:ext uri="{FF2B5EF4-FFF2-40B4-BE49-F238E27FC236}">
                  <a16:creationId xmlns:a16="http://schemas.microsoft.com/office/drawing/2014/main" id="{312132C4-02F5-3A7D-A10B-07A8D074C265}"/>
                </a:ext>
              </a:extLst>
            </p:cNvPr>
            <p:cNvSpPr/>
            <p:nvPr/>
          </p:nvSpPr>
          <p:spPr>
            <a:xfrm>
              <a:off x="25791779" y="30609175"/>
              <a:ext cx="36640" cy="39014"/>
            </a:xfrm>
            <a:custGeom>
              <a:avLst/>
              <a:gdLst/>
              <a:ahLst/>
              <a:cxnLst/>
              <a:rect l="0" t="0" r="0" b="0"/>
              <a:pathLst>
                <a:path w="36639" h="39013">
                  <a:moveTo>
                    <a:pt x="35673" y="30974"/>
                  </a:moveTo>
                  <a:cubicBezTo>
                    <a:pt x="27342" y="20776"/>
                    <a:pt x="18097" y="11353"/>
                    <a:pt x="8051" y="2844"/>
                  </a:cubicBezTo>
                  <a:cubicBezTo>
                    <a:pt x="6489" y="1498"/>
                    <a:pt x="4495" y="0"/>
                    <a:pt x="2539" y="761"/>
                  </a:cubicBezTo>
                  <a:cubicBezTo>
                    <a:pt x="1041" y="1384"/>
                    <a:pt x="38" y="2832"/>
                    <a:pt x="12" y="4457"/>
                  </a:cubicBezTo>
                  <a:cubicBezTo>
                    <a:pt x="0" y="6057"/>
                    <a:pt x="355" y="7645"/>
                    <a:pt x="1066" y="9080"/>
                  </a:cubicBezTo>
                  <a:cubicBezTo>
                    <a:pt x="7734" y="23964"/>
                    <a:pt x="20840" y="34988"/>
                    <a:pt x="36639" y="3901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6" name="Free Form 3412">
              <a:extLst>
                <a:ext uri="{FF2B5EF4-FFF2-40B4-BE49-F238E27FC236}">
                  <a16:creationId xmlns:a16="http://schemas.microsoft.com/office/drawing/2014/main" id="{8D256B31-F7DF-30C5-C319-9F21B169F61A}"/>
                </a:ext>
              </a:extLst>
            </p:cNvPr>
            <p:cNvSpPr/>
            <p:nvPr/>
          </p:nvSpPr>
          <p:spPr>
            <a:xfrm>
              <a:off x="25786780" y="30557727"/>
              <a:ext cx="41553" cy="43217"/>
            </a:xfrm>
            <a:custGeom>
              <a:avLst/>
              <a:gdLst/>
              <a:ahLst/>
              <a:cxnLst/>
              <a:rect l="0" t="0" r="0" b="0"/>
              <a:pathLst>
                <a:path w="41553" h="43217">
                  <a:moveTo>
                    <a:pt x="41553" y="34924"/>
                  </a:moveTo>
                  <a:lnTo>
                    <a:pt x="19837" y="8470"/>
                  </a:lnTo>
                  <a:cubicBezTo>
                    <a:pt x="17957" y="5816"/>
                    <a:pt x="15595" y="3530"/>
                    <a:pt x="12877" y="1739"/>
                  </a:cubicBezTo>
                  <a:cubicBezTo>
                    <a:pt x="10032" y="0"/>
                    <a:pt x="6464" y="0"/>
                    <a:pt x="3619" y="1739"/>
                  </a:cubicBezTo>
                  <a:cubicBezTo>
                    <a:pt x="1104" y="3886"/>
                    <a:pt x="0" y="7264"/>
                    <a:pt x="787" y="10477"/>
                  </a:cubicBezTo>
                  <a:cubicBezTo>
                    <a:pt x="1549" y="13652"/>
                    <a:pt x="2997" y="16611"/>
                    <a:pt x="5016" y="19164"/>
                  </a:cubicBezTo>
                  <a:cubicBezTo>
                    <a:pt x="9220" y="25691"/>
                    <a:pt x="14579" y="31381"/>
                    <a:pt x="20827" y="35978"/>
                  </a:cubicBezTo>
                  <a:cubicBezTo>
                    <a:pt x="27190" y="40347"/>
                    <a:pt x="32981" y="43217"/>
                    <a:pt x="40703" y="42074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7" name="Free Form 3413">
              <a:extLst>
                <a:ext uri="{FF2B5EF4-FFF2-40B4-BE49-F238E27FC236}">
                  <a16:creationId xmlns:a16="http://schemas.microsoft.com/office/drawing/2014/main" id="{2CFE1564-627F-617F-5A4D-0694DF432898}"/>
                </a:ext>
              </a:extLst>
            </p:cNvPr>
            <p:cNvSpPr/>
            <p:nvPr/>
          </p:nvSpPr>
          <p:spPr>
            <a:xfrm>
              <a:off x="25792494" y="30502223"/>
              <a:ext cx="38849" cy="46050"/>
            </a:xfrm>
            <a:custGeom>
              <a:avLst/>
              <a:gdLst/>
              <a:ahLst/>
              <a:cxnLst/>
              <a:rect l="0" t="0" r="0" b="0"/>
              <a:pathLst>
                <a:path w="38848" h="46049">
                  <a:moveTo>
                    <a:pt x="38848" y="36969"/>
                  </a:moveTo>
                  <a:cubicBezTo>
                    <a:pt x="34594" y="24307"/>
                    <a:pt x="27063" y="12991"/>
                    <a:pt x="17017" y="4178"/>
                  </a:cubicBezTo>
                  <a:cubicBezTo>
                    <a:pt x="15443" y="2590"/>
                    <a:pt x="13487" y="1447"/>
                    <a:pt x="11340" y="850"/>
                  </a:cubicBezTo>
                  <a:cubicBezTo>
                    <a:pt x="6997" y="0"/>
                    <a:pt x="2819" y="3695"/>
                    <a:pt x="1396" y="7835"/>
                  </a:cubicBezTo>
                  <a:cubicBezTo>
                    <a:pt x="0" y="12699"/>
                    <a:pt x="723" y="17919"/>
                    <a:pt x="3390" y="22212"/>
                  </a:cubicBezTo>
                  <a:cubicBezTo>
                    <a:pt x="6032" y="26453"/>
                    <a:pt x="9499" y="30111"/>
                    <a:pt x="13576" y="32994"/>
                  </a:cubicBezTo>
                  <a:cubicBezTo>
                    <a:pt x="20891" y="38594"/>
                    <a:pt x="29044" y="43001"/>
                    <a:pt x="37743" y="46049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8" name="Free Form 3414">
              <a:extLst>
                <a:ext uri="{FF2B5EF4-FFF2-40B4-BE49-F238E27FC236}">
                  <a16:creationId xmlns:a16="http://schemas.microsoft.com/office/drawing/2014/main" id="{24370019-15A8-6911-647D-81252EC3F945}"/>
                </a:ext>
              </a:extLst>
            </p:cNvPr>
            <p:cNvSpPr/>
            <p:nvPr/>
          </p:nvSpPr>
          <p:spPr>
            <a:xfrm>
              <a:off x="25807239" y="30445615"/>
              <a:ext cx="32791" cy="52831"/>
            </a:xfrm>
            <a:custGeom>
              <a:avLst/>
              <a:gdLst/>
              <a:ahLst/>
              <a:cxnLst/>
              <a:rect l="0" t="0" r="0" b="0"/>
              <a:pathLst>
                <a:path w="32791" h="52831">
                  <a:moveTo>
                    <a:pt x="32791" y="45910"/>
                  </a:moveTo>
                  <a:cubicBezTo>
                    <a:pt x="30695" y="30555"/>
                    <a:pt x="22681" y="17805"/>
                    <a:pt x="13461" y="5372"/>
                  </a:cubicBezTo>
                  <a:cubicBezTo>
                    <a:pt x="11493" y="2755"/>
                    <a:pt x="8775" y="0"/>
                    <a:pt x="5537" y="482"/>
                  </a:cubicBezTo>
                  <a:cubicBezTo>
                    <a:pt x="3467" y="927"/>
                    <a:pt x="1765" y="2387"/>
                    <a:pt x="1015" y="4368"/>
                  </a:cubicBezTo>
                  <a:cubicBezTo>
                    <a:pt x="304" y="6337"/>
                    <a:pt x="0" y="8420"/>
                    <a:pt x="139" y="10502"/>
                  </a:cubicBezTo>
                  <a:cubicBezTo>
                    <a:pt x="977" y="29514"/>
                    <a:pt x="13093" y="46176"/>
                    <a:pt x="30911" y="52831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9" name="Free Form 3415">
              <a:extLst>
                <a:ext uri="{FF2B5EF4-FFF2-40B4-BE49-F238E27FC236}">
                  <a16:creationId xmlns:a16="http://schemas.microsoft.com/office/drawing/2014/main" id="{083F356A-0FDE-4FF3-2996-0C0DA851433B}"/>
                </a:ext>
              </a:extLst>
            </p:cNvPr>
            <p:cNvSpPr/>
            <p:nvPr/>
          </p:nvSpPr>
          <p:spPr>
            <a:xfrm>
              <a:off x="25844823" y="30413775"/>
              <a:ext cx="29464" cy="53390"/>
            </a:xfrm>
            <a:custGeom>
              <a:avLst/>
              <a:gdLst/>
              <a:ahLst/>
              <a:cxnLst/>
              <a:rect l="0" t="0" r="0" b="0"/>
              <a:pathLst>
                <a:path w="29463" h="53390">
                  <a:moveTo>
                    <a:pt x="1282" y="53390"/>
                  </a:moveTo>
                  <a:cubicBezTo>
                    <a:pt x="266" y="45529"/>
                    <a:pt x="0" y="37591"/>
                    <a:pt x="482" y="29679"/>
                  </a:cubicBezTo>
                  <a:cubicBezTo>
                    <a:pt x="977" y="21729"/>
                    <a:pt x="3695" y="14071"/>
                    <a:pt x="8356" y="7594"/>
                  </a:cubicBezTo>
                  <a:cubicBezTo>
                    <a:pt x="10324" y="4787"/>
                    <a:pt x="13068" y="2590"/>
                    <a:pt x="16243" y="1295"/>
                  </a:cubicBezTo>
                  <a:cubicBezTo>
                    <a:pt x="19468" y="0"/>
                    <a:pt x="23126" y="495"/>
                    <a:pt x="25895" y="2565"/>
                  </a:cubicBezTo>
                  <a:cubicBezTo>
                    <a:pt x="28244" y="4762"/>
                    <a:pt x="29463" y="7886"/>
                    <a:pt x="29222" y="11086"/>
                  </a:cubicBezTo>
                  <a:cubicBezTo>
                    <a:pt x="28955" y="14236"/>
                    <a:pt x="28130" y="17322"/>
                    <a:pt x="26771" y="20167"/>
                  </a:cubicBezTo>
                  <a:cubicBezTo>
                    <a:pt x="21094" y="34086"/>
                    <a:pt x="11328" y="49504"/>
                    <a:pt x="1219" y="5339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0" name="Free Form 3416">
              <a:extLst>
                <a:ext uri="{FF2B5EF4-FFF2-40B4-BE49-F238E27FC236}">
                  <a16:creationId xmlns:a16="http://schemas.microsoft.com/office/drawing/2014/main" id="{7BB2D706-0F98-963B-0579-168E0231655C}"/>
                </a:ext>
              </a:extLst>
            </p:cNvPr>
            <p:cNvSpPr/>
            <p:nvPr/>
          </p:nvSpPr>
          <p:spPr>
            <a:xfrm>
              <a:off x="25750850" y="30485449"/>
              <a:ext cx="39408" cy="185507"/>
            </a:xfrm>
            <a:custGeom>
              <a:avLst/>
              <a:gdLst/>
              <a:ahLst/>
              <a:cxnLst/>
              <a:rect l="0" t="0" r="0" b="0"/>
              <a:pathLst>
                <a:path w="39407" h="185506">
                  <a:moveTo>
                    <a:pt x="685" y="0"/>
                  </a:moveTo>
                  <a:cubicBezTo>
                    <a:pt x="749" y="647"/>
                    <a:pt x="749" y="1308"/>
                    <a:pt x="685" y="1955"/>
                  </a:cubicBezTo>
                  <a:lnTo>
                    <a:pt x="685" y="7632"/>
                  </a:lnTo>
                  <a:cubicBezTo>
                    <a:pt x="685" y="10045"/>
                    <a:pt x="685" y="13004"/>
                    <a:pt x="825" y="16433"/>
                  </a:cubicBezTo>
                  <a:cubicBezTo>
                    <a:pt x="965" y="19875"/>
                    <a:pt x="825" y="23761"/>
                    <a:pt x="1257" y="28079"/>
                  </a:cubicBezTo>
                  <a:cubicBezTo>
                    <a:pt x="1625" y="36588"/>
                    <a:pt x="2476" y="46964"/>
                    <a:pt x="3784" y="58317"/>
                  </a:cubicBezTo>
                  <a:cubicBezTo>
                    <a:pt x="5092" y="69671"/>
                    <a:pt x="7099" y="82053"/>
                    <a:pt x="9766" y="94931"/>
                  </a:cubicBezTo>
                  <a:cubicBezTo>
                    <a:pt x="12445" y="107821"/>
                    <a:pt x="15735" y="119975"/>
                    <a:pt x="18998" y="130910"/>
                  </a:cubicBezTo>
                  <a:cubicBezTo>
                    <a:pt x="22262" y="141844"/>
                    <a:pt x="25729" y="151547"/>
                    <a:pt x="28854" y="159611"/>
                  </a:cubicBezTo>
                  <a:cubicBezTo>
                    <a:pt x="30301" y="163675"/>
                    <a:pt x="31863" y="167244"/>
                    <a:pt x="33133" y="170432"/>
                  </a:cubicBezTo>
                  <a:cubicBezTo>
                    <a:pt x="34416" y="173607"/>
                    <a:pt x="35572" y="176337"/>
                    <a:pt x="36537" y="178547"/>
                  </a:cubicBezTo>
                  <a:cubicBezTo>
                    <a:pt x="37515" y="180757"/>
                    <a:pt x="38163" y="182382"/>
                    <a:pt x="38734" y="183690"/>
                  </a:cubicBezTo>
                  <a:cubicBezTo>
                    <a:pt x="39001" y="184275"/>
                    <a:pt x="39229" y="184884"/>
                    <a:pt x="39407" y="185506"/>
                  </a:cubicBezTo>
                  <a:cubicBezTo>
                    <a:pt x="39039" y="184973"/>
                    <a:pt x="38721" y="184402"/>
                    <a:pt x="38467" y="183805"/>
                  </a:cubicBezTo>
                  <a:cubicBezTo>
                    <a:pt x="37845" y="182522"/>
                    <a:pt x="37058" y="180960"/>
                    <a:pt x="36029" y="178775"/>
                  </a:cubicBezTo>
                  <a:cubicBezTo>
                    <a:pt x="35013" y="176591"/>
                    <a:pt x="33730" y="173924"/>
                    <a:pt x="32397" y="170736"/>
                  </a:cubicBezTo>
                  <a:cubicBezTo>
                    <a:pt x="31063" y="167562"/>
                    <a:pt x="29565" y="164006"/>
                    <a:pt x="27888" y="159980"/>
                  </a:cubicBezTo>
                  <a:cubicBezTo>
                    <a:pt x="24650" y="151941"/>
                    <a:pt x="21183" y="142213"/>
                    <a:pt x="17754" y="131303"/>
                  </a:cubicBezTo>
                  <a:cubicBezTo>
                    <a:pt x="14312" y="120407"/>
                    <a:pt x="11137" y="108164"/>
                    <a:pt x="8381" y="95223"/>
                  </a:cubicBezTo>
                  <a:cubicBezTo>
                    <a:pt x="5626" y="82269"/>
                    <a:pt x="3809" y="69836"/>
                    <a:pt x="2476" y="58457"/>
                  </a:cubicBezTo>
                  <a:cubicBezTo>
                    <a:pt x="1142" y="47065"/>
                    <a:pt x="482" y="36791"/>
                    <a:pt x="228" y="28130"/>
                  </a:cubicBezTo>
                  <a:cubicBezTo>
                    <a:pt x="38" y="23786"/>
                    <a:pt x="63" y="19875"/>
                    <a:pt x="38" y="16433"/>
                  </a:cubicBezTo>
                  <a:cubicBezTo>
                    <a:pt x="0" y="13004"/>
                    <a:pt x="38" y="10045"/>
                    <a:pt x="38" y="7632"/>
                  </a:cubicBezTo>
                  <a:cubicBezTo>
                    <a:pt x="38" y="5219"/>
                    <a:pt x="177" y="3467"/>
                    <a:pt x="228" y="1955"/>
                  </a:cubicBezTo>
                  <a:cubicBezTo>
                    <a:pt x="304" y="1295"/>
                    <a:pt x="457" y="634"/>
                    <a:pt x="685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1" name="Free Form 3417">
              <a:extLst>
                <a:ext uri="{FF2B5EF4-FFF2-40B4-BE49-F238E27FC236}">
                  <a16:creationId xmlns:a16="http://schemas.microsoft.com/office/drawing/2014/main" id="{B1922C76-BDA5-6BD2-71EE-CD63D01116A3}"/>
                </a:ext>
              </a:extLst>
            </p:cNvPr>
            <p:cNvSpPr/>
            <p:nvPr/>
          </p:nvSpPr>
          <p:spPr>
            <a:xfrm>
              <a:off x="25754943" y="30524547"/>
              <a:ext cx="19393" cy="31648"/>
            </a:xfrm>
            <a:custGeom>
              <a:avLst/>
              <a:gdLst/>
              <a:ahLst/>
              <a:cxnLst/>
              <a:rect l="0" t="0" r="0" b="0"/>
              <a:pathLst>
                <a:path w="19392" h="31648">
                  <a:moveTo>
                    <a:pt x="0" y="23786"/>
                  </a:moveTo>
                  <a:cubicBezTo>
                    <a:pt x="152" y="16293"/>
                    <a:pt x="2908" y="9080"/>
                    <a:pt x="7810" y="3403"/>
                  </a:cubicBezTo>
                  <a:cubicBezTo>
                    <a:pt x="9245" y="1269"/>
                    <a:pt x="11645" y="0"/>
                    <a:pt x="14223" y="0"/>
                  </a:cubicBezTo>
                  <a:cubicBezTo>
                    <a:pt x="17576" y="482"/>
                    <a:pt x="19113" y="4483"/>
                    <a:pt x="19214" y="7861"/>
                  </a:cubicBezTo>
                  <a:cubicBezTo>
                    <a:pt x="19392" y="13601"/>
                    <a:pt x="17487" y="19202"/>
                    <a:pt x="13855" y="23647"/>
                  </a:cubicBezTo>
                  <a:cubicBezTo>
                    <a:pt x="10744" y="27914"/>
                    <a:pt x="6083" y="30797"/>
                    <a:pt x="876" y="316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2" name="Free Form 3418">
              <a:extLst>
                <a:ext uri="{FF2B5EF4-FFF2-40B4-BE49-F238E27FC236}">
                  <a16:creationId xmlns:a16="http://schemas.microsoft.com/office/drawing/2014/main" id="{C7D4145E-D66B-D8BC-C50F-DA5248FBAC28}"/>
                </a:ext>
              </a:extLst>
            </p:cNvPr>
            <p:cNvSpPr/>
            <p:nvPr/>
          </p:nvSpPr>
          <p:spPr>
            <a:xfrm>
              <a:off x="25761903" y="30555944"/>
              <a:ext cx="18262" cy="37591"/>
            </a:xfrm>
            <a:custGeom>
              <a:avLst/>
              <a:gdLst/>
              <a:ahLst/>
              <a:cxnLst/>
              <a:rect l="0" t="0" r="0" b="0"/>
              <a:pathLst>
                <a:path w="18262" h="37591">
                  <a:moveTo>
                    <a:pt x="393" y="33273"/>
                  </a:moveTo>
                  <a:cubicBezTo>
                    <a:pt x="0" y="24472"/>
                    <a:pt x="2806" y="10896"/>
                    <a:pt x="7950" y="3771"/>
                  </a:cubicBezTo>
                  <a:cubicBezTo>
                    <a:pt x="8686" y="2641"/>
                    <a:pt x="9651" y="1676"/>
                    <a:pt x="10782" y="939"/>
                  </a:cubicBezTo>
                  <a:cubicBezTo>
                    <a:pt x="11963" y="139"/>
                    <a:pt x="13461" y="0"/>
                    <a:pt x="14757" y="571"/>
                  </a:cubicBezTo>
                  <a:cubicBezTo>
                    <a:pt x="16420" y="1727"/>
                    <a:pt x="17373" y="3657"/>
                    <a:pt x="17284" y="5676"/>
                  </a:cubicBezTo>
                  <a:cubicBezTo>
                    <a:pt x="18262" y="18567"/>
                    <a:pt x="11899" y="30898"/>
                    <a:pt x="850" y="3759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3" name="Free Form 3419">
              <a:extLst>
                <a:ext uri="{FF2B5EF4-FFF2-40B4-BE49-F238E27FC236}">
                  <a16:creationId xmlns:a16="http://schemas.microsoft.com/office/drawing/2014/main" id="{D0B6E326-88FD-8DDF-7A9A-DF3A499FCE24}"/>
                </a:ext>
              </a:extLst>
            </p:cNvPr>
            <p:cNvSpPr/>
            <p:nvPr/>
          </p:nvSpPr>
          <p:spPr>
            <a:xfrm>
              <a:off x="25771836" y="30595863"/>
              <a:ext cx="21742" cy="36055"/>
            </a:xfrm>
            <a:custGeom>
              <a:avLst/>
              <a:gdLst/>
              <a:ahLst/>
              <a:cxnLst/>
              <a:rect l="0" t="0" r="0" b="0"/>
              <a:pathLst>
                <a:path w="21742" h="36054">
                  <a:moveTo>
                    <a:pt x="0" y="28358"/>
                  </a:moveTo>
                  <a:cubicBezTo>
                    <a:pt x="901" y="19570"/>
                    <a:pt x="4114" y="11175"/>
                    <a:pt x="9309" y="4025"/>
                  </a:cubicBezTo>
                  <a:cubicBezTo>
                    <a:pt x="10350" y="2222"/>
                    <a:pt x="12090" y="901"/>
                    <a:pt x="14109" y="393"/>
                  </a:cubicBezTo>
                  <a:cubicBezTo>
                    <a:pt x="17208" y="0"/>
                    <a:pt x="19786" y="3238"/>
                    <a:pt x="20357" y="6210"/>
                  </a:cubicBezTo>
                  <a:cubicBezTo>
                    <a:pt x="21742" y="12483"/>
                    <a:pt x="18630" y="18871"/>
                    <a:pt x="15023" y="24180"/>
                  </a:cubicBezTo>
                  <a:cubicBezTo>
                    <a:pt x="11556" y="28650"/>
                    <a:pt x="7531" y="32638"/>
                    <a:pt x="3035" y="3605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4" name="Free Form 3420">
              <a:extLst>
                <a:ext uri="{FF2B5EF4-FFF2-40B4-BE49-F238E27FC236}">
                  <a16:creationId xmlns:a16="http://schemas.microsoft.com/office/drawing/2014/main" id="{F30A3BD3-5CD3-9768-0265-84075A023329}"/>
                </a:ext>
              </a:extLst>
            </p:cNvPr>
            <p:cNvSpPr/>
            <p:nvPr/>
          </p:nvSpPr>
          <p:spPr>
            <a:xfrm>
              <a:off x="25780496" y="30625924"/>
              <a:ext cx="18173" cy="27546"/>
            </a:xfrm>
            <a:custGeom>
              <a:avLst/>
              <a:gdLst/>
              <a:ahLst/>
              <a:cxnLst/>
              <a:rect l="0" t="0" r="0" b="0"/>
              <a:pathLst>
                <a:path w="18173" h="27546">
                  <a:moveTo>
                    <a:pt x="0" y="22885"/>
                  </a:moveTo>
                  <a:cubicBezTo>
                    <a:pt x="1396" y="15951"/>
                    <a:pt x="4305" y="9423"/>
                    <a:pt x="8521" y="3746"/>
                  </a:cubicBezTo>
                  <a:cubicBezTo>
                    <a:pt x="9397" y="2501"/>
                    <a:pt x="10553" y="1473"/>
                    <a:pt x="11899" y="736"/>
                  </a:cubicBezTo>
                  <a:cubicBezTo>
                    <a:pt x="13271" y="0"/>
                    <a:pt x="14947" y="101"/>
                    <a:pt x="16243" y="990"/>
                  </a:cubicBezTo>
                  <a:cubicBezTo>
                    <a:pt x="18173" y="2501"/>
                    <a:pt x="17741" y="5511"/>
                    <a:pt x="16916" y="7835"/>
                  </a:cubicBezTo>
                  <a:cubicBezTo>
                    <a:pt x="14338" y="15773"/>
                    <a:pt x="9283" y="22681"/>
                    <a:pt x="2501" y="2754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5" name="Free Form 3421">
              <a:extLst>
                <a:ext uri="{FF2B5EF4-FFF2-40B4-BE49-F238E27FC236}">
                  <a16:creationId xmlns:a16="http://schemas.microsoft.com/office/drawing/2014/main" id="{64BE4420-83B0-E2D7-4A8A-F5103E8985AE}"/>
                </a:ext>
              </a:extLst>
            </p:cNvPr>
            <p:cNvSpPr/>
            <p:nvPr/>
          </p:nvSpPr>
          <p:spPr>
            <a:xfrm>
              <a:off x="25746294" y="30624872"/>
              <a:ext cx="32727" cy="19914"/>
            </a:xfrm>
            <a:custGeom>
              <a:avLst/>
              <a:gdLst/>
              <a:ahLst/>
              <a:cxnLst/>
              <a:rect l="0" t="0" r="0" b="0"/>
              <a:pathLst>
                <a:path w="32727" h="19913">
                  <a:moveTo>
                    <a:pt x="30339" y="14084"/>
                  </a:moveTo>
                  <a:cubicBezTo>
                    <a:pt x="22478" y="8915"/>
                    <a:pt x="14147" y="4483"/>
                    <a:pt x="5473" y="850"/>
                  </a:cubicBezTo>
                  <a:cubicBezTo>
                    <a:pt x="4190" y="76"/>
                    <a:pt x="2616" y="0"/>
                    <a:pt x="1269" y="622"/>
                  </a:cubicBezTo>
                  <a:cubicBezTo>
                    <a:pt x="368" y="1371"/>
                    <a:pt x="0" y="2578"/>
                    <a:pt x="355" y="3695"/>
                  </a:cubicBezTo>
                  <a:cubicBezTo>
                    <a:pt x="698" y="4762"/>
                    <a:pt x="1282" y="5727"/>
                    <a:pt x="2057" y="6527"/>
                  </a:cubicBezTo>
                  <a:cubicBezTo>
                    <a:pt x="9804" y="15227"/>
                    <a:pt x="21094" y="19913"/>
                    <a:pt x="32727" y="19252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6" name="Free Form 3422">
              <a:extLst>
                <a:ext uri="{FF2B5EF4-FFF2-40B4-BE49-F238E27FC236}">
                  <a16:creationId xmlns:a16="http://schemas.microsoft.com/office/drawing/2014/main" id="{F4B513CB-105D-3C31-1377-230F4762B9D0}"/>
                </a:ext>
              </a:extLst>
            </p:cNvPr>
            <p:cNvSpPr/>
            <p:nvPr/>
          </p:nvSpPr>
          <p:spPr>
            <a:xfrm>
              <a:off x="25732631" y="30589426"/>
              <a:ext cx="35141" cy="24460"/>
            </a:xfrm>
            <a:custGeom>
              <a:avLst/>
              <a:gdLst/>
              <a:ahLst/>
              <a:cxnLst/>
              <a:rect l="0" t="0" r="0" b="0"/>
              <a:pathLst>
                <a:path w="35140" h="24459">
                  <a:moveTo>
                    <a:pt x="34378" y="16967"/>
                  </a:moveTo>
                  <a:lnTo>
                    <a:pt x="13906" y="3619"/>
                  </a:lnTo>
                  <a:cubicBezTo>
                    <a:pt x="12039" y="2235"/>
                    <a:pt x="9931" y="1206"/>
                    <a:pt x="7696" y="584"/>
                  </a:cubicBezTo>
                  <a:cubicBezTo>
                    <a:pt x="5384" y="0"/>
                    <a:pt x="2946" y="749"/>
                    <a:pt x="1358" y="2514"/>
                  </a:cubicBezTo>
                  <a:cubicBezTo>
                    <a:pt x="50" y="4508"/>
                    <a:pt x="0" y="7061"/>
                    <a:pt x="1219" y="9105"/>
                  </a:cubicBezTo>
                  <a:cubicBezTo>
                    <a:pt x="2425" y="11086"/>
                    <a:pt x="4038" y="12788"/>
                    <a:pt x="5956" y="14096"/>
                  </a:cubicBezTo>
                  <a:cubicBezTo>
                    <a:pt x="10223" y="17627"/>
                    <a:pt x="15100" y="20357"/>
                    <a:pt x="20357" y="22135"/>
                  </a:cubicBezTo>
                  <a:cubicBezTo>
                    <a:pt x="25641" y="23748"/>
                    <a:pt x="30174" y="24459"/>
                    <a:pt x="35140" y="2213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7" name="Free Form 3423">
              <a:extLst>
                <a:ext uri="{FF2B5EF4-FFF2-40B4-BE49-F238E27FC236}">
                  <a16:creationId xmlns:a16="http://schemas.microsoft.com/office/drawing/2014/main" id="{853B4BE7-369A-E479-6618-541005DD56C6}"/>
                </a:ext>
              </a:extLst>
            </p:cNvPr>
            <p:cNvSpPr/>
            <p:nvPr/>
          </p:nvSpPr>
          <p:spPr>
            <a:xfrm>
              <a:off x="25725641" y="30550624"/>
              <a:ext cx="33083" cy="25133"/>
            </a:xfrm>
            <a:custGeom>
              <a:avLst/>
              <a:gdLst/>
              <a:ahLst/>
              <a:cxnLst/>
              <a:rect l="0" t="0" r="0" b="0"/>
              <a:pathLst>
                <a:path w="33083" h="25133">
                  <a:moveTo>
                    <a:pt x="31914" y="18719"/>
                  </a:moveTo>
                  <a:cubicBezTo>
                    <a:pt x="26301" y="11010"/>
                    <a:pt x="18732" y="4927"/>
                    <a:pt x="9994" y="1092"/>
                  </a:cubicBezTo>
                  <a:cubicBezTo>
                    <a:pt x="8585" y="342"/>
                    <a:pt x="6997" y="0"/>
                    <a:pt x="5397" y="63"/>
                  </a:cubicBezTo>
                  <a:cubicBezTo>
                    <a:pt x="2209" y="812"/>
                    <a:pt x="0" y="3695"/>
                    <a:pt x="114" y="6972"/>
                  </a:cubicBezTo>
                  <a:cubicBezTo>
                    <a:pt x="228" y="10578"/>
                    <a:pt x="1841" y="13969"/>
                    <a:pt x="4571" y="16332"/>
                  </a:cubicBezTo>
                  <a:cubicBezTo>
                    <a:pt x="7302" y="18630"/>
                    <a:pt x="10439" y="20383"/>
                    <a:pt x="13830" y="21475"/>
                  </a:cubicBezTo>
                  <a:cubicBezTo>
                    <a:pt x="20014" y="23697"/>
                    <a:pt x="26504" y="24929"/>
                    <a:pt x="33083" y="2513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8" name="Free Form 3424">
              <a:extLst>
                <a:ext uri="{FF2B5EF4-FFF2-40B4-BE49-F238E27FC236}">
                  <a16:creationId xmlns:a16="http://schemas.microsoft.com/office/drawing/2014/main" id="{363C762C-7A46-90AC-481F-27AC0BF276EE}"/>
                </a:ext>
              </a:extLst>
            </p:cNvPr>
            <p:cNvSpPr/>
            <p:nvPr/>
          </p:nvSpPr>
          <p:spPr>
            <a:xfrm>
              <a:off x="25722568" y="30509315"/>
              <a:ext cx="30848" cy="30810"/>
            </a:xfrm>
            <a:custGeom>
              <a:avLst/>
              <a:gdLst/>
              <a:ahLst/>
              <a:cxnLst/>
              <a:rect l="0" t="0" r="0" b="0"/>
              <a:pathLst>
                <a:path w="30847" h="30809">
                  <a:moveTo>
                    <a:pt x="30644" y="25704"/>
                  </a:moveTo>
                  <a:cubicBezTo>
                    <a:pt x="25907" y="15709"/>
                    <a:pt x="17729" y="8674"/>
                    <a:pt x="8750" y="2285"/>
                  </a:cubicBezTo>
                  <a:cubicBezTo>
                    <a:pt x="7048" y="622"/>
                    <a:pt x="4597" y="0"/>
                    <a:pt x="2311" y="634"/>
                  </a:cubicBezTo>
                  <a:cubicBezTo>
                    <a:pt x="990" y="1384"/>
                    <a:pt x="152" y="2755"/>
                    <a:pt x="63" y="4267"/>
                  </a:cubicBezTo>
                  <a:cubicBezTo>
                    <a:pt x="0" y="5753"/>
                    <a:pt x="253" y="7238"/>
                    <a:pt x="812" y="8610"/>
                  </a:cubicBezTo>
                  <a:cubicBezTo>
                    <a:pt x="5448" y="21373"/>
                    <a:pt x="17284" y="30111"/>
                    <a:pt x="30847" y="3080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9" name="Free Form 3425">
              <a:extLst>
                <a:ext uri="{FF2B5EF4-FFF2-40B4-BE49-F238E27FC236}">
                  <a16:creationId xmlns:a16="http://schemas.microsoft.com/office/drawing/2014/main" id="{BA9FD51B-0F07-2241-8DED-6A35E96EAE2D}"/>
                </a:ext>
              </a:extLst>
            </p:cNvPr>
            <p:cNvSpPr/>
            <p:nvPr/>
          </p:nvSpPr>
          <p:spPr>
            <a:xfrm>
              <a:off x="25745057" y="30476417"/>
              <a:ext cx="17525" cy="40716"/>
            </a:xfrm>
            <a:custGeom>
              <a:avLst/>
              <a:gdLst/>
              <a:ahLst/>
              <a:cxnLst/>
              <a:rect l="0" t="0" r="0" b="0"/>
              <a:pathLst>
                <a:path w="17525" h="40715">
                  <a:moveTo>
                    <a:pt x="7048" y="40715"/>
                  </a:moveTo>
                  <a:cubicBezTo>
                    <a:pt x="4648" y="35585"/>
                    <a:pt x="2743" y="30225"/>
                    <a:pt x="1371" y="24726"/>
                  </a:cubicBezTo>
                  <a:cubicBezTo>
                    <a:pt x="0" y="19214"/>
                    <a:pt x="203" y="13423"/>
                    <a:pt x="1968" y="8013"/>
                  </a:cubicBezTo>
                  <a:cubicBezTo>
                    <a:pt x="2730" y="5676"/>
                    <a:pt x="4127" y="3606"/>
                    <a:pt x="5994" y="2019"/>
                  </a:cubicBezTo>
                  <a:cubicBezTo>
                    <a:pt x="7912" y="457"/>
                    <a:pt x="10502" y="0"/>
                    <a:pt x="12839" y="825"/>
                  </a:cubicBezTo>
                  <a:cubicBezTo>
                    <a:pt x="14909" y="1803"/>
                    <a:pt x="16420" y="3670"/>
                    <a:pt x="16928" y="5905"/>
                  </a:cubicBezTo>
                  <a:cubicBezTo>
                    <a:pt x="17411" y="8102"/>
                    <a:pt x="17525" y="10375"/>
                    <a:pt x="17233" y="12610"/>
                  </a:cubicBezTo>
                  <a:cubicBezTo>
                    <a:pt x="16281" y="23342"/>
                    <a:pt x="13042" y="35889"/>
                    <a:pt x="7023" y="4071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0" name="Free Form 3426">
              <a:extLst>
                <a:ext uri="{FF2B5EF4-FFF2-40B4-BE49-F238E27FC236}">
                  <a16:creationId xmlns:a16="http://schemas.microsoft.com/office/drawing/2014/main" id="{110BED33-A4A3-F811-F2F3-D4863CF05306}"/>
                </a:ext>
              </a:extLst>
            </p:cNvPr>
            <p:cNvSpPr/>
            <p:nvPr/>
          </p:nvSpPr>
          <p:spPr>
            <a:xfrm>
              <a:off x="25866712" y="30484115"/>
              <a:ext cx="39586" cy="185506"/>
            </a:xfrm>
            <a:custGeom>
              <a:avLst/>
              <a:gdLst/>
              <a:ahLst/>
              <a:cxnLst/>
              <a:rect l="0" t="0" r="0" b="0"/>
              <a:pathLst>
                <a:path w="39585" h="185506">
                  <a:moveTo>
                    <a:pt x="39013" y="0"/>
                  </a:moveTo>
                  <a:cubicBezTo>
                    <a:pt x="39140" y="634"/>
                    <a:pt x="39204" y="1282"/>
                    <a:pt x="39179" y="1930"/>
                  </a:cubicBezTo>
                  <a:cubicBezTo>
                    <a:pt x="39179" y="3352"/>
                    <a:pt x="39179" y="5194"/>
                    <a:pt x="39382" y="7607"/>
                  </a:cubicBezTo>
                  <a:cubicBezTo>
                    <a:pt x="39585" y="10020"/>
                    <a:pt x="39547" y="13004"/>
                    <a:pt x="39382" y="16433"/>
                  </a:cubicBezTo>
                  <a:cubicBezTo>
                    <a:pt x="39217" y="19875"/>
                    <a:pt x="39382" y="23786"/>
                    <a:pt x="39153" y="28130"/>
                  </a:cubicBezTo>
                  <a:cubicBezTo>
                    <a:pt x="38925" y="36651"/>
                    <a:pt x="38188" y="47065"/>
                    <a:pt x="36943" y="58457"/>
                  </a:cubicBezTo>
                  <a:cubicBezTo>
                    <a:pt x="35686" y="69836"/>
                    <a:pt x="33705" y="82282"/>
                    <a:pt x="31038" y="95223"/>
                  </a:cubicBezTo>
                  <a:cubicBezTo>
                    <a:pt x="28371" y="108164"/>
                    <a:pt x="25018" y="120343"/>
                    <a:pt x="21665" y="131303"/>
                  </a:cubicBezTo>
                  <a:cubicBezTo>
                    <a:pt x="18313" y="142263"/>
                    <a:pt x="14769" y="151941"/>
                    <a:pt x="11506" y="159954"/>
                  </a:cubicBezTo>
                  <a:cubicBezTo>
                    <a:pt x="9969" y="164006"/>
                    <a:pt x="8356" y="167587"/>
                    <a:pt x="7023" y="170736"/>
                  </a:cubicBezTo>
                  <a:cubicBezTo>
                    <a:pt x="5676" y="173886"/>
                    <a:pt x="4432" y="176591"/>
                    <a:pt x="3378" y="178775"/>
                  </a:cubicBezTo>
                  <a:cubicBezTo>
                    <a:pt x="2336" y="180960"/>
                    <a:pt x="1562" y="182522"/>
                    <a:pt x="939" y="183805"/>
                  </a:cubicBezTo>
                  <a:cubicBezTo>
                    <a:pt x="698" y="184402"/>
                    <a:pt x="380" y="184973"/>
                    <a:pt x="0" y="185506"/>
                  </a:cubicBezTo>
                  <a:cubicBezTo>
                    <a:pt x="177" y="184884"/>
                    <a:pt x="406" y="184275"/>
                    <a:pt x="685" y="183690"/>
                  </a:cubicBezTo>
                  <a:lnTo>
                    <a:pt x="2870" y="178547"/>
                  </a:lnTo>
                  <a:cubicBezTo>
                    <a:pt x="3835" y="176337"/>
                    <a:pt x="5003" y="173632"/>
                    <a:pt x="6273" y="170432"/>
                  </a:cubicBezTo>
                  <a:cubicBezTo>
                    <a:pt x="7556" y="167219"/>
                    <a:pt x="9118" y="163675"/>
                    <a:pt x="10566" y="159611"/>
                  </a:cubicBezTo>
                  <a:cubicBezTo>
                    <a:pt x="13690" y="151547"/>
                    <a:pt x="17043" y="141806"/>
                    <a:pt x="20421" y="130910"/>
                  </a:cubicBezTo>
                  <a:cubicBezTo>
                    <a:pt x="23799" y="120001"/>
                    <a:pt x="26885" y="107821"/>
                    <a:pt x="29616" y="94931"/>
                  </a:cubicBezTo>
                  <a:cubicBezTo>
                    <a:pt x="32346" y="82053"/>
                    <a:pt x="34213" y="69646"/>
                    <a:pt x="35635" y="58317"/>
                  </a:cubicBezTo>
                  <a:cubicBezTo>
                    <a:pt x="37058" y="46989"/>
                    <a:pt x="37794" y="36715"/>
                    <a:pt x="38163" y="28079"/>
                  </a:cubicBezTo>
                  <a:cubicBezTo>
                    <a:pt x="38442" y="23761"/>
                    <a:pt x="38480" y="19875"/>
                    <a:pt x="38582" y="16433"/>
                  </a:cubicBezTo>
                  <a:cubicBezTo>
                    <a:pt x="38696" y="13004"/>
                    <a:pt x="38734" y="10045"/>
                    <a:pt x="38582" y="7632"/>
                  </a:cubicBezTo>
                  <a:cubicBezTo>
                    <a:pt x="38442" y="5219"/>
                    <a:pt x="38582" y="3467"/>
                    <a:pt x="38582" y="1955"/>
                  </a:cubicBezTo>
                  <a:cubicBezTo>
                    <a:pt x="38658" y="1295"/>
                    <a:pt x="38798" y="634"/>
                    <a:pt x="39013" y="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1" name="Free Form 3427">
              <a:extLst>
                <a:ext uri="{FF2B5EF4-FFF2-40B4-BE49-F238E27FC236}">
                  <a16:creationId xmlns:a16="http://schemas.microsoft.com/office/drawing/2014/main" id="{6ABE82DA-86E9-BB40-7D12-C767421C976D}"/>
                </a:ext>
              </a:extLst>
            </p:cNvPr>
            <p:cNvSpPr/>
            <p:nvPr/>
          </p:nvSpPr>
          <p:spPr>
            <a:xfrm>
              <a:off x="25882977" y="30523188"/>
              <a:ext cx="19342" cy="31674"/>
            </a:xfrm>
            <a:custGeom>
              <a:avLst/>
              <a:gdLst/>
              <a:ahLst/>
              <a:cxnLst/>
              <a:rect l="0" t="0" r="0" b="0"/>
              <a:pathLst>
                <a:path w="19341" h="31673">
                  <a:moveTo>
                    <a:pt x="19341" y="23812"/>
                  </a:moveTo>
                  <a:cubicBezTo>
                    <a:pt x="19189" y="16332"/>
                    <a:pt x="16459" y="9118"/>
                    <a:pt x="11594" y="3428"/>
                  </a:cubicBezTo>
                  <a:cubicBezTo>
                    <a:pt x="10147" y="1282"/>
                    <a:pt x="7734" y="0"/>
                    <a:pt x="5143" y="25"/>
                  </a:cubicBezTo>
                  <a:cubicBezTo>
                    <a:pt x="1828" y="507"/>
                    <a:pt x="292" y="4508"/>
                    <a:pt x="177" y="7886"/>
                  </a:cubicBezTo>
                  <a:cubicBezTo>
                    <a:pt x="0" y="13614"/>
                    <a:pt x="1892" y="19227"/>
                    <a:pt x="5511" y="23672"/>
                  </a:cubicBezTo>
                  <a:cubicBezTo>
                    <a:pt x="8635" y="27939"/>
                    <a:pt x="13296" y="30822"/>
                    <a:pt x="18516" y="3167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2" name="Free Form 3428">
              <a:extLst>
                <a:ext uri="{FF2B5EF4-FFF2-40B4-BE49-F238E27FC236}">
                  <a16:creationId xmlns:a16="http://schemas.microsoft.com/office/drawing/2014/main" id="{CAFD613C-4AF9-BACC-8E58-ACD09F5AF960}"/>
                </a:ext>
              </a:extLst>
            </p:cNvPr>
            <p:cNvSpPr/>
            <p:nvPr/>
          </p:nvSpPr>
          <p:spPr>
            <a:xfrm>
              <a:off x="25877044" y="30554606"/>
              <a:ext cx="18313" cy="37706"/>
            </a:xfrm>
            <a:custGeom>
              <a:avLst/>
              <a:gdLst/>
              <a:ahLst/>
              <a:cxnLst/>
              <a:rect l="0" t="0" r="0" b="0"/>
              <a:pathLst>
                <a:path w="18313" h="37705">
                  <a:moveTo>
                    <a:pt x="17894" y="33248"/>
                  </a:moveTo>
                  <a:cubicBezTo>
                    <a:pt x="18313" y="24472"/>
                    <a:pt x="15506" y="10909"/>
                    <a:pt x="10375" y="3771"/>
                  </a:cubicBezTo>
                  <a:cubicBezTo>
                    <a:pt x="9626" y="2654"/>
                    <a:pt x="8661" y="1689"/>
                    <a:pt x="7531" y="939"/>
                  </a:cubicBezTo>
                  <a:cubicBezTo>
                    <a:pt x="6362" y="152"/>
                    <a:pt x="4864" y="0"/>
                    <a:pt x="3555" y="546"/>
                  </a:cubicBezTo>
                  <a:cubicBezTo>
                    <a:pt x="1892" y="1714"/>
                    <a:pt x="939" y="3644"/>
                    <a:pt x="1003" y="5676"/>
                  </a:cubicBezTo>
                  <a:cubicBezTo>
                    <a:pt x="0" y="18618"/>
                    <a:pt x="6400" y="31025"/>
                    <a:pt x="17525" y="3770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3" name="Free Form 3429">
              <a:extLst>
                <a:ext uri="{FF2B5EF4-FFF2-40B4-BE49-F238E27FC236}">
                  <a16:creationId xmlns:a16="http://schemas.microsoft.com/office/drawing/2014/main" id="{F696DB86-7577-46C6-DEFD-7E94331E7239}"/>
                </a:ext>
              </a:extLst>
            </p:cNvPr>
            <p:cNvSpPr/>
            <p:nvPr/>
          </p:nvSpPr>
          <p:spPr>
            <a:xfrm>
              <a:off x="25863682" y="30594528"/>
              <a:ext cx="21717" cy="36055"/>
            </a:xfrm>
            <a:custGeom>
              <a:avLst/>
              <a:gdLst/>
              <a:ahLst/>
              <a:cxnLst/>
              <a:rect l="0" t="0" r="0" b="0"/>
              <a:pathLst>
                <a:path w="21716" h="36054">
                  <a:moveTo>
                    <a:pt x="21716" y="28358"/>
                  </a:moveTo>
                  <a:cubicBezTo>
                    <a:pt x="20840" y="19557"/>
                    <a:pt x="17614" y="11150"/>
                    <a:pt x="12407" y="4000"/>
                  </a:cubicBezTo>
                  <a:cubicBezTo>
                    <a:pt x="11366" y="2209"/>
                    <a:pt x="9639" y="901"/>
                    <a:pt x="7632" y="393"/>
                  </a:cubicBezTo>
                  <a:cubicBezTo>
                    <a:pt x="4533" y="0"/>
                    <a:pt x="1955" y="3238"/>
                    <a:pt x="1384" y="6210"/>
                  </a:cubicBezTo>
                  <a:cubicBezTo>
                    <a:pt x="0" y="12483"/>
                    <a:pt x="3086" y="18871"/>
                    <a:pt x="6730" y="24180"/>
                  </a:cubicBezTo>
                  <a:cubicBezTo>
                    <a:pt x="10185" y="28650"/>
                    <a:pt x="14211" y="32638"/>
                    <a:pt x="18706" y="36054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4" name="Free Form 3430">
              <a:extLst>
                <a:ext uri="{FF2B5EF4-FFF2-40B4-BE49-F238E27FC236}">
                  <a16:creationId xmlns:a16="http://schemas.microsoft.com/office/drawing/2014/main" id="{8401703C-A981-C65B-DAA5-138BA00228CD}"/>
                </a:ext>
              </a:extLst>
            </p:cNvPr>
            <p:cNvSpPr/>
            <p:nvPr/>
          </p:nvSpPr>
          <p:spPr>
            <a:xfrm>
              <a:off x="25858593" y="30624602"/>
              <a:ext cx="18174" cy="27533"/>
            </a:xfrm>
            <a:custGeom>
              <a:avLst/>
              <a:gdLst/>
              <a:ahLst/>
              <a:cxnLst/>
              <a:rect l="0" t="0" r="0" b="0"/>
              <a:pathLst>
                <a:path w="18173" h="27533">
                  <a:moveTo>
                    <a:pt x="18173" y="22872"/>
                  </a:moveTo>
                  <a:cubicBezTo>
                    <a:pt x="16789" y="15938"/>
                    <a:pt x="13880" y="9410"/>
                    <a:pt x="9651" y="3733"/>
                  </a:cubicBezTo>
                  <a:cubicBezTo>
                    <a:pt x="8762" y="2489"/>
                    <a:pt x="7594" y="1460"/>
                    <a:pt x="6248" y="723"/>
                  </a:cubicBezTo>
                  <a:cubicBezTo>
                    <a:pt x="4876" y="0"/>
                    <a:pt x="3225" y="88"/>
                    <a:pt x="1930" y="952"/>
                  </a:cubicBezTo>
                  <a:cubicBezTo>
                    <a:pt x="0" y="2489"/>
                    <a:pt x="431" y="5499"/>
                    <a:pt x="1257" y="7823"/>
                  </a:cubicBezTo>
                  <a:cubicBezTo>
                    <a:pt x="3848" y="15747"/>
                    <a:pt x="8889" y="22656"/>
                    <a:pt x="15646" y="2753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5" name="Free Form 3431">
              <a:extLst>
                <a:ext uri="{FF2B5EF4-FFF2-40B4-BE49-F238E27FC236}">
                  <a16:creationId xmlns:a16="http://schemas.microsoft.com/office/drawing/2014/main" id="{F592C005-2407-EF1A-00A0-3E1F4F8EE434}"/>
                </a:ext>
              </a:extLst>
            </p:cNvPr>
            <p:cNvSpPr/>
            <p:nvPr/>
          </p:nvSpPr>
          <p:spPr>
            <a:xfrm>
              <a:off x="25878241" y="30623509"/>
              <a:ext cx="32715" cy="19901"/>
            </a:xfrm>
            <a:custGeom>
              <a:avLst/>
              <a:gdLst/>
              <a:ahLst/>
              <a:cxnLst/>
              <a:rect l="0" t="0" r="0" b="0"/>
              <a:pathLst>
                <a:path w="32714" h="19900">
                  <a:moveTo>
                    <a:pt x="2387" y="14084"/>
                  </a:moveTo>
                  <a:cubicBezTo>
                    <a:pt x="10248" y="8915"/>
                    <a:pt x="18579" y="4483"/>
                    <a:pt x="27253" y="850"/>
                  </a:cubicBezTo>
                  <a:cubicBezTo>
                    <a:pt x="28523" y="76"/>
                    <a:pt x="30085" y="0"/>
                    <a:pt x="31432" y="622"/>
                  </a:cubicBezTo>
                  <a:cubicBezTo>
                    <a:pt x="32346" y="1358"/>
                    <a:pt x="32714" y="2578"/>
                    <a:pt x="32371" y="3695"/>
                  </a:cubicBezTo>
                  <a:cubicBezTo>
                    <a:pt x="32029" y="4762"/>
                    <a:pt x="31444" y="5727"/>
                    <a:pt x="30670" y="6527"/>
                  </a:cubicBezTo>
                  <a:cubicBezTo>
                    <a:pt x="22910" y="15214"/>
                    <a:pt x="11620" y="19900"/>
                    <a:pt x="0" y="19252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6" name="Free Form 3432">
              <a:extLst>
                <a:ext uri="{FF2B5EF4-FFF2-40B4-BE49-F238E27FC236}">
                  <a16:creationId xmlns:a16="http://schemas.microsoft.com/office/drawing/2014/main" id="{D99E996B-8356-9042-1E42-9B0D3348C34A}"/>
                </a:ext>
              </a:extLst>
            </p:cNvPr>
            <p:cNvSpPr/>
            <p:nvPr/>
          </p:nvSpPr>
          <p:spPr>
            <a:xfrm>
              <a:off x="25889313" y="30588091"/>
              <a:ext cx="35204" cy="24460"/>
            </a:xfrm>
            <a:custGeom>
              <a:avLst/>
              <a:gdLst/>
              <a:ahLst/>
              <a:cxnLst/>
              <a:rect l="0" t="0" r="0" b="0"/>
              <a:pathLst>
                <a:path w="35204" h="24459">
                  <a:moveTo>
                    <a:pt x="939" y="16967"/>
                  </a:moveTo>
                  <a:lnTo>
                    <a:pt x="21411" y="3619"/>
                  </a:lnTo>
                  <a:cubicBezTo>
                    <a:pt x="23278" y="2235"/>
                    <a:pt x="25387" y="1206"/>
                    <a:pt x="27622" y="584"/>
                  </a:cubicBezTo>
                  <a:cubicBezTo>
                    <a:pt x="29933" y="0"/>
                    <a:pt x="32371" y="749"/>
                    <a:pt x="33959" y="2514"/>
                  </a:cubicBezTo>
                  <a:cubicBezTo>
                    <a:pt x="35204" y="4533"/>
                    <a:pt x="35204" y="7086"/>
                    <a:pt x="33959" y="9105"/>
                  </a:cubicBezTo>
                  <a:cubicBezTo>
                    <a:pt x="32740" y="11086"/>
                    <a:pt x="31127" y="12788"/>
                    <a:pt x="29222" y="14096"/>
                  </a:cubicBezTo>
                  <a:cubicBezTo>
                    <a:pt x="24942" y="17627"/>
                    <a:pt x="20065" y="20345"/>
                    <a:pt x="14820" y="22135"/>
                  </a:cubicBezTo>
                  <a:cubicBezTo>
                    <a:pt x="9537" y="23748"/>
                    <a:pt x="4978" y="24459"/>
                    <a:pt x="0" y="2213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7" name="Free Form 3433">
              <a:extLst>
                <a:ext uri="{FF2B5EF4-FFF2-40B4-BE49-F238E27FC236}">
                  <a16:creationId xmlns:a16="http://schemas.microsoft.com/office/drawing/2014/main" id="{E7E1F86D-E56D-1A66-824F-2B5A88ECBDD0}"/>
                </a:ext>
              </a:extLst>
            </p:cNvPr>
            <p:cNvSpPr/>
            <p:nvPr/>
          </p:nvSpPr>
          <p:spPr>
            <a:xfrm>
              <a:off x="25898538" y="30549286"/>
              <a:ext cx="33185" cy="25197"/>
            </a:xfrm>
            <a:custGeom>
              <a:avLst/>
              <a:gdLst/>
              <a:ahLst/>
              <a:cxnLst/>
              <a:rect l="0" t="0" r="0" b="0"/>
              <a:pathLst>
                <a:path w="33184" h="25196">
                  <a:moveTo>
                    <a:pt x="1168" y="18694"/>
                  </a:moveTo>
                  <a:cubicBezTo>
                    <a:pt x="6819" y="10972"/>
                    <a:pt x="14427" y="4902"/>
                    <a:pt x="23202" y="1092"/>
                  </a:cubicBezTo>
                  <a:cubicBezTo>
                    <a:pt x="24612" y="355"/>
                    <a:pt x="26199" y="0"/>
                    <a:pt x="27800" y="76"/>
                  </a:cubicBezTo>
                  <a:cubicBezTo>
                    <a:pt x="30987" y="800"/>
                    <a:pt x="33184" y="3708"/>
                    <a:pt x="33045" y="6972"/>
                  </a:cubicBezTo>
                  <a:cubicBezTo>
                    <a:pt x="32968" y="10566"/>
                    <a:pt x="31355" y="13969"/>
                    <a:pt x="28625" y="16306"/>
                  </a:cubicBezTo>
                  <a:cubicBezTo>
                    <a:pt x="25869" y="18656"/>
                    <a:pt x="22669" y="20434"/>
                    <a:pt x="19227" y="21538"/>
                  </a:cubicBezTo>
                  <a:cubicBezTo>
                    <a:pt x="13055" y="23748"/>
                    <a:pt x="6565" y="24993"/>
                    <a:pt x="0" y="25196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8" name="Free Form 3434">
              <a:extLst>
                <a:ext uri="{FF2B5EF4-FFF2-40B4-BE49-F238E27FC236}">
                  <a16:creationId xmlns:a16="http://schemas.microsoft.com/office/drawing/2014/main" id="{4844DD40-C4C0-90E6-BE4F-B8FDEC91CB36}"/>
                </a:ext>
              </a:extLst>
            </p:cNvPr>
            <p:cNvSpPr/>
            <p:nvPr/>
          </p:nvSpPr>
          <p:spPr>
            <a:xfrm>
              <a:off x="25903823" y="30507980"/>
              <a:ext cx="30873" cy="30810"/>
            </a:xfrm>
            <a:custGeom>
              <a:avLst/>
              <a:gdLst/>
              <a:ahLst/>
              <a:cxnLst/>
              <a:rect l="0" t="0" r="0" b="0"/>
              <a:pathLst>
                <a:path w="30873" h="30809">
                  <a:moveTo>
                    <a:pt x="228" y="25704"/>
                  </a:moveTo>
                  <a:cubicBezTo>
                    <a:pt x="4965" y="15709"/>
                    <a:pt x="13144" y="8674"/>
                    <a:pt x="22123" y="2285"/>
                  </a:cubicBezTo>
                  <a:cubicBezTo>
                    <a:pt x="23824" y="622"/>
                    <a:pt x="26276" y="0"/>
                    <a:pt x="28561" y="634"/>
                  </a:cubicBezTo>
                  <a:cubicBezTo>
                    <a:pt x="29882" y="1384"/>
                    <a:pt x="30720" y="2755"/>
                    <a:pt x="30809" y="4267"/>
                  </a:cubicBezTo>
                  <a:cubicBezTo>
                    <a:pt x="30873" y="5753"/>
                    <a:pt x="30619" y="7238"/>
                    <a:pt x="30060" y="8610"/>
                  </a:cubicBezTo>
                  <a:cubicBezTo>
                    <a:pt x="25412" y="21386"/>
                    <a:pt x="13576" y="30124"/>
                    <a:pt x="0" y="30809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9" name="Free Form 3435">
              <a:extLst>
                <a:ext uri="{FF2B5EF4-FFF2-40B4-BE49-F238E27FC236}">
                  <a16:creationId xmlns:a16="http://schemas.microsoft.com/office/drawing/2014/main" id="{EBFB4E03-47D4-B996-88CB-CE5412471C60}"/>
                </a:ext>
              </a:extLst>
            </p:cNvPr>
            <p:cNvSpPr/>
            <p:nvPr/>
          </p:nvSpPr>
          <p:spPr>
            <a:xfrm>
              <a:off x="25894669" y="30475082"/>
              <a:ext cx="17538" cy="40716"/>
            </a:xfrm>
            <a:custGeom>
              <a:avLst/>
              <a:gdLst/>
              <a:ahLst/>
              <a:cxnLst/>
              <a:rect l="0" t="0" r="0" b="0"/>
              <a:pathLst>
                <a:path w="17538" h="40715">
                  <a:moveTo>
                    <a:pt x="10490" y="40715"/>
                  </a:moveTo>
                  <a:cubicBezTo>
                    <a:pt x="12877" y="35572"/>
                    <a:pt x="14769" y="30225"/>
                    <a:pt x="16166" y="24726"/>
                  </a:cubicBezTo>
                  <a:cubicBezTo>
                    <a:pt x="17538" y="19214"/>
                    <a:pt x="17322" y="13411"/>
                    <a:pt x="15544" y="8013"/>
                  </a:cubicBezTo>
                  <a:cubicBezTo>
                    <a:pt x="14808" y="5676"/>
                    <a:pt x="13423" y="3594"/>
                    <a:pt x="11544" y="2019"/>
                  </a:cubicBezTo>
                  <a:cubicBezTo>
                    <a:pt x="9613" y="444"/>
                    <a:pt x="7010" y="0"/>
                    <a:pt x="4673" y="825"/>
                  </a:cubicBezTo>
                  <a:cubicBezTo>
                    <a:pt x="2616" y="1816"/>
                    <a:pt x="1117" y="3682"/>
                    <a:pt x="609" y="5905"/>
                  </a:cubicBezTo>
                  <a:cubicBezTo>
                    <a:pt x="101" y="8102"/>
                    <a:pt x="0" y="10375"/>
                    <a:pt x="292" y="12610"/>
                  </a:cubicBezTo>
                  <a:cubicBezTo>
                    <a:pt x="1231" y="23342"/>
                    <a:pt x="4495" y="35889"/>
                    <a:pt x="10515" y="4071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0" name="Free Form 3436">
              <a:extLst>
                <a:ext uri="{FF2B5EF4-FFF2-40B4-BE49-F238E27FC236}">
                  <a16:creationId xmlns:a16="http://schemas.microsoft.com/office/drawing/2014/main" id="{AB0DC2F4-E269-5AD8-A4D3-5E3EBC1D8EDD}"/>
                </a:ext>
              </a:extLst>
            </p:cNvPr>
            <p:cNvSpPr/>
            <p:nvPr/>
          </p:nvSpPr>
          <p:spPr>
            <a:xfrm>
              <a:off x="25725475" y="30669505"/>
              <a:ext cx="196911" cy="35966"/>
            </a:xfrm>
            <a:custGeom>
              <a:avLst/>
              <a:gdLst/>
              <a:ahLst/>
              <a:cxnLst/>
              <a:rect l="0" t="0" r="0" b="0"/>
              <a:pathLst>
                <a:path w="196911" h="35966">
                  <a:moveTo>
                    <a:pt x="0" y="0"/>
                  </a:moveTo>
                  <a:lnTo>
                    <a:pt x="0" y="25806"/>
                  </a:lnTo>
                  <a:cubicBezTo>
                    <a:pt x="0" y="31419"/>
                    <a:pt x="4546" y="35966"/>
                    <a:pt x="10159" y="35966"/>
                  </a:cubicBezTo>
                  <a:lnTo>
                    <a:pt x="186751" y="35966"/>
                  </a:lnTo>
                  <a:cubicBezTo>
                    <a:pt x="192364" y="35966"/>
                    <a:pt x="196911" y="31419"/>
                    <a:pt x="196911" y="25806"/>
                  </a:cubicBezTo>
                  <a:lnTo>
                    <a:pt x="196911" y="0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1" name="Free Form 3437">
              <a:extLst>
                <a:ext uri="{FF2B5EF4-FFF2-40B4-BE49-F238E27FC236}">
                  <a16:creationId xmlns:a16="http://schemas.microsoft.com/office/drawing/2014/main" id="{1D78848E-F6FA-6D0D-6FE7-5A01E0712A40}"/>
                </a:ext>
              </a:extLst>
            </p:cNvPr>
            <p:cNvSpPr/>
            <p:nvPr/>
          </p:nvSpPr>
          <p:spPr>
            <a:xfrm>
              <a:off x="25740777" y="30705476"/>
              <a:ext cx="168552" cy="19850"/>
            </a:xfrm>
            <a:custGeom>
              <a:avLst/>
              <a:gdLst/>
              <a:ahLst/>
              <a:cxnLst/>
              <a:rect l="0" t="0" r="0" b="0"/>
              <a:pathLst>
                <a:path w="168552" h="19849">
                  <a:moveTo>
                    <a:pt x="0" y="0"/>
                  </a:moveTo>
                  <a:lnTo>
                    <a:pt x="1473" y="8204"/>
                  </a:lnTo>
                  <a:lnTo>
                    <a:pt x="164412" y="19849"/>
                  </a:lnTo>
                  <a:lnTo>
                    <a:pt x="168552" y="0"/>
                  </a:lnTo>
                  <a:close/>
                </a:path>
              </a:pathLst>
            </a:custGeom>
            <a:solidFill>
              <a:srgbClr val="090C0A">
                <a:alpha val="39999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2" name="Free Form 3438">
              <a:extLst>
                <a:ext uri="{FF2B5EF4-FFF2-40B4-BE49-F238E27FC236}">
                  <a16:creationId xmlns:a16="http://schemas.microsoft.com/office/drawing/2014/main" id="{DAE17EB6-620D-4581-EBC8-4E5DF0A8CF49}"/>
                </a:ext>
              </a:extLst>
            </p:cNvPr>
            <p:cNvSpPr/>
            <p:nvPr/>
          </p:nvSpPr>
          <p:spPr>
            <a:xfrm>
              <a:off x="26258737" y="29687772"/>
              <a:ext cx="238173" cy="230718"/>
            </a:xfrm>
            <a:custGeom>
              <a:avLst/>
              <a:gdLst/>
              <a:ahLst/>
              <a:cxnLst/>
              <a:rect l="0" t="0" r="0" b="0"/>
              <a:pathLst>
                <a:path w="238173" h="230718">
                  <a:moveTo>
                    <a:pt x="8204" y="212773"/>
                  </a:moveTo>
                  <a:lnTo>
                    <a:pt x="30263" y="173873"/>
                  </a:lnTo>
                  <a:cubicBezTo>
                    <a:pt x="0" y="124826"/>
                    <a:pt x="15227" y="60527"/>
                    <a:pt x="64286" y="30263"/>
                  </a:cubicBezTo>
                  <a:cubicBezTo>
                    <a:pt x="113346" y="0"/>
                    <a:pt x="177645" y="15227"/>
                    <a:pt x="207909" y="64286"/>
                  </a:cubicBezTo>
                  <a:cubicBezTo>
                    <a:pt x="238173" y="113333"/>
                    <a:pt x="222933" y="177633"/>
                    <a:pt x="173886" y="207896"/>
                  </a:cubicBezTo>
                  <a:cubicBezTo>
                    <a:pt x="136891" y="230718"/>
                    <a:pt x="89635" y="228229"/>
                    <a:pt x="55244" y="20164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3" name="Free Form 3439">
              <a:extLst>
                <a:ext uri="{FF2B5EF4-FFF2-40B4-BE49-F238E27FC236}">
                  <a16:creationId xmlns:a16="http://schemas.microsoft.com/office/drawing/2014/main" id="{418F8157-9553-4665-3936-D0DE1106708A}"/>
                </a:ext>
              </a:extLst>
            </p:cNvPr>
            <p:cNvSpPr/>
            <p:nvPr/>
          </p:nvSpPr>
          <p:spPr>
            <a:xfrm>
              <a:off x="26266852" y="29701691"/>
              <a:ext cx="216279" cy="210234"/>
            </a:xfrm>
            <a:custGeom>
              <a:avLst/>
              <a:gdLst/>
              <a:ahLst/>
              <a:cxnLst/>
              <a:rect l="0" t="0" r="0" b="0"/>
              <a:pathLst>
                <a:path w="216278" h="210233">
                  <a:moveTo>
                    <a:pt x="88" y="198854"/>
                  </a:moveTo>
                  <a:lnTo>
                    <a:pt x="47243" y="188097"/>
                  </a:lnTo>
                  <a:lnTo>
                    <a:pt x="47726" y="188097"/>
                  </a:lnTo>
                  <a:lnTo>
                    <a:pt x="47421" y="187691"/>
                  </a:lnTo>
                  <a:lnTo>
                    <a:pt x="46964" y="188123"/>
                  </a:lnTo>
                  <a:cubicBezTo>
                    <a:pt x="53555" y="193253"/>
                    <a:pt x="60743" y="197597"/>
                    <a:pt x="68363" y="201038"/>
                  </a:cubicBezTo>
                  <a:cubicBezTo>
                    <a:pt x="77392" y="205090"/>
                    <a:pt x="86955" y="207833"/>
                    <a:pt x="96760" y="209192"/>
                  </a:cubicBezTo>
                  <a:cubicBezTo>
                    <a:pt x="102208" y="209954"/>
                    <a:pt x="107720" y="210233"/>
                    <a:pt x="113219" y="210017"/>
                  </a:cubicBezTo>
                  <a:cubicBezTo>
                    <a:pt x="116064" y="210017"/>
                    <a:pt x="118896" y="209789"/>
                    <a:pt x="121740" y="209560"/>
                  </a:cubicBezTo>
                  <a:lnTo>
                    <a:pt x="130541" y="208226"/>
                  </a:lnTo>
                  <a:cubicBezTo>
                    <a:pt x="156741" y="203070"/>
                    <a:pt x="180007" y="188135"/>
                    <a:pt x="195590" y="166457"/>
                  </a:cubicBezTo>
                  <a:cubicBezTo>
                    <a:pt x="204251" y="154468"/>
                    <a:pt x="210246" y="140765"/>
                    <a:pt x="213192" y="126262"/>
                  </a:cubicBezTo>
                  <a:cubicBezTo>
                    <a:pt x="216278" y="110907"/>
                    <a:pt x="215923" y="95071"/>
                    <a:pt x="212163" y="79869"/>
                  </a:cubicBezTo>
                  <a:cubicBezTo>
                    <a:pt x="208239" y="64032"/>
                    <a:pt x="200607" y="49351"/>
                    <a:pt x="189875" y="37058"/>
                  </a:cubicBezTo>
                  <a:lnTo>
                    <a:pt x="185621" y="32397"/>
                  </a:lnTo>
                  <a:cubicBezTo>
                    <a:pt x="184236" y="30809"/>
                    <a:pt x="182547" y="29565"/>
                    <a:pt x="181049" y="28079"/>
                  </a:cubicBezTo>
                  <a:cubicBezTo>
                    <a:pt x="179550" y="26606"/>
                    <a:pt x="178014" y="25247"/>
                    <a:pt x="176312" y="23964"/>
                  </a:cubicBezTo>
                  <a:lnTo>
                    <a:pt x="171308" y="20243"/>
                  </a:lnTo>
                  <a:cubicBezTo>
                    <a:pt x="169682" y="18986"/>
                    <a:pt x="167955" y="17843"/>
                    <a:pt x="166139" y="16840"/>
                  </a:cubicBezTo>
                  <a:lnTo>
                    <a:pt x="160869" y="13639"/>
                  </a:lnTo>
                  <a:lnTo>
                    <a:pt x="155357" y="10794"/>
                  </a:lnTo>
                  <a:cubicBezTo>
                    <a:pt x="153515" y="9855"/>
                    <a:pt x="151623" y="9029"/>
                    <a:pt x="149680" y="8318"/>
                  </a:cubicBezTo>
                  <a:cubicBezTo>
                    <a:pt x="134872" y="2463"/>
                    <a:pt x="118921" y="0"/>
                    <a:pt x="103034" y="1142"/>
                  </a:cubicBezTo>
                  <a:cubicBezTo>
                    <a:pt x="87997" y="2171"/>
                    <a:pt x="73367" y="6489"/>
                    <a:pt x="60184" y="13804"/>
                  </a:cubicBezTo>
                  <a:cubicBezTo>
                    <a:pt x="36537" y="26974"/>
                    <a:pt x="18859" y="48742"/>
                    <a:pt x="10794" y="74586"/>
                  </a:cubicBezTo>
                  <a:cubicBezTo>
                    <a:pt x="7581" y="85584"/>
                    <a:pt x="6057" y="97001"/>
                    <a:pt x="6273" y="108456"/>
                  </a:cubicBezTo>
                  <a:cubicBezTo>
                    <a:pt x="6565" y="118388"/>
                    <a:pt x="8293" y="128230"/>
                    <a:pt x="11391" y="137666"/>
                  </a:cubicBezTo>
                  <a:cubicBezTo>
                    <a:pt x="13969" y="145527"/>
                    <a:pt x="17462" y="153046"/>
                    <a:pt x="21805" y="160069"/>
                  </a:cubicBezTo>
                  <a:lnTo>
                    <a:pt x="21805" y="159764"/>
                  </a:lnTo>
                  <a:cubicBezTo>
                    <a:pt x="7873" y="184719"/>
                    <a:pt x="1079" y="196898"/>
                    <a:pt x="0" y="198790"/>
                  </a:cubicBezTo>
                  <a:cubicBezTo>
                    <a:pt x="1104" y="196924"/>
                    <a:pt x="8064" y="184795"/>
                    <a:pt x="22339" y="160069"/>
                  </a:cubicBezTo>
                  <a:lnTo>
                    <a:pt x="22339" y="159903"/>
                  </a:lnTo>
                  <a:cubicBezTo>
                    <a:pt x="18071" y="152880"/>
                    <a:pt x="14642" y="145400"/>
                    <a:pt x="12102" y="137590"/>
                  </a:cubicBezTo>
                  <a:cubicBezTo>
                    <a:pt x="9080" y="128205"/>
                    <a:pt x="7416" y="118426"/>
                    <a:pt x="7162" y="108571"/>
                  </a:cubicBezTo>
                  <a:cubicBezTo>
                    <a:pt x="6984" y="97230"/>
                    <a:pt x="8534" y="85927"/>
                    <a:pt x="11760" y="75043"/>
                  </a:cubicBezTo>
                  <a:cubicBezTo>
                    <a:pt x="19811" y="49440"/>
                    <a:pt x="37401" y="27901"/>
                    <a:pt x="60870" y="14884"/>
                  </a:cubicBezTo>
                  <a:cubicBezTo>
                    <a:pt x="73913" y="7696"/>
                    <a:pt x="88365" y="3441"/>
                    <a:pt x="103237" y="2451"/>
                  </a:cubicBezTo>
                  <a:cubicBezTo>
                    <a:pt x="118934" y="1320"/>
                    <a:pt x="134682" y="3746"/>
                    <a:pt x="149312" y="9550"/>
                  </a:cubicBezTo>
                  <a:cubicBezTo>
                    <a:pt x="151191" y="10248"/>
                    <a:pt x="153033" y="11074"/>
                    <a:pt x="154811" y="12014"/>
                  </a:cubicBezTo>
                  <a:lnTo>
                    <a:pt x="160234" y="14566"/>
                  </a:lnTo>
                  <a:lnTo>
                    <a:pt x="165441" y="17754"/>
                  </a:lnTo>
                  <a:cubicBezTo>
                    <a:pt x="167219" y="18745"/>
                    <a:pt x="168933" y="19875"/>
                    <a:pt x="170546" y="21132"/>
                  </a:cubicBezTo>
                  <a:lnTo>
                    <a:pt x="175486" y="24815"/>
                  </a:lnTo>
                  <a:cubicBezTo>
                    <a:pt x="177163" y="26009"/>
                    <a:pt x="178572" y="27660"/>
                    <a:pt x="180134" y="28879"/>
                  </a:cubicBezTo>
                  <a:cubicBezTo>
                    <a:pt x="181709" y="30098"/>
                    <a:pt x="183297" y="31724"/>
                    <a:pt x="184656" y="33133"/>
                  </a:cubicBezTo>
                  <a:lnTo>
                    <a:pt x="188859" y="37769"/>
                  </a:lnTo>
                  <a:cubicBezTo>
                    <a:pt x="199476" y="49897"/>
                    <a:pt x="207033" y="64388"/>
                    <a:pt x="210919" y="80034"/>
                  </a:cubicBezTo>
                  <a:cubicBezTo>
                    <a:pt x="214678" y="95007"/>
                    <a:pt x="215110" y="110628"/>
                    <a:pt x="212163" y="125779"/>
                  </a:cubicBezTo>
                  <a:cubicBezTo>
                    <a:pt x="209268" y="140104"/>
                    <a:pt x="203362" y="153655"/>
                    <a:pt x="194815" y="165517"/>
                  </a:cubicBezTo>
                  <a:cubicBezTo>
                    <a:pt x="179423" y="186980"/>
                    <a:pt x="156449" y="201800"/>
                    <a:pt x="130541" y="206969"/>
                  </a:cubicBezTo>
                  <a:lnTo>
                    <a:pt x="121855" y="208303"/>
                  </a:lnTo>
                  <a:cubicBezTo>
                    <a:pt x="119023" y="208569"/>
                    <a:pt x="116178" y="208620"/>
                    <a:pt x="113333" y="208785"/>
                  </a:cubicBezTo>
                  <a:cubicBezTo>
                    <a:pt x="107885" y="209027"/>
                    <a:pt x="102424" y="208773"/>
                    <a:pt x="97014" y="208023"/>
                  </a:cubicBezTo>
                  <a:cubicBezTo>
                    <a:pt x="87222" y="206741"/>
                    <a:pt x="77659" y="204074"/>
                    <a:pt x="68617" y="200073"/>
                  </a:cubicBezTo>
                  <a:cubicBezTo>
                    <a:pt x="61048" y="196682"/>
                    <a:pt x="53885" y="192415"/>
                    <a:pt x="47306" y="187361"/>
                  </a:cubicBezTo>
                  <a:lnTo>
                    <a:pt x="45338" y="185875"/>
                  </a:lnTo>
                  <a:lnTo>
                    <a:pt x="46849" y="187805"/>
                  </a:lnTo>
                  <a:lnTo>
                    <a:pt x="47014" y="187297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4" name="Free Form 3440">
              <a:extLst>
                <a:ext uri="{FF2B5EF4-FFF2-40B4-BE49-F238E27FC236}">
                  <a16:creationId xmlns:a16="http://schemas.microsoft.com/office/drawing/2014/main" id="{6AD53107-DD50-0CA7-14F3-10077708D326}"/>
                </a:ext>
              </a:extLst>
            </p:cNvPr>
            <p:cNvSpPr/>
            <p:nvPr/>
          </p:nvSpPr>
          <p:spPr>
            <a:xfrm>
              <a:off x="26406949" y="29796534"/>
              <a:ext cx="21209" cy="21208"/>
            </a:xfrm>
            <a:custGeom>
              <a:avLst/>
              <a:gdLst/>
              <a:ahLst/>
              <a:cxnLst/>
              <a:rect l="0" t="0" r="0" b="0"/>
              <a:pathLst>
                <a:path w="21208" h="21208">
                  <a:moveTo>
                    <a:pt x="12" y="10578"/>
                  </a:moveTo>
                  <a:cubicBezTo>
                    <a:pt x="0" y="16420"/>
                    <a:pt x="4724" y="21183"/>
                    <a:pt x="10578" y="21196"/>
                  </a:cubicBezTo>
                  <a:cubicBezTo>
                    <a:pt x="16420" y="21208"/>
                    <a:pt x="21183" y="16484"/>
                    <a:pt x="21196" y="10629"/>
                  </a:cubicBezTo>
                  <a:cubicBezTo>
                    <a:pt x="21208" y="4787"/>
                    <a:pt x="16484" y="38"/>
                    <a:pt x="10629" y="12"/>
                  </a:cubicBezTo>
                  <a:lnTo>
                    <a:pt x="10604" y="12"/>
                  </a:lnTo>
                  <a:cubicBezTo>
                    <a:pt x="4775" y="0"/>
                    <a:pt x="25" y="4711"/>
                    <a:pt x="12" y="1055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5" name="Free Form 3441">
              <a:extLst>
                <a:ext uri="{FF2B5EF4-FFF2-40B4-BE49-F238E27FC236}">
                  <a16:creationId xmlns:a16="http://schemas.microsoft.com/office/drawing/2014/main" id="{876228F2-889F-3832-FF3A-6838E132991F}"/>
                </a:ext>
              </a:extLst>
            </p:cNvPr>
            <p:cNvSpPr/>
            <p:nvPr/>
          </p:nvSpPr>
          <p:spPr>
            <a:xfrm>
              <a:off x="26364621" y="29796534"/>
              <a:ext cx="21209" cy="21208"/>
            </a:xfrm>
            <a:custGeom>
              <a:avLst/>
              <a:gdLst/>
              <a:ahLst/>
              <a:cxnLst/>
              <a:rect l="0" t="0" r="0" b="0"/>
              <a:pathLst>
                <a:path w="21208" h="21208">
                  <a:moveTo>
                    <a:pt x="12" y="10578"/>
                  </a:moveTo>
                  <a:cubicBezTo>
                    <a:pt x="0" y="16420"/>
                    <a:pt x="4724" y="21183"/>
                    <a:pt x="10578" y="21196"/>
                  </a:cubicBezTo>
                  <a:cubicBezTo>
                    <a:pt x="16420" y="21208"/>
                    <a:pt x="21170" y="16484"/>
                    <a:pt x="21196" y="10629"/>
                  </a:cubicBezTo>
                  <a:cubicBezTo>
                    <a:pt x="21208" y="4787"/>
                    <a:pt x="16484" y="38"/>
                    <a:pt x="10629" y="12"/>
                  </a:cubicBezTo>
                  <a:lnTo>
                    <a:pt x="10604" y="12"/>
                  </a:lnTo>
                  <a:cubicBezTo>
                    <a:pt x="4775" y="0"/>
                    <a:pt x="25" y="4711"/>
                    <a:pt x="12" y="1055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6" name="Free Form 3442">
              <a:extLst>
                <a:ext uri="{FF2B5EF4-FFF2-40B4-BE49-F238E27FC236}">
                  <a16:creationId xmlns:a16="http://schemas.microsoft.com/office/drawing/2014/main" id="{6F1155B5-E16D-A409-0BB3-84BFE9BD418C}"/>
                </a:ext>
              </a:extLst>
            </p:cNvPr>
            <p:cNvSpPr/>
            <p:nvPr/>
          </p:nvSpPr>
          <p:spPr>
            <a:xfrm>
              <a:off x="26319577" y="29795053"/>
              <a:ext cx="24117" cy="24117"/>
            </a:xfrm>
            <a:custGeom>
              <a:avLst/>
              <a:gdLst/>
              <a:ahLst/>
              <a:cxnLst/>
              <a:rect l="0" t="0" r="0" b="0"/>
              <a:pathLst>
                <a:path w="24117" h="24117">
                  <a:moveTo>
                    <a:pt x="2895" y="6807"/>
                  </a:moveTo>
                  <a:cubicBezTo>
                    <a:pt x="0" y="11861"/>
                    <a:pt x="1739" y="18325"/>
                    <a:pt x="6807" y="21221"/>
                  </a:cubicBezTo>
                  <a:cubicBezTo>
                    <a:pt x="11861" y="24117"/>
                    <a:pt x="18325" y="22377"/>
                    <a:pt x="21221" y="17309"/>
                  </a:cubicBezTo>
                  <a:cubicBezTo>
                    <a:pt x="24117" y="12268"/>
                    <a:pt x="22377" y="5829"/>
                    <a:pt x="17348" y="2920"/>
                  </a:cubicBezTo>
                  <a:cubicBezTo>
                    <a:pt x="12293" y="0"/>
                    <a:pt x="5841" y="1727"/>
                    <a:pt x="2920" y="6769"/>
                  </a:cubicBezTo>
                  <a:cubicBezTo>
                    <a:pt x="2908" y="6781"/>
                    <a:pt x="2895" y="6794"/>
                    <a:pt x="2895" y="680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7" name="Free Form 3443">
              <a:extLst>
                <a:ext uri="{FF2B5EF4-FFF2-40B4-BE49-F238E27FC236}">
                  <a16:creationId xmlns:a16="http://schemas.microsoft.com/office/drawing/2014/main" id="{D0726B92-6765-B653-19D5-D20C949B7E80}"/>
                </a:ext>
              </a:extLst>
            </p:cNvPr>
            <p:cNvSpPr/>
            <p:nvPr/>
          </p:nvSpPr>
          <p:spPr>
            <a:xfrm>
              <a:off x="25320173" y="30372226"/>
              <a:ext cx="281200" cy="461259"/>
            </a:xfrm>
            <a:custGeom>
              <a:avLst/>
              <a:gdLst/>
              <a:ahLst/>
              <a:cxnLst/>
              <a:rect l="0" t="0" r="0" b="0"/>
              <a:pathLst>
                <a:path w="281200" h="461259">
                  <a:moveTo>
                    <a:pt x="140104" y="0"/>
                  </a:moveTo>
                  <a:lnTo>
                    <a:pt x="185532" y="75373"/>
                  </a:lnTo>
                  <a:cubicBezTo>
                    <a:pt x="185532" y="75373"/>
                    <a:pt x="233931" y="155751"/>
                    <a:pt x="241576" y="177417"/>
                  </a:cubicBezTo>
                  <a:cubicBezTo>
                    <a:pt x="249209" y="199070"/>
                    <a:pt x="281009" y="386050"/>
                    <a:pt x="281060" y="400312"/>
                  </a:cubicBezTo>
                  <a:cubicBezTo>
                    <a:pt x="281200" y="432417"/>
                    <a:pt x="246999" y="461259"/>
                    <a:pt x="226552" y="461259"/>
                  </a:cubicBezTo>
                  <a:cubicBezTo>
                    <a:pt x="206118" y="461259"/>
                    <a:pt x="165174" y="443606"/>
                    <a:pt x="129513" y="424492"/>
                  </a:cubicBezTo>
                  <a:cubicBezTo>
                    <a:pt x="93851" y="405392"/>
                    <a:pt x="27482" y="328202"/>
                    <a:pt x="27482" y="328202"/>
                  </a:cubicBezTo>
                  <a:lnTo>
                    <a:pt x="15557" y="162393"/>
                  </a:lnTo>
                  <a:lnTo>
                    <a:pt x="0" y="10274"/>
                  </a:ln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8" name="Free Form 3444">
              <a:extLst>
                <a:ext uri="{FF2B5EF4-FFF2-40B4-BE49-F238E27FC236}">
                  <a16:creationId xmlns:a16="http://schemas.microsoft.com/office/drawing/2014/main" id="{12992C7A-9D4B-AB96-63AD-C31B7DE5A804}"/>
                </a:ext>
              </a:extLst>
            </p:cNvPr>
            <p:cNvSpPr/>
            <p:nvPr/>
          </p:nvSpPr>
          <p:spPr>
            <a:xfrm>
              <a:off x="25366307" y="30401981"/>
              <a:ext cx="82283" cy="321154"/>
            </a:xfrm>
            <a:custGeom>
              <a:avLst/>
              <a:gdLst/>
              <a:ahLst/>
              <a:cxnLst/>
              <a:rect l="0" t="0" r="0" b="0"/>
              <a:pathLst>
                <a:path w="82282" h="321154">
                  <a:moveTo>
                    <a:pt x="82244" y="321154"/>
                  </a:moveTo>
                  <a:cubicBezTo>
                    <a:pt x="82130" y="320887"/>
                    <a:pt x="82041" y="320595"/>
                    <a:pt x="81990" y="320303"/>
                  </a:cubicBezTo>
                  <a:cubicBezTo>
                    <a:pt x="81850" y="319680"/>
                    <a:pt x="81647" y="318855"/>
                    <a:pt x="81418" y="317839"/>
                  </a:cubicBezTo>
                  <a:cubicBezTo>
                    <a:pt x="80936" y="315528"/>
                    <a:pt x="80225" y="312327"/>
                    <a:pt x="79374" y="308213"/>
                  </a:cubicBezTo>
                  <a:cubicBezTo>
                    <a:pt x="77621" y="299691"/>
                    <a:pt x="75119" y="287715"/>
                    <a:pt x="72059" y="272831"/>
                  </a:cubicBezTo>
                  <a:lnTo>
                    <a:pt x="61429" y="220317"/>
                  </a:lnTo>
                  <a:cubicBezTo>
                    <a:pt x="59473" y="210424"/>
                    <a:pt x="57377" y="200035"/>
                    <a:pt x="55244" y="189278"/>
                  </a:cubicBezTo>
                  <a:cubicBezTo>
                    <a:pt x="52933" y="178166"/>
                    <a:pt x="51205" y="166939"/>
                    <a:pt x="50075" y="155636"/>
                  </a:cubicBezTo>
                  <a:cubicBezTo>
                    <a:pt x="49592" y="149820"/>
                    <a:pt x="49402" y="144029"/>
                    <a:pt x="49478" y="138314"/>
                  </a:cubicBezTo>
                  <a:cubicBezTo>
                    <a:pt x="49567" y="132611"/>
                    <a:pt x="49935" y="126960"/>
                    <a:pt x="50215" y="121563"/>
                  </a:cubicBezTo>
                  <a:cubicBezTo>
                    <a:pt x="50507" y="116178"/>
                    <a:pt x="50761" y="110717"/>
                    <a:pt x="50672" y="105472"/>
                  </a:cubicBezTo>
                  <a:lnTo>
                    <a:pt x="50329" y="101611"/>
                  </a:lnTo>
                  <a:cubicBezTo>
                    <a:pt x="50342" y="100354"/>
                    <a:pt x="50253" y="99109"/>
                    <a:pt x="50075" y="97865"/>
                  </a:cubicBezTo>
                  <a:cubicBezTo>
                    <a:pt x="49656" y="95375"/>
                    <a:pt x="49072" y="92912"/>
                    <a:pt x="48322" y="90511"/>
                  </a:cubicBezTo>
                  <a:cubicBezTo>
                    <a:pt x="45427" y="81444"/>
                    <a:pt x="41630" y="72706"/>
                    <a:pt x="36956" y="64413"/>
                  </a:cubicBezTo>
                  <a:cubicBezTo>
                    <a:pt x="32727" y="56527"/>
                    <a:pt x="28447" y="49427"/>
                    <a:pt x="24358" y="42925"/>
                  </a:cubicBezTo>
                  <a:cubicBezTo>
                    <a:pt x="16293" y="29984"/>
                    <a:pt x="9740" y="19506"/>
                    <a:pt x="5702" y="11975"/>
                  </a:cubicBezTo>
                  <a:cubicBezTo>
                    <a:pt x="3721" y="8178"/>
                    <a:pt x="2184" y="5257"/>
                    <a:pt x="1333" y="3174"/>
                  </a:cubicBezTo>
                  <a:lnTo>
                    <a:pt x="304" y="825"/>
                  </a:lnTo>
                  <a:cubicBezTo>
                    <a:pt x="88" y="279"/>
                    <a:pt x="0" y="0"/>
                    <a:pt x="0" y="0"/>
                  </a:cubicBezTo>
                  <a:cubicBezTo>
                    <a:pt x="165" y="241"/>
                    <a:pt x="317" y="495"/>
                    <a:pt x="457" y="761"/>
                  </a:cubicBezTo>
                  <a:cubicBezTo>
                    <a:pt x="736" y="1333"/>
                    <a:pt x="1130" y="2095"/>
                    <a:pt x="1587" y="3035"/>
                  </a:cubicBezTo>
                  <a:cubicBezTo>
                    <a:pt x="2552" y="5079"/>
                    <a:pt x="4140" y="7975"/>
                    <a:pt x="6184" y="11696"/>
                  </a:cubicBezTo>
                  <a:cubicBezTo>
                    <a:pt x="10363" y="19138"/>
                    <a:pt x="17055" y="29501"/>
                    <a:pt x="25234" y="42392"/>
                  </a:cubicBezTo>
                  <a:cubicBezTo>
                    <a:pt x="29273" y="48856"/>
                    <a:pt x="33756" y="55930"/>
                    <a:pt x="38036" y="63816"/>
                  </a:cubicBezTo>
                  <a:cubicBezTo>
                    <a:pt x="42785" y="72160"/>
                    <a:pt x="46659" y="80974"/>
                    <a:pt x="49592" y="90105"/>
                  </a:cubicBezTo>
                  <a:cubicBezTo>
                    <a:pt x="50354" y="92582"/>
                    <a:pt x="50951" y="95096"/>
                    <a:pt x="51409" y="97636"/>
                  </a:cubicBezTo>
                  <a:cubicBezTo>
                    <a:pt x="51688" y="98919"/>
                    <a:pt x="51878" y="100214"/>
                    <a:pt x="51955" y="101522"/>
                  </a:cubicBezTo>
                  <a:cubicBezTo>
                    <a:pt x="51955" y="102856"/>
                    <a:pt x="52209" y="104189"/>
                    <a:pt x="52298" y="105497"/>
                  </a:cubicBezTo>
                  <a:cubicBezTo>
                    <a:pt x="52298" y="110806"/>
                    <a:pt x="52298" y="116229"/>
                    <a:pt x="51866" y="121715"/>
                  </a:cubicBezTo>
                  <a:cubicBezTo>
                    <a:pt x="51447" y="127189"/>
                    <a:pt x="51243" y="132751"/>
                    <a:pt x="51129" y="138403"/>
                  </a:cubicBezTo>
                  <a:cubicBezTo>
                    <a:pt x="51015" y="144054"/>
                    <a:pt x="51269" y="149756"/>
                    <a:pt x="51751" y="155433"/>
                  </a:cubicBezTo>
                  <a:cubicBezTo>
                    <a:pt x="52844" y="166698"/>
                    <a:pt x="54495" y="177887"/>
                    <a:pt x="56717" y="188973"/>
                  </a:cubicBezTo>
                  <a:cubicBezTo>
                    <a:pt x="58825" y="199730"/>
                    <a:pt x="60895" y="210093"/>
                    <a:pt x="62826" y="219999"/>
                  </a:cubicBezTo>
                  <a:cubicBezTo>
                    <a:pt x="66712" y="239875"/>
                    <a:pt x="70230" y="257591"/>
                    <a:pt x="73163" y="272577"/>
                  </a:cubicBezTo>
                  <a:cubicBezTo>
                    <a:pt x="76084" y="287563"/>
                    <a:pt x="78383" y="299577"/>
                    <a:pt x="79996" y="308035"/>
                  </a:cubicBezTo>
                  <a:cubicBezTo>
                    <a:pt x="80771" y="312149"/>
                    <a:pt x="81368" y="315388"/>
                    <a:pt x="81787" y="317712"/>
                  </a:cubicBezTo>
                  <a:cubicBezTo>
                    <a:pt x="81990" y="318741"/>
                    <a:pt x="82130" y="319592"/>
                    <a:pt x="82218" y="320214"/>
                  </a:cubicBezTo>
                  <a:cubicBezTo>
                    <a:pt x="82282" y="320531"/>
                    <a:pt x="82282" y="320836"/>
                    <a:pt x="82244" y="32115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9" name="Free Form 3445">
              <a:extLst>
                <a:ext uri="{FF2B5EF4-FFF2-40B4-BE49-F238E27FC236}">
                  <a16:creationId xmlns:a16="http://schemas.microsoft.com/office/drawing/2014/main" id="{192A786D-1919-72DE-7D3B-411CC6834341}"/>
                </a:ext>
              </a:extLst>
            </p:cNvPr>
            <p:cNvSpPr/>
            <p:nvPr/>
          </p:nvSpPr>
          <p:spPr>
            <a:xfrm>
              <a:off x="25419505" y="30460659"/>
              <a:ext cx="82422" cy="38544"/>
            </a:xfrm>
            <a:custGeom>
              <a:avLst/>
              <a:gdLst/>
              <a:ahLst/>
              <a:cxnLst/>
              <a:rect l="0" t="0" r="0" b="0"/>
              <a:pathLst>
                <a:path w="82422" h="38544">
                  <a:moveTo>
                    <a:pt x="82422" y="203"/>
                  </a:moveTo>
                  <a:cubicBezTo>
                    <a:pt x="81761" y="1219"/>
                    <a:pt x="80999" y="2171"/>
                    <a:pt x="80148" y="3047"/>
                  </a:cubicBezTo>
                  <a:cubicBezTo>
                    <a:pt x="79386" y="3949"/>
                    <a:pt x="78421" y="5029"/>
                    <a:pt x="77316" y="6222"/>
                  </a:cubicBezTo>
                  <a:cubicBezTo>
                    <a:pt x="76199" y="7416"/>
                    <a:pt x="74789" y="8839"/>
                    <a:pt x="73189" y="10223"/>
                  </a:cubicBezTo>
                  <a:cubicBezTo>
                    <a:pt x="69506" y="13588"/>
                    <a:pt x="65594" y="16687"/>
                    <a:pt x="61467" y="19506"/>
                  </a:cubicBezTo>
                  <a:cubicBezTo>
                    <a:pt x="56400" y="22935"/>
                    <a:pt x="51078" y="25958"/>
                    <a:pt x="45541" y="28561"/>
                  </a:cubicBezTo>
                  <a:cubicBezTo>
                    <a:pt x="39979" y="31089"/>
                    <a:pt x="34238" y="33184"/>
                    <a:pt x="28371" y="34835"/>
                  </a:cubicBezTo>
                  <a:cubicBezTo>
                    <a:pt x="23545" y="36143"/>
                    <a:pt x="18643" y="37096"/>
                    <a:pt x="13690" y="37680"/>
                  </a:cubicBezTo>
                  <a:cubicBezTo>
                    <a:pt x="11582" y="38023"/>
                    <a:pt x="9651" y="38099"/>
                    <a:pt x="8013" y="38251"/>
                  </a:cubicBezTo>
                  <a:cubicBezTo>
                    <a:pt x="6578" y="38378"/>
                    <a:pt x="5130" y="38429"/>
                    <a:pt x="3695" y="38417"/>
                  </a:cubicBezTo>
                  <a:cubicBezTo>
                    <a:pt x="2463" y="38544"/>
                    <a:pt x="1231" y="38544"/>
                    <a:pt x="0" y="38417"/>
                  </a:cubicBezTo>
                  <a:cubicBezTo>
                    <a:pt x="0" y="38137"/>
                    <a:pt x="5232" y="38074"/>
                    <a:pt x="13576" y="36766"/>
                  </a:cubicBezTo>
                  <a:cubicBezTo>
                    <a:pt x="18440" y="36004"/>
                    <a:pt x="23266" y="34924"/>
                    <a:pt x="28003" y="33565"/>
                  </a:cubicBezTo>
                  <a:cubicBezTo>
                    <a:pt x="33819" y="31863"/>
                    <a:pt x="39509" y="29755"/>
                    <a:pt x="45033" y="27253"/>
                  </a:cubicBezTo>
                  <a:cubicBezTo>
                    <a:pt x="50481" y="24663"/>
                    <a:pt x="55765" y="21704"/>
                    <a:pt x="60819" y="18402"/>
                  </a:cubicBezTo>
                  <a:cubicBezTo>
                    <a:pt x="64934" y="15671"/>
                    <a:pt x="68871" y="12687"/>
                    <a:pt x="72605" y="9461"/>
                  </a:cubicBezTo>
                  <a:cubicBezTo>
                    <a:pt x="78789" y="3975"/>
                    <a:pt x="82218" y="0"/>
                    <a:pt x="82422" y="20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0" name="Free Form 3446">
              <a:extLst>
                <a:ext uri="{FF2B5EF4-FFF2-40B4-BE49-F238E27FC236}">
                  <a16:creationId xmlns:a16="http://schemas.microsoft.com/office/drawing/2014/main" id="{5BA0F41E-003E-1285-41E8-D81030883A2E}"/>
                </a:ext>
              </a:extLst>
            </p:cNvPr>
            <p:cNvSpPr/>
            <p:nvPr/>
          </p:nvSpPr>
          <p:spPr>
            <a:xfrm>
              <a:off x="25371329" y="30410614"/>
              <a:ext cx="74446" cy="298155"/>
            </a:xfrm>
            <a:custGeom>
              <a:avLst/>
              <a:gdLst/>
              <a:ahLst/>
              <a:cxnLst/>
              <a:rect l="0" t="0" r="0" b="0"/>
              <a:pathLst>
                <a:path w="74446" h="298154">
                  <a:moveTo>
                    <a:pt x="0" y="25"/>
                  </a:moveTo>
                  <a:cubicBezTo>
                    <a:pt x="13830" y="31013"/>
                    <a:pt x="25044" y="63092"/>
                    <a:pt x="33502" y="95960"/>
                  </a:cubicBezTo>
                  <a:cubicBezTo>
                    <a:pt x="41592" y="128776"/>
                    <a:pt x="44093" y="163612"/>
                    <a:pt x="35381" y="196263"/>
                  </a:cubicBezTo>
                  <a:cubicBezTo>
                    <a:pt x="29692" y="217523"/>
                    <a:pt x="22085" y="243926"/>
                    <a:pt x="32702" y="263204"/>
                  </a:cubicBezTo>
                  <a:cubicBezTo>
                    <a:pt x="31800" y="243697"/>
                    <a:pt x="36537" y="197622"/>
                    <a:pt x="46900" y="189050"/>
                  </a:cubicBezTo>
                  <a:cubicBezTo>
                    <a:pt x="56133" y="220279"/>
                    <a:pt x="65213" y="266786"/>
                    <a:pt x="74446" y="298154"/>
                  </a:cubicBezTo>
                  <a:cubicBezTo>
                    <a:pt x="67537" y="248891"/>
                    <a:pt x="54342" y="206258"/>
                    <a:pt x="48157" y="156602"/>
                  </a:cubicBezTo>
                  <a:cubicBezTo>
                    <a:pt x="46443" y="143140"/>
                    <a:pt x="48691" y="112762"/>
                    <a:pt x="46811" y="99363"/>
                  </a:cubicBezTo>
                  <a:cubicBezTo>
                    <a:pt x="41134" y="58762"/>
                    <a:pt x="36143" y="62457"/>
                    <a:pt x="88" y="0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1" name="Free Form 3447">
              <a:extLst>
                <a:ext uri="{FF2B5EF4-FFF2-40B4-BE49-F238E27FC236}">
                  <a16:creationId xmlns:a16="http://schemas.microsoft.com/office/drawing/2014/main" id="{880BF207-2100-0DB8-D5F8-87780B61B490}"/>
                </a:ext>
              </a:extLst>
            </p:cNvPr>
            <p:cNvSpPr/>
            <p:nvPr/>
          </p:nvSpPr>
          <p:spPr>
            <a:xfrm>
              <a:off x="25402544" y="30592282"/>
              <a:ext cx="19748" cy="87845"/>
            </a:xfrm>
            <a:custGeom>
              <a:avLst/>
              <a:gdLst/>
              <a:ahLst/>
              <a:cxnLst/>
              <a:rect l="0" t="0" r="0" b="0"/>
              <a:pathLst>
                <a:path w="19748" h="87844">
                  <a:moveTo>
                    <a:pt x="19519" y="0"/>
                  </a:moveTo>
                  <a:cubicBezTo>
                    <a:pt x="19748" y="0"/>
                    <a:pt x="17246" y="4571"/>
                    <a:pt x="14046" y="12128"/>
                  </a:cubicBezTo>
                  <a:cubicBezTo>
                    <a:pt x="9880" y="21958"/>
                    <a:pt x="6769" y="32206"/>
                    <a:pt x="4762" y="42696"/>
                  </a:cubicBezTo>
                  <a:cubicBezTo>
                    <a:pt x="2781" y="53199"/>
                    <a:pt x="1930" y="63880"/>
                    <a:pt x="2235" y="74548"/>
                  </a:cubicBezTo>
                  <a:cubicBezTo>
                    <a:pt x="2451" y="82726"/>
                    <a:pt x="3136" y="87781"/>
                    <a:pt x="2857" y="87844"/>
                  </a:cubicBezTo>
                  <a:cubicBezTo>
                    <a:pt x="2514" y="86689"/>
                    <a:pt x="2285" y="85508"/>
                    <a:pt x="2171" y="84327"/>
                  </a:cubicBezTo>
                  <a:cubicBezTo>
                    <a:pt x="1663" y="81088"/>
                    <a:pt x="1333" y="77850"/>
                    <a:pt x="1181" y="74586"/>
                  </a:cubicBezTo>
                  <a:cubicBezTo>
                    <a:pt x="0" y="52971"/>
                    <a:pt x="4076" y="31381"/>
                    <a:pt x="13080" y="11696"/>
                  </a:cubicBezTo>
                  <a:cubicBezTo>
                    <a:pt x="14833" y="7950"/>
                    <a:pt x="16370" y="5003"/>
                    <a:pt x="17563" y="3009"/>
                  </a:cubicBezTo>
                  <a:cubicBezTo>
                    <a:pt x="18097" y="1930"/>
                    <a:pt x="18757" y="927"/>
                    <a:pt x="19519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2" name="Free Form 3448">
              <a:extLst>
                <a:ext uri="{FF2B5EF4-FFF2-40B4-BE49-F238E27FC236}">
                  <a16:creationId xmlns:a16="http://schemas.microsoft.com/office/drawing/2014/main" id="{AAF74BD6-428F-F9ED-1EF5-798AD5104FD3}"/>
                </a:ext>
              </a:extLst>
            </p:cNvPr>
            <p:cNvSpPr/>
            <p:nvPr/>
          </p:nvSpPr>
          <p:spPr>
            <a:xfrm>
              <a:off x="24868217" y="30563575"/>
              <a:ext cx="87731" cy="136511"/>
            </a:xfrm>
            <a:custGeom>
              <a:avLst/>
              <a:gdLst/>
              <a:ahLst/>
              <a:cxnLst/>
              <a:rect l="0" t="0" r="0" b="0"/>
              <a:pathLst>
                <a:path w="87730" h="136510">
                  <a:moveTo>
                    <a:pt x="87387" y="203"/>
                  </a:moveTo>
                  <a:cubicBezTo>
                    <a:pt x="87730" y="431"/>
                    <a:pt x="68503" y="31063"/>
                    <a:pt x="44487" y="68655"/>
                  </a:cubicBezTo>
                  <a:cubicBezTo>
                    <a:pt x="20472" y="106247"/>
                    <a:pt x="685" y="136510"/>
                    <a:pt x="342" y="136307"/>
                  </a:cubicBezTo>
                  <a:cubicBezTo>
                    <a:pt x="0" y="136104"/>
                    <a:pt x="19189" y="105446"/>
                    <a:pt x="43243" y="67855"/>
                  </a:cubicBezTo>
                  <a:cubicBezTo>
                    <a:pt x="67283" y="30263"/>
                    <a:pt x="87044" y="0"/>
                    <a:pt x="87387" y="20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3" name="Free Form 3449">
              <a:extLst>
                <a:ext uri="{FF2B5EF4-FFF2-40B4-BE49-F238E27FC236}">
                  <a16:creationId xmlns:a16="http://schemas.microsoft.com/office/drawing/2014/main" id="{AC3EF153-F814-29A1-E2FE-947BB83CE7A7}"/>
                </a:ext>
              </a:extLst>
            </p:cNvPr>
            <p:cNvSpPr/>
            <p:nvPr/>
          </p:nvSpPr>
          <p:spPr>
            <a:xfrm>
              <a:off x="24839771" y="30345970"/>
              <a:ext cx="539274" cy="488882"/>
            </a:xfrm>
            <a:custGeom>
              <a:avLst/>
              <a:gdLst/>
              <a:ahLst/>
              <a:cxnLst/>
              <a:rect l="0" t="0" r="0" b="0"/>
              <a:pathLst>
                <a:path w="539274" h="488881">
                  <a:moveTo>
                    <a:pt x="60502" y="29209"/>
                  </a:moveTo>
                  <a:lnTo>
                    <a:pt x="218894" y="0"/>
                  </a:lnTo>
                  <a:lnTo>
                    <a:pt x="389542" y="3403"/>
                  </a:lnTo>
                  <a:lnTo>
                    <a:pt x="431820" y="3403"/>
                  </a:lnTo>
                  <a:lnTo>
                    <a:pt x="522243" y="63334"/>
                  </a:lnTo>
                  <a:cubicBezTo>
                    <a:pt x="522243" y="63334"/>
                    <a:pt x="539274" y="305596"/>
                    <a:pt x="503422" y="382875"/>
                  </a:cubicBezTo>
                  <a:cubicBezTo>
                    <a:pt x="491586" y="408427"/>
                    <a:pt x="444736" y="487573"/>
                    <a:pt x="444736" y="487573"/>
                  </a:cubicBezTo>
                  <a:lnTo>
                    <a:pt x="90854" y="488881"/>
                  </a:lnTo>
                  <a:lnTo>
                    <a:pt x="0" y="410497"/>
                  </a:lnTo>
                  <a:lnTo>
                    <a:pt x="33870" y="265389"/>
                  </a:ln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4" name="Free Form 3450">
              <a:extLst>
                <a:ext uri="{FF2B5EF4-FFF2-40B4-BE49-F238E27FC236}">
                  <a16:creationId xmlns:a16="http://schemas.microsoft.com/office/drawing/2014/main" id="{4E382A0F-00C3-EEB9-B887-3E1620F4B96D}"/>
                </a:ext>
              </a:extLst>
            </p:cNvPr>
            <p:cNvSpPr/>
            <p:nvPr/>
          </p:nvSpPr>
          <p:spPr>
            <a:xfrm>
              <a:off x="25118118" y="30692334"/>
              <a:ext cx="79488" cy="103516"/>
            </a:xfrm>
            <a:custGeom>
              <a:avLst/>
              <a:gdLst/>
              <a:ahLst/>
              <a:cxnLst/>
              <a:rect l="0" t="0" r="0" b="0"/>
              <a:pathLst>
                <a:path w="79488" h="103516">
                  <a:moveTo>
                    <a:pt x="37642" y="50532"/>
                  </a:moveTo>
                  <a:lnTo>
                    <a:pt x="35762" y="50253"/>
                  </a:lnTo>
                  <a:cubicBezTo>
                    <a:pt x="18465" y="63740"/>
                    <a:pt x="5943" y="82396"/>
                    <a:pt x="0" y="103516"/>
                  </a:cubicBezTo>
                  <a:cubicBezTo>
                    <a:pt x="23507" y="102487"/>
                    <a:pt x="44259" y="86308"/>
                    <a:pt x="56781" y="66369"/>
                  </a:cubicBezTo>
                  <a:cubicBezTo>
                    <a:pt x="69303" y="46443"/>
                    <a:pt x="74687" y="23024"/>
                    <a:pt x="79488" y="0"/>
                  </a:cubicBezTo>
                  <a:cubicBezTo>
                    <a:pt x="67004" y="18084"/>
                    <a:pt x="54418" y="36448"/>
                    <a:pt x="37642" y="50532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5" name="Free Form 3451">
              <a:extLst>
                <a:ext uri="{FF2B5EF4-FFF2-40B4-BE49-F238E27FC236}">
                  <a16:creationId xmlns:a16="http://schemas.microsoft.com/office/drawing/2014/main" id="{EAB1F072-64E0-08BD-1945-18005F35656B}"/>
                </a:ext>
              </a:extLst>
            </p:cNvPr>
            <p:cNvSpPr/>
            <p:nvPr/>
          </p:nvSpPr>
          <p:spPr>
            <a:xfrm>
              <a:off x="24634677" y="30362349"/>
              <a:ext cx="352701" cy="471140"/>
            </a:xfrm>
            <a:custGeom>
              <a:avLst/>
              <a:gdLst/>
              <a:ahLst/>
              <a:cxnLst/>
              <a:rect l="0" t="0" r="0" b="0"/>
              <a:pathLst>
                <a:path w="352700" h="471139">
                  <a:moveTo>
                    <a:pt x="20840" y="471139"/>
                  </a:moveTo>
                  <a:cubicBezTo>
                    <a:pt x="0" y="463786"/>
                    <a:pt x="9829" y="345334"/>
                    <a:pt x="62546" y="288985"/>
                  </a:cubicBezTo>
                  <a:cubicBezTo>
                    <a:pt x="69442" y="281606"/>
                    <a:pt x="186586" y="61721"/>
                    <a:pt x="236801" y="25920"/>
                  </a:cubicBezTo>
                  <a:cubicBezTo>
                    <a:pt x="273148" y="0"/>
                    <a:pt x="306333" y="10185"/>
                    <a:pt x="314905" y="61695"/>
                  </a:cubicBezTo>
                  <a:cubicBezTo>
                    <a:pt x="323478" y="113193"/>
                    <a:pt x="321039" y="201432"/>
                    <a:pt x="321039" y="201432"/>
                  </a:cubicBezTo>
                  <a:lnTo>
                    <a:pt x="233766" y="337536"/>
                  </a:lnTo>
                  <a:lnTo>
                    <a:pt x="260740" y="352243"/>
                  </a:lnTo>
                  <a:lnTo>
                    <a:pt x="352700" y="358377"/>
                  </a:lnTo>
                  <a:lnTo>
                    <a:pt x="335517" y="471139"/>
                  </a:ln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6" name="Free Form 3452">
              <a:extLst>
                <a:ext uri="{FF2B5EF4-FFF2-40B4-BE49-F238E27FC236}">
                  <a16:creationId xmlns:a16="http://schemas.microsoft.com/office/drawing/2014/main" id="{4F1821C3-26ED-2C41-BFA2-9A507DA1246B}"/>
                </a:ext>
              </a:extLst>
            </p:cNvPr>
            <p:cNvSpPr/>
            <p:nvPr/>
          </p:nvSpPr>
          <p:spPr>
            <a:xfrm>
              <a:off x="24745206" y="30678055"/>
              <a:ext cx="242174" cy="155459"/>
            </a:xfrm>
            <a:custGeom>
              <a:avLst/>
              <a:gdLst/>
              <a:ahLst/>
              <a:cxnLst/>
              <a:rect l="0" t="0" r="0" b="0"/>
              <a:pathLst>
                <a:path w="242173" h="155459">
                  <a:moveTo>
                    <a:pt x="225105" y="155433"/>
                  </a:moveTo>
                  <a:lnTo>
                    <a:pt x="225105" y="154925"/>
                  </a:lnTo>
                  <a:lnTo>
                    <a:pt x="225270" y="153414"/>
                  </a:lnTo>
                  <a:cubicBezTo>
                    <a:pt x="225473" y="151991"/>
                    <a:pt x="225727" y="150036"/>
                    <a:pt x="226070" y="147547"/>
                  </a:cubicBezTo>
                  <a:cubicBezTo>
                    <a:pt x="226806" y="142314"/>
                    <a:pt x="227886" y="134847"/>
                    <a:pt x="229219" y="125474"/>
                  </a:cubicBezTo>
                  <a:cubicBezTo>
                    <a:pt x="232064" y="106488"/>
                    <a:pt x="236039" y="79717"/>
                    <a:pt x="240573" y="48259"/>
                  </a:cubicBezTo>
                  <a:lnTo>
                    <a:pt x="241170" y="49021"/>
                  </a:lnTo>
                  <a:lnTo>
                    <a:pt x="170736" y="39941"/>
                  </a:lnTo>
                  <a:lnTo>
                    <a:pt x="150099" y="37248"/>
                  </a:lnTo>
                  <a:lnTo>
                    <a:pt x="149960" y="37248"/>
                  </a:lnTo>
                  <a:lnTo>
                    <a:pt x="135558" y="29031"/>
                  </a:lnTo>
                  <a:cubicBezTo>
                    <a:pt x="130795" y="26479"/>
                    <a:pt x="126503" y="23355"/>
                    <a:pt x="121855" y="20942"/>
                  </a:cubicBezTo>
                  <a:cubicBezTo>
                    <a:pt x="113092" y="16192"/>
                    <a:pt x="103922" y="12242"/>
                    <a:pt x="94448" y="9169"/>
                  </a:cubicBezTo>
                  <a:cubicBezTo>
                    <a:pt x="85901" y="6476"/>
                    <a:pt x="77177" y="4406"/>
                    <a:pt x="68337" y="2971"/>
                  </a:cubicBezTo>
                  <a:cubicBezTo>
                    <a:pt x="60667" y="1841"/>
                    <a:pt x="52920" y="1231"/>
                    <a:pt x="45160" y="1130"/>
                  </a:cubicBezTo>
                  <a:cubicBezTo>
                    <a:pt x="33997" y="939"/>
                    <a:pt x="22847" y="1955"/>
                    <a:pt x="11887" y="4140"/>
                  </a:cubicBezTo>
                  <a:cubicBezTo>
                    <a:pt x="8000" y="4762"/>
                    <a:pt x="5079" y="5638"/>
                    <a:pt x="3060" y="6070"/>
                  </a:cubicBezTo>
                  <a:lnTo>
                    <a:pt x="761" y="6578"/>
                  </a:lnTo>
                  <a:lnTo>
                    <a:pt x="0" y="6718"/>
                  </a:lnTo>
                  <a:cubicBezTo>
                    <a:pt x="0" y="6718"/>
                    <a:pt x="228" y="6718"/>
                    <a:pt x="736" y="6464"/>
                  </a:cubicBezTo>
                  <a:lnTo>
                    <a:pt x="3009" y="5816"/>
                  </a:lnTo>
                  <a:cubicBezTo>
                    <a:pt x="4991" y="5270"/>
                    <a:pt x="7912" y="4343"/>
                    <a:pt x="11785" y="3606"/>
                  </a:cubicBezTo>
                  <a:cubicBezTo>
                    <a:pt x="22745" y="1181"/>
                    <a:pt x="33946" y="0"/>
                    <a:pt x="45160" y="76"/>
                  </a:cubicBezTo>
                  <a:cubicBezTo>
                    <a:pt x="52971" y="114"/>
                    <a:pt x="60768" y="685"/>
                    <a:pt x="68503" y="1777"/>
                  </a:cubicBezTo>
                  <a:cubicBezTo>
                    <a:pt x="77431" y="3136"/>
                    <a:pt x="86232" y="5168"/>
                    <a:pt x="94855" y="7861"/>
                  </a:cubicBezTo>
                  <a:cubicBezTo>
                    <a:pt x="104418" y="10934"/>
                    <a:pt x="113676" y="14896"/>
                    <a:pt x="122502" y="19697"/>
                  </a:cubicBezTo>
                  <a:cubicBezTo>
                    <a:pt x="127239" y="22021"/>
                    <a:pt x="131532" y="25374"/>
                    <a:pt x="136294" y="27787"/>
                  </a:cubicBezTo>
                  <a:lnTo>
                    <a:pt x="150696" y="35877"/>
                  </a:lnTo>
                  <a:lnTo>
                    <a:pt x="150404" y="35877"/>
                  </a:lnTo>
                  <a:lnTo>
                    <a:pt x="171054" y="38544"/>
                  </a:lnTo>
                  <a:lnTo>
                    <a:pt x="241487" y="47776"/>
                  </a:lnTo>
                  <a:lnTo>
                    <a:pt x="242173" y="47776"/>
                  </a:lnTo>
                  <a:lnTo>
                    <a:pt x="242173" y="48462"/>
                  </a:lnTo>
                  <a:cubicBezTo>
                    <a:pt x="237258" y="79882"/>
                    <a:pt x="233106" y="106628"/>
                    <a:pt x="230159" y="125601"/>
                  </a:cubicBezTo>
                  <a:cubicBezTo>
                    <a:pt x="228661" y="134961"/>
                    <a:pt x="227314" y="142403"/>
                    <a:pt x="226616" y="147597"/>
                  </a:cubicBezTo>
                  <a:cubicBezTo>
                    <a:pt x="226184" y="150099"/>
                    <a:pt x="225841" y="152030"/>
                    <a:pt x="225613" y="153452"/>
                  </a:cubicBezTo>
                  <a:cubicBezTo>
                    <a:pt x="225613" y="154049"/>
                    <a:pt x="225384" y="154557"/>
                    <a:pt x="225333" y="154951"/>
                  </a:cubicBezTo>
                  <a:cubicBezTo>
                    <a:pt x="225270" y="155344"/>
                    <a:pt x="225130" y="155459"/>
                    <a:pt x="225105" y="15543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7" name="Free Form 3453">
              <a:extLst>
                <a:ext uri="{FF2B5EF4-FFF2-40B4-BE49-F238E27FC236}">
                  <a16:creationId xmlns:a16="http://schemas.microsoft.com/office/drawing/2014/main" id="{91A37CB8-4633-F809-B013-6FDDF79448DC}"/>
                </a:ext>
              </a:extLst>
            </p:cNvPr>
            <p:cNvSpPr/>
            <p:nvPr/>
          </p:nvSpPr>
          <p:spPr>
            <a:xfrm>
              <a:off x="24844029" y="30715611"/>
              <a:ext cx="54114" cy="80797"/>
            </a:xfrm>
            <a:custGeom>
              <a:avLst/>
              <a:gdLst/>
              <a:ahLst/>
              <a:cxnLst/>
              <a:rect l="0" t="0" r="0" b="0"/>
              <a:pathLst>
                <a:path w="54114" h="80796">
                  <a:moveTo>
                    <a:pt x="54114" y="0"/>
                  </a:moveTo>
                  <a:cubicBezTo>
                    <a:pt x="49173" y="1574"/>
                    <a:pt x="44347" y="3467"/>
                    <a:pt x="39661" y="5676"/>
                  </a:cubicBezTo>
                  <a:cubicBezTo>
                    <a:pt x="16713" y="16827"/>
                    <a:pt x="1854" y="39801"/>
                    <a:pt x="1104" y="65302"/>
                  </a:cubicBezTo>
                  <a:cubicBezTo>
                    <a:pt x="1041" y="70484"/>
                    <a:pt x="1333" y="75653"/>
                    <a:pt x="1955" y="80796"/>
                  </a:cubicBezTo>
                  <a:cubicBezTo>
                    <a:pt x="1955" y="80796"/>
                    <a:pt x="1790" y="80453"/>
                    <a:pt x="1625" y="79755"/>
                  </a:cubicBezTo>
                  <a:cubicBezTo>
                    <a:pt x="1346" y="78751"/>
                    <a:pt x="1130" y="77735"/>
                    <a:pt x="965" y="76707"/>
                  </a:cubicBezTo>
                  <a:cubicBezTo>
                    <a:pt x="304" y="72960"/>
                    <a:pt x="0" y="69163"/>
                    <a:pt x="63" y="65353"/>
                  </a:cubicBezTo>
                  <a:cubicBezTo>
                    <a:pt x="253" y="39293"/>
                    <a:pt x="15519" y="15709"/>
                    <a:pt x="39204" y="4851"/>
                  </a:cubicBezTo>
                  <a:cubicBezTo>
                    <a:pt x="42671" y="3225"/>
                    <a:pt x="46291" y="1917"/>
                    <a:pt x="49999" y="965"/>
                  </a:cubicBezTo>
                  <a:cubicBezTo>
                    <a:pt x="51307" y="596"/>
                    <a:pt x="52348" y="457"/>
                    <a:pt x="53034" y="317"/>
                  </a:cubicBezTo>
                  <a:cubicBezTo>
                    <a:pt x="53720" y="165"/>
                    <a:pt x="54114" y="0"/>
                    <a:pt x="5411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8" name="Free Form 3454">
              <a:extLst>
                <a:ext uri="{FF2B5EF4-FFF2-40B4-BE49-F238E27FC236}">
                  <a16:creationId xmlns:a16="http://schemas.microsoft.com/office/drawing/2014/main" id="{F9D70774-1FC1-CD1F-81F5-7421FD06DF38}"/>
                </a:ext>
              </a:extLst>
            </p:cNvPr>
            <p:cNvSpPr/>
            <p:nvPr/>
          </p:nvSpPr>
          <p:spPr>
            <a:xfrm>
              <a:off x="24747501" y="30655287"/>
              <a:ext cx="121627" cy="43688"/>
            </a:xfrm>
            <a:custGeom>
              <a:avLst/>
              <a:gdLst/>
              <a:ahLst/>
              <a:cxnLst/>
              <a:rect l="0" t="0" r="0" b="0"/>
              <a:pathLst>
                <a:path w="121626" h="43687">
                  <a:moveTo>
                    <a:pt x="121626" y="43687"/>
                  </a:moveTo>
                  <a:cubicBezTo>
                    <a:pt x="93064" y="12877"/>
                    <a:pt x="47586" y="0"/>
                    <a:pt x="8064" y="13957"/>
                  </a:cubicBezTo>
                  <a:cubicBezTo>
                    <a:pt x="4343" y="15265"/>
                    <a:pt x="0" y="17906"/>
                    <a:pt x="571" y="21792"/>
                  </a:cubicBezTo>
                  <a:cubicBezTo>
                    <a:pt x="1244" y="26707"/>
                    <a:pt x="8204" y="26936"/>
                    <a:pt x="13055" y="26060"/>
                  </a:cubicBezTo>
                  <a:cubicBezTo>
                    <a:pt x="49973" y="19049"/>
                    <a:pt x="88175" y="25298"/>
                    <a:pt x="120940" y="43687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9" name="Free Form 3455">
              <a:extLst>
                <a:ext uri="{FF2B5EF4-FFF2-40B4-BE49-F238E27FC236}">
                  <a16:creationId xmlns:a16="http://schemas.microsoft.com/office/drawing/2014/main" id="{39914F54-69B7-DA65-880F-0ED8E1F51D5F}"/>
                </a:ext>
              </a:extLst>
            </p:cNvPr>
            <p:cNvSpPr/>
            <p:nvPr/>
          </p:nvSpPr>
          <p:spPr>
            <a:xfrm>
              <a:off x="24896011" y="30397104"/>
              <a:ext cx="67258" cy="107707"/>
            </a:xfrm>
            <a:custGeom>
              <a:avLst/>
              <a:gdLst/>
              <a:ahLst/>
              <a:cxnLst/>
              <a:rect l="0" t="0" r="0" b="0"/>
              <a:pathLst>
                <a:path w="67258" h="107707">
                  <a:moveTo>
                    <a:pt x="64108" y="107707"/>
                  </a:moveTo>
                  <a:cubicBezTo>
                    <a:pt x="64108" y="107707"/>
                    <a:pt x="64362" y="105751"/>
                    <a:pt x="64845" y="102310"/>
                  </a:cubicBezTo>
                  <a:cubicBezTo>
                    <a:pt x="65531" y="97446"/>
                    <a:pt x="65848" y="92531"/>
                    <a:pt x="65785" y="87603"/>
                  </a:cubicBezTo>
                  <a:cubicBezTo>
                    <a:pt x="65594" y="54482"/>
                    <a:pt x="47484" y="24066"/>
                    <a:pt x="18452" y="8115"/>
                  </a:cubicBezTo>
                  <a:cubicBezTo>
                    <a:pt x="14160" y="5714"/>
                    <a:pt x="9689" y="3644"/>
                    <a:pt x="5079" y="1930"/>
                  </a:cubicBezTo>
                  <a:cubicBezTo>
                    <a:pt x="3352" y="1371"/>
                    <a:pt x="1663" y="736"/>
                    <a:pt x="0" y="0"/>
                  </a:cubicBezTo>
                  <a:cubicBezTo>
                    <a:pt x="469" y="25"/>
                    <a:pt x="927" y="114"/>
                    <a:pt x="1371" y="279"/>
                  </a:cubicBezTo>
                  <a:cubicBezTo>
                    <a:pt x="2679" y="571"/>
                    <a:pt x="3987" y="939"/>
                    <a:pt x="5257" y="1384"/>
                  </a:cubicBezTo>
                  <a:cubicBezTo>
                    <a:pt x="9994" y="2895"/>
                    <a:pt x="14566" y="4838"/>
                    <a:pt x="18935" y="7200"/>
                  </a:cubicBezTo>
                  <a:cubicBezTo>
                    <a:pt x="48754" y="22910"/>
                    <a:pt x="67258" y="53999"/>
                    <a:pt x="66839" y="87692"/>
                  </a:cubicBezTo>
                  <a:cubicBezTo>
                    <a:pt x="66801" y="92658"/>
                    <a:pt x="66331" y="97611"/>
                    <a:pt x="65417" y="102487"/>
                  </a:cubicBezTo>
                  <a:cubicBezTo>
                    <a:pt x="65124" y="104215"/>
                    <a:pt x="64731" y="105523"/>
                    <a:pt x="64540" y="106424"/>
                  </a:cubicBezTo>
                  <a:cubicBezTo>
                    <a:pt x="64451" y="106869"/>
                    <a:pt x="64312" y="107301"/>
                    <a:pt x="64108" y="10770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0" name="Free Form 3456">
              <a:extLst>
                <a:ext uri="{FF2B5EF4-FFF2-40B4-BE49-F238E27FC236}">
                  <a16:creationId xmlns:a16="http://schemas.microsoft.com/office/drawing/2014/main" id="{DA156377-875D-FB60-7BF1-121C70583276}"/>
                </a:ext>
              </a:extLst>
            </p:cNvPr>
            <p:cNvSpPr/>
            <p:nvPr/>
          </p:nvSpPr>
          <p:spPr>
            <a:xfrm>
              <a:off x="25314832" y="30457569"/>
              <a:ext cx="50241" cy="323656"/>
            </a:xfrm>
            <a:custGeom>
              <a:avLst/>
              <a:gdLst/>
              <a:ahLst/>
              <a:cxnLst/>
              <a:rect l="0" t="0" r="0" b="0"/>
              <a:pathLst>
                <a:path w="50240" h="323656">
                  <a:moveTo>
                    <a:pt x="33756" y="0"/>
                  </a:moveTo>
                  <a:cubicBezTo>
                    <a:pt x="33870" y="266"/>
                    <a:pt x="33946" y="533"/>
                    <a:pt x="33984" y="825"/>
                  </a:cubicBezTo>
                  <a:lnTo>
                    <a:pt x="34442" y="3327"/>
                  </a:lnTo>
                  <a:cubicBezTo>
                    <a:pt x="34835" y="5626"/>
                    <a:pt x="35369" y="8826"/>
                    <a:pt x="36080" y="12941"/>
                  </a:cubicBezTo>
                  <a:cubicBezTo>
                    <a:pt x="37451" y="21297"/>
                    <a:pt x="39407" y="33362"/>
                    <a:pt x="41566" y="48348"/>
                  </a:cubicBezTo>
                  <a:cubicBezTo>
                    <a:pt x="43725" y="63334"/>
                    <a:pt x="46049" y="81202"/>
                    <a:pt x="47726" y="101154"/>
                  </a:cubicBezTo>
                  <a:cubicBezTo>
                    <a:pt x="49643" y="122794"/>
                    <a:pt x="50240" y="144524"/>
                    <a:pt x="49516" y="166228"/>
                  </a:cubicBezTo>
                  <a:cubicBezTo>
                    <a:pt x="48678" y="187970"/>
                    <a:pt x="45871" y="209585"/>
                    <a:pt x="41134" y="230820"/>
                  </a:cubicBezTo>
                  <a:cubicBezTo>
                    <a:pt x="37286" y="248155"/>
                    <a:pt x="31736" y="265071"/>
                    <a:pt x="24586" y="281327"/>
                  </a:cubicBezTo>
                  <a:cubicBezTo>
                    <a:pt x="19786" y="292300"/>
                    <a:pt x="14084" y="302853"/>
                    <a:pt x="7556" y="312886"/>
                  </a:cubicBezTo>
                  <a:cubicBezTo>
                    <a:pt x="5333" y="316531"/>
                    <a:pt x="3289" y="319084"/>
                    <a:pt x="2044" y="320925"/>
                  </a:cubicBezTo>
                  <a:cubicBezTo>
                    <a:pt x="1422" y="321776"/>
                    <a:pt x="939" y="322462"/>
                    <a:pt x="546" y="322970"/>
                  </a:cubicBezTo>
                  <a:cubicBezTo>
                    <a:pt x="393" y="323224"/>
                    <a:pt x="203" y="323452"/>
                    <a:pt x="0" y="323656"/>
                  </a:cubicBezTo>
                  <a:cubicBezTo>
                    <a:pt x="0" y="323656"/>
                    <a:pt x="0" y="323363"/>
                    <a:pt x="419" y="322881"/>
                  </a:cubicBezTo>
                  <a:lnTo>
                    <a:pt x="1790" y="320760"/>
                  </a:lnTo>
                  <a:cubicBezTo>
                    <a:pt x="2946" y="318880"/>
                    <a:pt x="4940" y="316239"/>
                    <a:pt x="7073" y="312607"/>
                  </a:cubicBezTo>
                  <a:cubicBezTo>
                    <a:pt x="13360" y="302472"/>
                    <a:pt x="18871" y="291868"/>
                    <a:pt x="23570" y="280895"/>
                  </a:cubicBezTo>
                  <a:cubicBezTo>
                    <a:pt x="30555" y="264652"/>
                    <a:pt x="35966" y="247774"/>
                    <a:pt x="39750" y="230502"/>
                  </a:cubicBezTo>
                  <a:cubicBezTo>
                    <a:pt x="44386" y="209344"/>
                    <a:pt x="47141" y="187818"/>
                    <a:pt x="47954" y="166165"/>
                  </a:cubicBezTo>
                  <a:cubicBezTo>
                    <a:pt x="49681" y="120064"/>
                    <a:pt x="44398" y="78408"/>
                    <a:pt x="40461" y="48488"/>
                  </a:cubicBezTo>
                  <a:cubicBezTo>
                    <a:pt x="38353" y="33591"/>
                    <a:pt x="36651" y="21488"/>
                    <a:pt x="35432" y="13030"/>
                  </a:cubicBezTo>
                  <a:cubicBezTo>
                    <a:pt x="34861" y="8915"/>
                    <a:pt x="34416" y="5676"/>
                    <a:pt x="34099" y="3378"/>
                  </a:cubicBezTo>
                  <a:lnTo>
                    <a:pt x="33756" y="850"/>
                  </a:lnTo>
                  <a:cubicBezTo>
                    <a:pt x="33730" y="571"/>
                    <a:pt x="33730" y="279"/>
                    <a:pt x="3375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1" name="Free Form 3496">
              <a:extLst>
                <a:ext uri="{FF2B5EF4-FFF2-40B4-BE49-F238E27FC236}">
                  <a16:creationId xmlns:a16="http://schemas.microsoft.com/office/drawing/2014/main" id="{ECA2CBBE-D19B-2FD9-9313-0AA29470BFAF}"/>
                </a:ext>
              </a:extLst>
            </p:cNvPr>
            <p:cNvSpPr/>
            <p:nvPr/>
          </p:nvSpPr>
          <p:spPr>
            <a:xfrm>
              <a:off x="24984173" y="30612123"/>
              <a:ext cx="187882" cy="183487"/>
            </a:xfrm>
            <a:custGeom>
              <a:avLst/>
              <a:gdLst/>
              <a:ahLst/>
              <a:cxnLst/>
              <a:rect l="0" t="0" r="0" b="0"/>
              <a:pathLst>
                <a:path w="187881" h="183487">
                  <a:moveTo>
                    <a:pt x="5245" y="23113"/>
                  </a:moveTo>
                  <a:cubicBezTo>
                    <a:pt x="40055" y="56615"/>
                    <a:pt x="163040" y="174356"/>
                    <a:pt x="163040" y="174356"/>
                  </a:cubicBezTo>
                  <a:lnTo>
                    <a:pt x="187881" y="183487"/>
                  </a:lnTo>
                  <a:lnTo>
                    <a:pt x="180185" y="157795"/>
                  </a:lnTo>
                  <a:lnTo>
                    <a:pt x="22872" y="4889"/>
                  </a:lnTo>
                  <a:cubicBezTo>
                    <a:pt x="17856" y="0"/>
                    <a:pt x="9816" y="101"/>
                    <a:pt x="4927" y="5118"/>
                  </a:cubicBezTo>
                  <a:cubicBezTo>
                    <a:pt x="4889" y="5156"/>
                    <a:pt x="4851" y="5194"/>
                    <a:pt x="4825" y="5232"/>
                  </a:cubicBezTo>
                  <a:cubicBezTo>
                    <a:pt x="0" y="10286"/>
                    <a:pt x="190" y="18287"/>
                    <a:pt x="5245" y="23113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2" name="Free Form 3497">
              <a:extLst>
                <a:ext uri="{FF2B5EF4-FFF2-40B4-BE49-F238E27FC236}">
                  <a16:creationId xmlns:a16="http://schemas.microsoft.com/office/drawing/2014/main" id="{FEFD80FC-717F-B43A-548F-705EFDB97670}"/>
                </a:ext>
              </a:extLst>
            </p:cNvPr>
            <p:cNvSpPr/>
            <p:nvPr/>
          </p:nvSpPr>
          <p:spPr>
            <a:xfrm>
              <a:off x="24972807" y="30688020"/>
              <a:ext cx="193292" cy="131215"/>
            </a:xfrm>
            <a:custGeom>
              <a:avLst/>
              <a:gdLst/>
              <a:ahLst/>
              <a:cxnLst/>
              <a:rect l="0" t="0" r="0" b="0"/>
              <a:pathLst>
                <a:path w="193291" h="131215">
                  <a:moveTo>
                    <a:pt x="189113" y="65975"/>
                  </a:moveTo>
                  <a:lnTo>
                    <a:pt x="152207" y="19075"/>
                  </a:lnTo>
                  <a:lnTo>
                    <a:pt x="80428" y="0"/>
                  </a:lnTo>
                  <a:lnTo>
                    <a:pt x="13690" y="43001"/>
                  </a:lnTo>
                  <a:lnTo>
                    <a:pt x="0" y="131215"/>
                  </a:lnTo>
                  <a:cubicBezTo>
                    <a:pt x="0" y="131215"/>
                    <a:pt x="14706" y="131215"/>
                    <a:pt x="21869" y="130707"/>
                  </a:cubicBezTo>
                  <a:cubicBezTo>
                    <a:pt x="26542" y="130364"/>
                    <a:pt x="62572" y="125677"/>
                    <a:pt x="62572" y="125677"/>
                  </a:cubicBezTo>
                  <a:cubicBezTo>
                    <a:pt x="62572" y="125677"/>
                    <a:pt x="92467" y="125309"/>
                    <a:pt x="105954" y="122413"/>
                  </a:cubicBezTo>
                  <a:cubicBezTo>
                    <a:pt x="119442" y="119518"/>
                    <a:pt x="124407" y="113498"/>
                    <a:pt x="133945" y="113498"/>
                  </a:cubicBezTo>
                  <a:cubicBezTo>
                    <a:pt x="143483" y="113498"/>
                    <a:pt x="145984" y="102487"/>
                    <a:pt x="145984" y="102487"/>
                  </a:cubicBezTo>
                  <a:cubicBezTo>
                    <a:pt x="152068" y="100494"/>
                    <a:pt x="157910" y="97852"/>
                    <a:pt x="163421" y="94588"/>
                  </a:cubicBezTo>
                  <a:cubicBezTo>
                    <a:pt x="170457" y="90054"/>
                    <a:pt x="170457" y="79259"/>
                    <a:pt x="170457" y="79259"/>
                  </a:cubicBezTo>
                  <a:cubicBezTo>
                    <a:pt x="170457" y="79259"/>
                    <a:pt x="174204" y="80910"/>
                    <a:pt x="183741" y="79259"/>
                  </a:cubicBezTo>
                  <a:cubicBezTo>
                    <a:pt x="193291" y="77621"/>
                    <a:pt x="189113" y="65975"/>
                    <a:pt x="189113" y="65975"/>
                  </a:cubicBezTo>
                  <a:close/>
                </a:path>
              </a:pathLst>
            </a:custGeom>
            <a:solidFill>
              <a:srgbClr val="EEAB8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3" name="Free Form 3498">
              <a:extLst>
                <a:ext uri="{FF2B5EF4-FFF2-40B4-BE49-F238E27FC236}">
                  <a16:creationId xmlns:a16="http://schemas.microsoft.com/office/drawing/2014/main" id="{485503EC-CCA1-F15B-478E-55F794C9A1AF}"/>
                </a:ext>
              </a:extLst>
            </p:cNvPr>
            <p:cNvSpPr/>
            <p:nvPr/>
          </p:nvSpPr>
          <p:spPr>
            <a:xfrm>
              <a:off x="25074569" y="30725756"/>
              <a:ext cx="69608" cy="39141"/>
            </a:xfrm>
            <a:custGeom>
              <a:avLst/>
              <a:gdLst/>
              <a:ahLst/>
              <a:cxnLst/>
              <a:rect l="0" t="0" r="0" b="0"/>
              <a:pathLst>
                <a:path w="69607" h="39140">
                  <a:moveTo>
                    <a:pt x="69607" y="39140"/>
                  </a:moveTo>
                  <a:cubicBezTo>
                    <a:pt x="68769" y="38429"/>
                    <a:pt x="68020" y="37616"/>
                    <a:pt x="67398" y="36728"/>
                  </a:cubicBezTo>
                  <a:lnTo>
                    <a:pt x="61721" y="29908"/>
                  </a:lnTo>
                  <a:cubicBezTo>
                    <a:pt x="55638" y="22339"/>
                    <a:pt x="48132" y="16014"/>
                    <a:pt x="39623" y="11315"/>
                  </a:cubicBezTo>
                  <a:cubicBezTo>
                    <a:pt x="30835" y="7137"/>
                    <a:pt x="21513" y="4165"/>
                    <a:pt x="11912" y="2514"/>
                  </a:cubicBezTo>
                  <a:lnTo>
                    <a:pt x="3200" y="838"/>
                  </a:lnTo>
                  <a:cubicBezTo>
                    <a:pt x="2108" y="698"/>
                    <a:pt x="1028" y="444"/>
                    <a:pt x="0" y="76"/>
                  </a:cubicBezTo>
                  <a:cubicBezTo>
                    <a:pt x="1092" y="0"/>
                    <a:pt x="2197" y="63"/>
                    <a:pt x="3289" y="279"/>
                  </a:cubicBezTo>
                  <a:cubicBezTo>
                    <a:pt x="5359" y="507"/>
                    <a:pt x="8394" y="901"/>
                    <a:pt x="12115" y="1498"/>
                  </a:cubicBezTo>
                  <a:cubicBezTo>
                    <a:pt x="21894" y="2857"/>
                    <a:pt x="31406" y="5727"/>
                    <a:pt x="40309" y="10007"/>
                  </a:cubicBezTo>
                  <a:cubicBezTo>
                    <a:pt x="48996" y="14782"/>
                    <a:pt x="56577" y="21348"/>
                    <a:pt x="62534" y="29260"/>
                  </a:cubicBezTo>
                  <a:cubicBezTo>
                    <a:pt x="64896" y="32105"/>
                    <a:pt x="66686" y="34657"/>
                    <a:pt x="67906" y="36385"/>
                  </a:cubicBezTo>
                  <a:cubicBezTo>
                    <a:pt x="68553" y="37248"/>
                    <a:pt x="69125" y="38175"/>
                    <a:pt x="69607" y="3914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4" name="Free Form 3499">
              <a:extLst>
                <a:ext uri="{FF2B5EF4-FFF2-40B4-BE49-F238E27FC236}">
                  <a16:creationId xmlns:a16="http://schemas.microsoft.com/office/drawing/2014/main" id="{2FA3A30C-EEF3-5516-60F3-A0004BE5474C}"/>
                </a:ext>
              </a:extLst>
            </p:cNvPr>
            <p:cNvSpPr/>
            <p:nvPr/>
          </p:nvSpPr>
          <p:spPr>
            <a:xfrm>
              <a:off x="25069905" y="30756241"/>
              <a:ext cx="53581" cy="28359"/>
            </a:xfrm>
            <a:custGeom>
              <a:avLst/>
              <a:gdLst/>
              <a:ahLst/>
              <a:cxnLst/>
              <a:rect l="0" t="0" r="0" b="0"/>
              <a:pathLst>
                <a:path w="53580" h="28358">
                  <a:moveTo>
                    <a:pt x="53517" y="28358"/>
                  </a:moveTo>
                  <a:cubicBezTo>
                    <a:pt x="52437" y="25577"/>
                    <a:pt x="50685" y="23101"/>
                    <a:pt x="48437" y="21145"/>
                  </a:cubicBezTo>
                  <a:cubicBezTo>
                    <a:pt x="44259" y="17487"/>
                    <a:pt x="36651" y="15303"/>
                    <a:pt x="28727" y="12064"/>
                  </a:cubicBezTo>
                  <a:cubicBezTo>
                    <a:pt x="20815" y="8826"/>
                    <a:pt x="13512" y="5981"/>
                    <a:pt x="8318" y="3797"/>
                  </a:cubicBezTo>
                  <a:cubicBezTo>
                    <a:pt x="5448" y="2768"/>
                    <a:pt x="2666" y="1498"/>
                    <a:pt x="0" y="0"/>
                  </a:cubicBezTo>
                  <a:cubicBezTo>
                    <a:pt x="2971" y="698"/>
                    <a:pt x="5880" y="1638"/>
                    <a:pt x="8686" y="2832"/>
                  </a:cubicBezTo>
                  <a:cubicBezTo>
                    <a:pt x="13969" y="4762"/>
                    <a:pt x="21259" y="7518"/>
                    <a:pt x="29273" y="10667"/>
                  </a:cubicBezTo>
                  <a:cubicBezTo>
                    <a:pt x="33248" y="12268"/>
                    <a:pt x="37045" y="13741"/>
                    <a:pt x="40626" y="15189"/>
                  </a:cubicBezTo>
                  <a:cubicBezTo>
                    <a:pt x="43751" y="16408"/>
                    <a:pt x="46633" y="18160"/>
                    <a:pt x="49148" y="20383"/>
                  </a:cubicBezTo>
                  <a:cubicBezTo>
                    <a:pt x="50862" y="21894"/>
                    <a:pt x="52196" y="23799"/>
                    <a:pt x="53034" y="25920"/>
                  </a:cubicBezTo>
                  <a:cubicBezTo>
                    <a:pt x="53415" y="26669"/>
                    <a:pt x="53580" y="27520"/>
                    <a:pt x="53517" y="28358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5" name="Rectangle 3118">
              <a:extLst>
                <a:ext uri="{FF2B5EF4-FFF2-40B4-BE49-F238E27FC236}">
                  <a16:creationId xmlns:a16="http://schemas.microsoft.com/office/drawing/2014/main" id="{D7E7D213-CEBB-8593-59C1-6ECAB40AD27D}"/>
                </a:ext>
              </a:extLst>
            </p:cNvPr>
            <p:cNvSpPr/>
            <p:nvPr/>
          </p:nvSpPr>
          <p:spPr>
            <a:xfrm>
              <a:off x="26341416" y="30604930"/>
              <a:ext cx="127951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6" name="Free Form 3120">
              <a:extLst>
                <a:ext uri="{FF2B5EF4-FFF2-40B4-BE49-F238E27FC236}">
                  <a16:creationId xmlns:a16="http://schemas.microsoft.com/office/drawing/2014/main" id="{96D77AA5-AC99-1147-DC0E-7FECC26B002D}"/>
                </a:ext>
              </a:extLst>
            </p:cNvPr>
            <p:cNvSpPr/>
            <p:nvPr/>
          </p:nvSpPr>
          <p:spPr>
            <a:xfrm>
              <a:off x="26351855" y="30799164"/>
              <a:ext cx="117512" cy="1397"/>
            </a:xfrm>
            <a:custGeom>
              <a:avLst/>
              <a:gdLst/>
              <a:ahLst/>
              <a:cxnLst/>
              <a:rect l="0" t="0" r="0" b="0"/>
              <a:pathLst>
                <a:path w="117511" h="1396">
                  <a:moveTo>
                    <a:pt x="117511" y="711"/>
                  </a:moveTo>
                  <a:cubicBezTo>
                    <a:pt x="117511" y="1079"/>
                    <a:pt x="91185" y="1396"/>
                    <a:pt x="58736" y="1396"/>
                  </a:cubicBezTo>
                  <a:cubicBezTo>
                    <a:pt x="26288" y="1396"/>
                    <a:pt x="0" y="1079"/>
                    <a:pt x="0" y="711"/>
                  </a:cubicBezTo>
                  <a:cubicBezTo>
                    <a:pt x="0" y="342"/>
                    <a:pt x="26288" y="0"/>
                    <a:pt x="58736" y="0"/>
                  </a:cubicBezTo>
                  <a:cubicBezTo>
                    <a:pt x="91185" y="0"/>
                    <a:pt x="117511" y="317"/>
                    <a:pt x="117511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7" name="Free Form 3121">
              <a:extLst>
                <a:ext uri="{FF2B5EF4-FFF2-40B4-BE49-F238E27FC236}">
                  <a16:creationId xmlns:a16="http://schemas.microsoft.com/office/drawing/2014/main" id="{57FA0612-A085-E300-8BAD-424E623F2496}"/>
                </a:ext>
              </a:extLst>
            </p:cNvPr>
            <p:cNvSpPr/>
            <p:nvPr/>
          </p:nvSpPr>
          <p:spPr>
            <a:xfrm>
              <a:off x="26356316" y="30814068"/>
              <a:ext cx="111175" cy="1397"/>
            </a:xfrm>
            <a:custGeom>
              <a:avLst/>
              <a:gdLst/>
              <a:ahLst/>
              <a:cxnLst/>
              <a:rect l="0" t="0" r="0" b="0"/>
              <a:pathLst>
                <a:path w="111174" h="1396">
                  <a:moveTo>
                    <a:pt x="111174" y="711"/>
                  </a:moveTo>
                  <a:cubicBezTo>
                    <a:pt x="111174" y="1079"/>
                    <a:pt x="86308" y="1396"/>
                    <a:pt x="55587" y="1396"/>
                  </a:cubicBezTo>
                  <a:cubicBezTo>
                    <a:pt x="24866" y="1396"/>
                    <a:pt x="0" y="1079"/>
                    <a:pt x="0" y="711"/>
                  </a:cubicBezTo>
                  <a:cubicBezTo>
                    <a:pt x="0" y="342"/>
                    <a:pt x="24891" y="0"/>
                    <a:pt x="55587" y="0"/>
                  </a:cubicBezTo>
                  <a:cubicBezTo>
                    <a:pt x="86282" y="0"/>
                    <a:pt x="111174" y="317"/>
                    <a:pt x="111174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8" name="Free Form 3122">
              <a:extLst>
                <a:ext uri="{FF2B5EF4-FFF2-40B4-BE49-F238E27FC236}">
                  <a16:creationId xmlns:a16="http://schemas.microsoft.com/office/drawing/2014/main" id="{2E88CA50-32C1-471A-19EE-79DECABD35BF}"/>
                </a:ext>
              </a:extLst>
            </p:cNvPr>
            <p:cNvSpPr/>
            <p:nvPr/>
          </p:nvSpPr>
          <p:spPr>
            <a:xfrm>
              <a:off x="26369406" y="30827693"/>
              <a:ext cx="99961" cy="1397"/>
            </a:xfrm>
            <a:custGeom>
              <a:avLst/>
              <a:gdLst/>
              <a:ahLst/>
              <a:cxnLst/>
              <a:rect l="0" t="0" r="0" b="0"/>
              <a:pathLst>
                <a:path w="99960" h="1396">
                  <a:moveTo>
                    <a:pt x="99960" y="685"/>
                  </a:moveTo>
                  <a:cubicBezTo>
                    <a:pt x="99960" y="1079"/>
                    <a:pt x="77558" y="1396"/>
                    <a:pt x="49961" y="1396"/>
                  </a:cubicBezTo>
                  <a:cubicBezTo>
                    <a:pt x="22364" y="1396"/>
                    <a:pt x="0" y="1079"/>
                    <a:pt x="0" y="685"/>
                  </a:cubicBezTo>
                  <a:cubicBezTo>
                    <a:pt x="0" y="292"/>
                    <a:pt x="22364" y="0"/>
                    <a:pt x="49961" y="0"/>
                  </a:cubicBezTo>
                  <a:cubicBezTo>
                    <a:pt x="77558" y="0"/>
                    <a:pt x="99960" y="317"/>
                    <a:pt x="99960" y="68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9" name="Free Form 3123">
              <a:extLst>
                <a:ext uri="{FF2B5EF4-FFF2-40B4-BE49-F238E27FC236}">
                  <a16:creationId xmlns:a16="http://schemas.microsoft.com/office/drawing/2014/main" id="{36A89336-C6E9-C6E4-E5A7-6EB2C1D73EB5}"/>
                </a:ext>
              </a:extLst>
            </p:cNvPr>
            <p:cNvSpPr/>
            <p:nvPr/>
          </p:nvSpPr>
          <p:spPr>
            <a:xfrm>
              <a:off x="26354268" y="30785901"/>
              <a:ext cx="115099" cy="1397"/>
            </a:xfrm>
            <a:custGeom>
              <a:avLst/>
              <a:gdLst/>
              <a:ahLst/>
              <a:cxnLst/>
              <a:rect l="0" t="0" r="0" b="0"/>
              <a:pathLst>
                <a:path w="115098" h="1396">
                  <a:moveTo>
                    <a:pt x="115098" y="685"/>
                  </a:moveTo>
                  <a:cubicBezTo>
                    <a:pt x="115098" y="1079"/>
                    <a:pt x="89318" y="1396"/>
                    <a:pt x="57555" y="1396"/>
                  </a:cubicBezTo>
                  <a:cubicBezTo>
                    <a:pt x="25780" y="1396"/>
                    <a:pt x="0" y="1079"/>
                    <a:pt x="0" y="685"/>
                  </a:cubicBezTo>
                  <a:cubicBezTo>
                    <a:pt x="0" y="292"/>
                    <a:pt x="25755" y="0"/>
                    <a:pt x="57555" y="0"/>
                  </a:cubicBezTo>
                  <a:cubicBezTo>
                    <a:pt x="89343" y="0"/>
                    <a:pt x="115098" y="203"/>
                    <a:pt x="115098" y="68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0" name="Free Form 3124">
              <a:extLst>
                <a:ext uri="{FF2B5EF4-FFF2-40B4-BE49-F238E27FC236}">
                  <a16:creationId xmlns:a16="http://schemas.microsoft.com/office/drawing/2014/main" id="{1B77C55E-8ADC-9099-D07E-422CA4668C29}"/>
                </a:ext>
              </a:extLst>
            </p:cNvPr>
            <p:cNvSpPr/>
            <p:nvPr/>
          </p:nvSpPr>
          <p:spPr>
            <a:xfrm>
              <a:off x="26365282" y="30772393"/>
              <a:ext cx="102209" cy="1397"/>
            </a:xfrm>
            <a:custGeom>
              <a:avLst/>
              <a:gdLst/>
              <a:ahLst/>
              <a:cxnLst/>
              <a:rect l="0" t="0" r="0" b="0"/>
              <a:pathLst>
                <a:path w="102208" h="1396">
                  <a:moveTo>
                    <a:pt x="102208" y="711"/>
                  </a:moveTo>
                  <a:cubicBezTo>
                    <a:pt x="102208" y="1079"/>
                    <a:pt x="79272" y="1396"/>
                    <a:pt x="51104" y="1396"/>
                  </a:cubicBezTo>
                  <a:cubicBezTo>
                    <a:pt x="22948" y="1396"/>
                    <a:pt x="0" y="1079"/>
                    <a:pt x="0" y="711"/>
                  </a:cubicBezTo>
                  <a:cubicBezTo>
                    <a:pt x="0" y="342"/>
                    <a:pt x="22948" y="0"/>
                    <a:pt x="51104" y="0"/>
                  </a:cubicBezTo>
                  <a:cubicBezTo>
                    <a:pt x="79272" y="0"/>
                    <a:pt x="102208" y="317"/>
                    <a:pt x="102208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1" name="Free Form 3129">
              <a:extLst>
                <a:ext uri="{FF2B5EF4-FFF2-40B4-BE49-F238E27FC236}">
                  <a16:creationId xmlns:a16="http://schemas.microsoft.com/office/drawing/2014/main" id="{4A8B196C-AA4F-A3BB-6BCC-AFEEB8C67942}"/>
                </a:ext>
              </a:extLst>
            </p:cNvPr>
            <p:cNvSpPr/>
            <p:nvPr/>
          </p:nvSpPr>
          <p:spPr>
            <a:xfrm>
              <a:off x="26125352" y="30769293"/>
              <a:ext cx="20599" cy="56895"/>
            </a:xfrm>
            <a:custGeom>
              <a:avLst/>
              <a:gdLst/>
              <a:ahLst/>
              <a:cxnLst/>
              <a:rect l="0" t="0" r="0" b="0"/>
              <a:pathLst>
                <a:path w="20599" h="56895">
                  <a:moveTo>
                    <a:pt x="20332" y="39610"/>
                  </a:moveTo>
                  <a:cubicBezTo>
                    <a:pt x="20218" y="30644"/>
                    <a:pt x="20091" y="21678"/>
                    <a:pt x="19964" y="12725"/>
                  </a:cubicBezTo>
                  <a:cubicBezTo>
                    <a:pt x="20078" y="10375"/>
                    <a:pt x="19760" y="8026"/>
                    <a:pt x="19024" y="5791"/>
                  </a:cubicBezTo>
                  <a:cubicBezTo>
                    <a:pt x="18237" y="3530"/>
                    <a:pt x="16281" y="1866"/>
                    <a:pt x="13919" y="1485"/>
                  </a:cubicBezTo>
                  <a:cubicBezTo>
                    <a:pt x="10566" y="0"/>
                    <a:pt x="5397" y="2781"/>
                    <a:pt x="2959" y="6680"/>
                  </a:cubicBezTo>
                  <a:cubicBezTo>
                    <a:pt x="914" y="10756"/>
                    <a:pt x="0" y="15303"/>
                    <a:pt x="317" y="19849"/>
                  </a:cubicBezTo>
                  <a:cubicBezTo>
                    <a:pt x="253" y="26936"/>
                    <a:pt x="596" y="34035"/>
                    <a:pt x="1333" y="41084"/>
                  </a:cubicBezTo>
                  <a:cubicBezTo>
                    <a:pt x="1498" y="44474"/>
                    <a:pt x="2349" y="47776"/>
                    <a:pt x="3835" y="50824"/>
                  </a:cubicBezTo>
                  <a:cubicBezTo>
                    <a:pt x="5575" y="54952"/>
                    <a:pt x="10337" y="56895"/>
                    <a:pt x="14477" y="55155"/>
                  </a:cubicBezTo>
                  <a:cubicBezTo>
                    <a:pt x="16865" y="54139"/>
                    <a:pt x="18630" y="52044"/>
                    <a:pt x="19227" y="49516"/>
                  </a:cubicBezTo>
                  <a:cubicBezTo>
                    <a:pt x="20218" y="46316"/>
                    <a:pt x="20599" y="42950"/>
                    <a:pt x="20332" y="3961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2" name="Free Form 3130">
              <a:extLst>
                <a:ext uri="{FF2B5EF4-FFF2-40B4-BE49-F238E27FC236}">
                  <a16:creationId xmlns:a16="http://schemas.microsoft.com/office/drawing/2014/main" id="{B9178DBA-6D2F-C3F4-E452-8D97FE550220}"/>
                </a:ext>
              </a:extLst>
            </p:cNvPr>
            <p:cNvSpPr/>
            <p:nvPr/>
          </p:nvSpPr>
          <p:spPr>
            <a:xfrm>
              <a:off x="26170632" y="30800467"/>
              <a:ext cx="123023" cy="1397"/>
            </a:xfrm>
            <a:custGeom>
              <a:avLst/>
              <a:gdLst/>
              <a:ahLst/>
              <a:cxnLst/>
              <a:rect l="0" t="0" r="0" b="0"/>
              <a:pathLst>
                <a:path w="123023" h="1396">
                  <a:moveTo>
                    <a:pt x="123023" y="685"/>
                  </a:moveTo>
                  <a:cubicBezTo>
                    <a:pt x="123023" y="1079"/>
                    <a:pt x="95490" y="1396"/>
                    <a:pt x="61530" y="1396"/>
                  </a:cubicBezTo>
                  <a:cubicBezTo>
                    <a:pt x="27571" y="1396"/>
                    <a:pt x="0" y="1079"/>
                    <a:pt x="0" y="685"/>
                  </a:cubicBezTo>
                  <a:cubicBezTo>
                    <a:pt x="0" y="292"/>
                    <a:pt x="27546" y="0"/>
                    <a:pt x="61530" y="0"/>
                  </a:cubicBezTo>
                  <a:cubicBezTo>
                    <a:pt x="95515" y="0"/>
                    <a:pt x="123023" y="317"/>
                    <a:pt x="123023" y="685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3" name="Free Form 3253">
              <a:extLst>
                <a:ext uri="{FF2B5EF4-FFF2-40B4-BE49-F238E27FC236}">
                  <a16:creationId xmlns:a16="http://schemas.microsoft.com/office/drawing/2014/main" id="{71C08C3F-43C4-2CEE-5427-D590AFCBE425}"/>
                </a:ext>
              </a:extLst>
            </p:cNvPr>
            <p:cNvSpPr/>
            <p:nvPr/>
          </p:nvSpPr>
          <p:spPr>
            <a:xfrm>
              <a:off x="24624685" y="30834115"/>
              <a:ext cx="1992227" cy="1473"/>
            </a:xfrm>
            <a:custGeom>
              <a:avLst/>
              <a:gdLst/>
              <a:ahLst/>
              <a:cxnLst/>
              <a:rect l="0" t="0" r="0" b="0"/>
              <a:pathLst>
                <a:path w="1992227" h="1473">
                  <a:moveTo>
                    <a:pt x="1992227" y="736"/>
                  </a:moveTo>
                  <a:cubicBezTo>
                    <a:pt x="1992227" y="1130"/>
                    <a:pt x="1546208" y="1473"/>
                    <a:pt x="996164" y="1473"/>
                  </a:cubicBezTo>
                  <a:cubicBezTo>
                    <a:pt x="446133" y="1473"/>
                    <a:pt x="0" y="1054"/>
                    <a:pt x="0" y="736"/>
                  </a:cubicBezTo>
                  <a:cubicBezTo>
                    <a:pt x="0" y="419"/>
                    <a:pt x="445904" y="0"/>
                    <a:pt x="996164" y="0"/>
                  </a:cubicBezTo>
                  <a:cubicBezTo>
                    <a:pt x="1546437" y="0"/>
                    <a:pt x="1992227" y="228"/>
                    <a:pt x="1992227" y="73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4" name="Free Form 3395">
              <a:extLst>
                <a:ext uri="{FF2B5EF4-FFF2-40B4-BE49-F238E27FC236}">
                  <a16:creationId xmlns:a16="http://schemas.microsoft.com/office/drawing/2014/main" id="{3783297C-194E-815D-68A0-DE3964477BE6}"/>
                </a:ext>
              </a:extLst>
            </p:cNvPr>
            <p:cNvSpPr/>
            <p:nvPr/>
          </p:nvSpPr>
          <p:spPr>
            <a:xfrm>
              <a:off x="25754063" y="30784513"/>
              <a:ext cx="139597" cy="1423"/>
            </a:xfrm>
            <a:custGeom>
              <a:avLst/>
              <a:gdLst/>
              <a:ahLst/>
              <a:cxnLst/>
              <a:rect l="0" t="0" r="0" b="0"/>
              <a:pathLst>
                <a:path w="139596" h="1422">
                  <a:moveTo>
                    <a:pt x="139596" y="711"/>
                  </a:moveTo>
                  <a:cubicBezTo>
                    <a:pt x="139596" y="1104"/>
                    <a:pt x="108367" y="1422"/>
                    <a:pt x="69811" y="1422"/>
                  </a:cubicBezTo>
                  <a:cubicBezTo>
                    <a:pt x="31254" y="1422"/>
                    <a:pt x="0" y="1104"/>
                    <a:pt x="0" y="711"/>
                  </a:cubicBezTo>
                  <a:cubicBezTo>
                    <a:pt x="0" y="317"/>
                    <a:pt x="31228" y="0"/>
                    <a:pt x="69811" y="0"/>
                  </a:cubicBezTo>
                  <a:cubicBezTo>
                    <a:pt x="108393" y="0"/>
                    <a:pt x="139596" y="317"/>
                    <a:pt x="139596" y="7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5" name="Free Form 3396">
              <a:extLst>
                <a:ext uri="{FF2B5EF4-FFF2-40B4-BE49-F238E27FC236}">
                  <a16:creationId xmlns:a16="http://schemas.microsoft.com/office/drawing/2014/main" id="{A2DDE024-56C0-A127-C6B5-F70BC6F248B1}"/>
                </a:ext>
              </a:extLst>
            </p:cNvPr>
            <p:cNvSpPr/>
            <p:nvPr/>
          </p:nvSpPr>
          <p:spPr>
            <a:xfrm>
              <a:off x="25753606" y="30777728"/>
              <a:ext cx="140537" cy="1422"/>
            </a:xfrm>
            <a:custGeom>
              <a:avLst/>
              <a:gdLst/>
              <a:ahLst/>
              <a:cxnLst/>
              <a:rect l="0" t="0" r="0" b="0"/>
              <a:pathLst>
                <a:path w="140536" h="1422">
                  <a:moveTo>
                    <a:pt x="140536" y="711"/>
                  </a:moveTo>
                  <a:cubicBezTo>
                    <a:pt x="140536" y="1104"/>
                    <a:pt x="109053" y="1422"/>
                    <a:pt x="70268" y="1422"/>
                  </a:cubicBezTo>
                  <a:cubicBezTo>
                    <a:pt x="31482" y="1422"/>
                    <a:pt x="0" y="1104"/>
                    <a:pt x="0" y="711"/>
                  </a:cubicBezTo>
                  <a:cubicBezTo>
                    <a:pt x="0" y="317"/>
                    <a:pt x="31457" y="0"/>
                    <a:pt x="70268" y="0"/>
                  </a:cubicBezTo>
                  <a:cubicBezTo>
                    <a:pt x="109079" y="0"/>
                    <a:pt x="140536" y="342"/>
                    <a:pt x="140536" y="7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6" name="Free Form 3397">
              <a:extLst>
                <a:ext uri="{FF2B5EF4-FFF2-40B4-BE49-F238E27FC236}">
                  <a16:creationId xmlns:a16="http://schemas.microsoft.com/office/drawing/2014/main" id="{5DD032A2-D307-6662-9A1F-2A8C38DBED00}"/>
                </a:ext>
              </a:extLst>
            </p:cNvPr>
            <p:cNvSpPr/>
            <p:nvPr/>
          </p:nvSpPr>
          <p:spPr>
            <a:xfrm>
              <a:off x="25753351" y="30770063"/>
              <a:ext cx="140537" cy="1423"/>
            </a:xfrm>
            <a:custGeom>
              <a:avLst/>
              <a:gdLst/>
              <a:ahLst/>
              <a:cxnLst/>
              <a:rect l="0" t="0" r="0" b="0"/>
              <a:pathLst>
                <a:path w="140536" h="1422">
                  <a:moveTo>
                    <a:pt x="140536" y="711"/>
                  </a:moveTo>
                  <a:cubicBezTo>
                    <a:pt x="140536" y="1104"/>
                    <a:pt x="109079" y="1422"/>
                    <a:pt x="70268" y="1422"/>
                  </a:cubicBezTo>
                  <a:cubicBezTo>
                    <a:pt x="31457" y="1422"/>
                    <a:pt x="0" y="1104"/>
                    <a:pt x="0" y="711"/>
                  </a:cubicBezTo>
                  <a:cubicBezTo>
                    <a:pt x="0" y="317"/>
                    <a:pt x="31457" y="0"/>
                    <a:pt x="70268" y="0"/>
                  </a:cubicBezTo>
                  <a:cubicBezTo>
                    <a:pt x="109079" y="0"/>
                    <a:pt x="140536" y="317"/>
                    <a:pt x="140536" y="7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7" name="Free Form 3398">
              <a:extLst>
                <a:ext uri="{FF2B5EF4-FFF2-40B4-BE49-F238E27FC236}">
                  <a16:creationId xmlns:a16="http://schemas.microsoft.com/office/drawing/2014/main" id="{EDB355DA-A2DA-9001-6487-1364FBB180CF}"/>
                </a:ext>
              </a:extLst>
            </p:cNvPr>
            <p:cNvSpPr/>
            <p:nvPr/>
          </p:nvSpPr>
          <p:spPr>
            <a:xfrm>
              <a:off x="25768432" y="30791902"/>
              <a:ext cx="6045" cy="35001"/>
            </a:xfrm>
            <a:custGeom>
              <a:avLst/>
              <a:gdLst/>
              <a:ahLst/>
              <a:cxnLst/>
              <a:rect l="0" t="0" r="0" b="0"/>
              <a:pathLst>
                <a:path w="6045" h="35000">
                  <a:moveTo>
                    <a:pt x="6045" y="35000"/>
                  </a:moveTo>
                  <a:cubicBezTo>
                    <a:pt x="3086" y="23520"/>
                    <a:pt x="1066" y="11810"/>
                    <a:pt x="0" y="0"/>
                  </a:cubicBezTo>
                  <a:cubicBezTo>
                    <a:pt x="1676" y="5689"/>
                    <a:pt x="2908" y="11506"/>
                    <a:pt x="3682" y="17398"/>
                  </a:cubicBezTo>
                  <a:cubicBezTo>
                    <a:pt x="4940" y="23189"/>
                    <a:pt x="5727" y="29082"/>
                    <a:pt x="6045" y="3500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8" name="Free Form 3399">
              <a:extLst>
                <a:ext uri="{FF2B5EF4-FFF2-40B4-BE49-F238E27FC236}">
                  <a16:creationId xmlns:a16="http://schemas.microsoft.com/office/drawing/2014/main" id="{232BAB18-CB7D-1995-E01F-09C06D53190A}"/>
                </a:ext>
              </a:extLst>
            </p:cNvPr>
            <p:cNvSpPr/>
            <p:nvPr/>
          </p:nvSpPr>
          <p:spPr>
            <a:xfrm>
              <a:off x="25780353" y="30791353"/>
              <a:ext cx="2959" cy="34074"/>
            </a:xfrm>
            <a:custGeom>
              <a:avLst/>
              <a:gdLst/>
              <a:ahLst/>
              <a:cxnLst/>
              <a:rect l="0" t="0" r="0" b="0"/>
              <a:pathLst>
                <a:path w="2959" h="34073">
                  <a:moveTo>
                    <a:pt x="2412" y="34073"/>
                  </a:moveTo>
                  <a:cubicBezTo>
                    <a:pt x="1523" y="28434"/>
                    <a:pt x="1015" y="22745"/>
                    <a:pt x="876" y="17043"/>
                  </a:cubicBezTo>
                  <a:cubicBezTo>
                    <a:pt x="266" y="11379"/>
                    <a:pt x="0" y="5689"/>
                    <a:pt x="88" y="0"/>
                  </a:cubicBezTo>
                  <a:cubicBezTo>
                    <a:pt x="1422" y="5587"/>
                    <a:pt x="2171" y="11302"/>
                    <a:pt x="2324" y="17043"/>
                  </a:cubicBezTo>
                  <a:cubicBezTo>
                    <a:pt x="2933" y="22694"/>
                    <a:pt x="2959" y="28409"/>
                    <a:pt x="2412" y="3407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9" name="Free Form 3400">
              <a:extLst>
                <a:ext uri="{FF2B5EF4-FFF2-40B4-BE49-F238E27FC236}">
                  <a16:creationId xmlns:a16="http://schemas.microsoft.com/office/drawing/2014/main" id="{2F114AC1-A286-2094-C4AD-8BE681D035C4}"/>
                </a:ext>
              </a:extLst>
            </p:cNvPr>
            <p:cNvSpPr/>
            <p:nvPr/>
          </p:nvSpPr>
          <p:spPr>
            <a:xfrm>
              <a:off x="25793463" y="30790388"/>
              <a:ext cx="4407" cy="35039"/>
            </a:xfrm>
            <a:custGeom>
              <a:avLst/>
              <a:gdLst/>
              <a:ahLst/>
              <a:cxnLst/>
              <a:rect l="0" t="0" r="0" b="0"/>
              <a:pathLst>
                <a:path w="4406" h="35038">
                  <a:moveTo>
                    <a:pt x="4406" y="35038"/>
                  </a:moveTo>
                  <a:cubicBezTo>
                    <a:pt x="2755" y="29374"/>
                    <a:pt x="1701" y="23545"/>
                    <a:pt x="1257" y="17665"/>
                  </a:cubicBezTo>
                  <a:cubicBezTo>
                    <a:pt x="317" y="11823"/>
                    <a:pt x="0" y="5905"/>
                    <a:pt x="317" y="0"/>
                  </a:cubicBezTo>
                  <a:cubicBezTo>
                    <a:pt x="2095" y="11633"/>
                    <a:pt x="3454" y="23316"/>
                    <a:pt x="4406" y="3503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0" name="Free Form 3401">
              <a:extLst>
                <a:ext uri="{FF2B5EF4-FFF2-40B4-BE49-F238E27FC236}">
                  <a16:creationId xmlns:a16="http://schemas.microsoft.com/office/drawing/2014/main" id="{C2709EE6-0B02-701B-9B3A-706153CDD45B}"/>
                </a:ext>
              </a:extLst>
            </p:cNvPr>
            <p:cNvSpPr/>
            <p:nvPr/>
          </p:nvSpPr>
          <p:spPr>
            <a:xfrm>
              <a:off x="25806368" y="30790755"/>
              <a:ext cx="2159" cy="35382"/>
            </a:xfrm>
            <a:custGeom>
              <a:avLst/>
              <a:gdLst/>
              <a:ahLst/>
              <a:cxnLst/>
              <a:rect l="0" t="0" r="0" b="0"/>
              <a:pathLst>
                <a:path w="2158" h="35381">
                  <a:moveTo>
                    <a:pt x="2120" y="35381"/>
                  </a:moveTo>
                  <a:cubicBezTo>
                    <a:pt x="965" y="29577"/>
                    <a:pt x="406" y="23672"/>
                    <a:pt x="444" y="17754"/>
                  </a:cubicBezTo>
                  <a:cubicBezTo>
                    <a:pt x="0" y="11836"/>
                    <a:pt x="177" y="5880"/>
                    <a:pt x="990" y="0"/>
                  </a:cubicBezTo>
                  <a:cubicBezTo>
                    <a:pt x="1777" y="11785"/>
                    <a:pt x="2158" y="23583"/>
                    <a:pt x="2120" y="3538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1" name="Free Form 3402">
              <a:extLst>
                <a:ext uri="{FF2B5EF4-FFF2-40B4-BE49-F238E27FC236}">
                  <a16:creationId xmlns:a16="http://schemas.microsoft.com/office/drawing/2014/main" id="{7D56AB99-5D82-203C-6541-96C65B76C6C1}"/>
                </a:ext>
              </a:extLst>
            </p:cNvPr>
            <p:cNvSpPr/>
            <p:nvPr/>
          </p:nvSpPr>
          <p:spPr>
            <a:xfrm>
              <a:off x="25825581" y="30791874"/>
              <a:ext cx="2274" cy="33553"/>
            </a:xfrm>
            <a:custGeom>
              <a:avLst/>
              <a:gdLst/>
              <a:ahLst/>
              <a:cxnLst/>
              <a:rect l="0" t="0" r="0" b="0"/>
              <a:pathLst>
                <a:path w="2273" h="33553">
                  <a:moveTo>
                    <a:pt x="1701" y="33553"/>
                  </a:moveTo>
                  <a:cubicBezTo>
                    <a:pt x="380" y="22415"/>
                    <a:pt x="0" y="11188"/>
                    <a:pt x="571" y="0"/>
                  </a:cubicBezTo>
                  <a:cubicBezTo>
                    <a:pt x="1892" y="11125"/>
                    <a:pt x="2273" y="22351"/>
                    <a:pt x="1701" y="3355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2" name="Free Form 3403">
              <a:extLst>
                <a:ext uri="{FF2B5EF4-FFF2-40B4-BE49-F238E27FC236}">
                  <a16:creationId xmlns:a16="http://schemas.microsoft.com/office/drawing/2014/main" id="{DB8033A1-B930-4723-FFAC-E3E188306945}"/>
                </a:ext>
              </a:extLst>
            </p:cNvPr>
            <p:cNvSpPr/>
            <p:nvPr/>
          </p:nvSpPr>
          <p:spPr>
            <a:xfrm>
              <a:off x="25840133" y="30791507"/>
              <a:ext cx="2019" cy="34658"/>
            </a:xfrm>
            <a:custGeom>
              <a:avLst/>
              <a:gdLst/>
              <a:ahLst/>
              <a:cxnLst/>
              <a:rect l="0" t="0" r="0" b="0"/>
              <a:pathLst>
                <a:path w="2019" h="34657">
                  <a:moveTo>
                    <a:pt x="863" y="34657"/>
                  </a:moveTo>
                  <a:cubicBezTo>
                    <a:pt x="190" y="28904"/>
                    <a:pt x="0" y="23101"/>
                    <a:pt x="292" y="17309"/>
                  </a:cubicBezTo>
                  <a:cubicBezTo>
                    <a:pt x="114" y="11518"/>
                    <a:pt x="393" y="5727"/>
                    <a:pt x="1142" y="0"/>
                  </a:cubicBezTo>
                  <a:cubicBezTo>
                    <a:pt x="1816" y="5740"/>
                    <a:pt x="2019" y="11531"/>
                    <a:pt x="1739" y="17309"/>
                  </a:cubicBezTo>
                  <a:cubicBezTo>
                    <a:pt x="1930" y="23113"/>
                    <a:pt x="1638" y="28904"/>
                    <a:pt x="863" y="34657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3" name="Free Form 3404">
              <a:extLst>
                <a:ext uri="{FF2B5EF4-FFF2-40B4-BE49-F238E27FC236}">
                  <a16:creationId xmlns:a16="http://schemas.microsoft.com/office/drawing/2014/main" id="{DF2A1BCF-2987-AC62-F827-F73B134D954A}"/>
                </a:ext>
              </a:extLst>
            </p:cNvPr>
            <p:cNvSpPr/>
            <p:nvPr/>
          </p:nvSpPr>
          <p:spPr>
            <a:xfrm>
              <a:off x="25853886" y="30788201"/>
              <a:ext cx="3657" cy="36119"/>
            </a:xfrm>
            <a:custGeom>
              <a:avLst/>
              <a:gdLst/>
              <a:ahLst/>
              <a:cxnLst/>
              <a:rect l="0" t="0" r="0" b="0"/>
              <a:pathLst>
                <a:path w="3657" h="36118">
                  <a:moveTo>
                    <a:pt x="0" y="36118"/>
                  </a:moveTo>
                  <a:cubicBezTo>
                    <a:pt x="203" y="24002"/>
                    <a:pt x="1371" y="11925"/>
                    <a:pt x="3492" y="0"/>
                  </a:cubicBezTo>
                  <a:cubicBezTo>
                    <a:pt x="3657" y="6108"/>
                    <a:pt x="3352" y="12204"/>
                    <a:pt x="2552" y="18262"/>
                  </a:cubicBezTo>
                  <a:cubicBezTo>
                    <a:pt x="2146" y="24269"/>
                    <a:pt x="1295" y="30238"/>
                    <a:pt x="0" y="3611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4" name="Free Form 3405">
              <a:extLst>
                <a:ext uri="{FF2B5EF4-FFF2-40B4-BE49-F238E27FC236}">
                  <a16:creationId xmlns:a16="http://schemas.microsoft.com/office/drawing/2014/main" id="{8856286C-2872-61C1-CB83-E84293408FD5}"/>
                </a:ext>
              </a:extLst>
            </p:cNvPr>
            <p:cNvSpPr/>
            <p:nvPr/>
          </p:nvSpPr>
          <p:spPr>
            <a:xfrm>
              <a:off x="25870465" y="30792239"/>
              <a:ext cx="6591" cy="30263"/>
            </a:xfrm>
            <a:custGeom>
              <a:avLst/>
              <a:gdLst/>
              <a:ahLst/>
              <a:cxnLst/>
              <a:rect l="0" t="0" r="0" b="0"/>
              <a:pathLst>
                <a:path w="6591" h="30263">
                  <a:moveTo>
                    <a:pt x="0" y="30263"/>
                  </a:moveTo>
                  <a:cubicBezTo>
                    <a:pt x="38" y="25056"/>
                    <a:pt x="723" y="19875"/>
                    <a:pt x="2044" y="14846"/>
                  </a:cubicBezTo>
                  <a:cubicBezTo>
                    <a:pt x="2908" y="9728"/>
                    <a:pt x="4444" y="4737"/>
                    <a:pt x="6591" y="0"/>
                  </a:cubicBezTo>
                  <a:cubicBezTo>
                    <a:pt x="5829" y="5105"/>
                    <a:pt x="4787" y="10172"/>
                    <a:pt x="3467" y="15163"/>
                  </a:cubicBezTo>
                  <a:cubicBezTo>
                    <a:pt x="2578" y="20256"/>
                    <a:pt x="1422" y="25298"/>
                    <a:pt x="0" y="3026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5" name="Rectangle 3457">
              <a:extLst>
                <a:ext uri="{FF2B5EF4-FFF2-40B4-BE49-F238E27FC236}">
                  <a16:creationId xmlns:a16="http://schemas.microsoft.com/office/drawing/2014/main" id="{6905F167-C7D0-5784-6A4F-D0CAB9288461}"/>
                </a:ext>
              </a:extLst>
            </p:cNvPr>
            <p:cNvSpPr/>
            <p:nvPr/>
          </p:nvSpPr>
          <p:spPr>
            <a:xfrm>
              <a:off x="25046055" y="30643962"/>
              <a:ext cx="395081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6" name="Free Form 3458">
              <a:extLst>
                <a:ext uri="{FF2B5EF4-FFF2-40B4-BE49-F238E27FC236}">
                  <a16:creationId xmlns:a16="http://schemas.microsoft.com/office/drawing/2014/main" id="{278A3C0B-E345-50F7-44A5-17AF62ECA710}"/>
                </a:ext>
              </a:extLst>
            </p:cNvPr>
            <p:cNvSpPr/>
            <p:nvPr/>
          </p:nvSpPr>
          <p:spPr>
            <a:xfrm>
              <a:off x="25046057" y="30783749"/>
              <a:ext cx="489682" cy="51752"/>
            </a:xfrm>
            <a:custGeom>
              <a:avLst/>
              <a:gdLst/>
              <a:ahLst/>
              <a:cxnLst/>
              <a:rect l="0" t="0" r="0" b="0"/>
              <a:pathLst>
                <a:path w="489681" h="51751">
                  <a:moveTo>
                    <a:pt x="489681" y="0"/>
                  </a:moveTo>
                  <a:lnTo>
                    <a:pt x="83463" y="10083"/>
                  </a:lnTo>
                  <a:lnTo>
                    <a:pt x="16586" y="29730"/>
                  </a:lnTo>
                  <a:lnTo>
                    <a:pt x="0" y="40233"/>
                  </a:lnTo>
                  <a:lnTo>
                    <a:pt x="395080" y="40233"/>
                  </a:lnTo>
                  <a:lnTo>
                    <a:pt x="430347" y="51751"/>
                  </a:lnTo>
                  <a:lnTo>
                    <a:pt x="480791" y="36740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7" name="Free Form 3459">
              <a:extLst>
                <a:ext uri="{FF2B5EF4-FFF2-40B4-BE49-F238E27FC236}">
                  <a16:creationId xmlns:a16="http://schemas.microsoft.com/office/drawing/2014/main" id="{554ED048-6DDF-8BDB-9F32-9FC8D46DD291}"/>
                </a:ext>
              </a:extLst>
            </p:cNvPr>
            <p:cNvSpPr/>
            <p:nvPr/>
          </p:nvSpPr>
          <p:spPr>
            <a:xfrm>
              <a:off x="25441028" y="30783745"/>
              <a:ext cx="96532" cy="68287"/>
            </a:xfrm>
            <a:custGeom>
              <a:avLst/>
              <a:gdLst/>
              <a:ahLst/>
              <a:cxnLst/>
              <a:rect l="0" t="0" r="0" b="0"/>
              <a:pathLst>
                <a:path w="96531" h="68287">
                  <a:moveTo>
                    <a:pt x="114" y="40233"/>
                  </a:moveTo>
                  <a:cubicBezTo>
                    <a:pt x="114" y="40233"/>
                    <a:pt x="43979" y="46989"/>
                    <a:pt x="61175" y="40233"/>
                  </a:cubicBezTo>
                  <a:cubicBezTo>
                    <a:pt x="78383" y="33476"/>
                    <a:pt x="94601" y="0"/>
                    <a:pt x="94601" y="0"/>
                  </a:cubicBezTo>
                  <a:lnTo>
                    <a:pt x="96531" y="51764"/>
                  </a:lnTo>
                  <a:lnTo>
                    <a:pt x="0" y="68287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8" name="Free Form 3460">
              <a:extLst>
                <a:ext uri="{FF2B5EF4-FFF2-40B4-BE49-F238E27FC236}">
                  <a16:creationId xmlns:a16="http://schemas.microsoft.com/office/drawing/2014/main" id="{09D63754-B096-3001-E2E3-E51D1796CFFF}"/>
                </a:ext>
              </a:extLst>
            </p:cNvPr>
            <p:cNvSpPr/>
            <p:nvPr/>
          </p:nvSpPr>
          <p:spPr>
            <a:xfrm>
              <a:off x="25440212" y="30823808"/>
              <a:ext cx="2057" cy="28384"/>
            </a:xfrm>
            <a:custGeom>
              <a:avLst/>
              <a:gdLst/>
              <a:ahLst/>
              <a:cxnLst/>
              <a:rect l="0" t="0" r="0" b="0"/>
              <a:pathLst>
                <a:path w="2057" h="28384">
                  <a:moveTo>
                    <a:pt x="901" y="0"/>
                  </a:moveTo>
                  <a:cubicBezTo>
                    <a:pt x="1689" y="4686"/>
                    <a:pt x="1981" y="9448"/>
                    <a:pt x="1752" y="14198"/>
                  </a:cubicBezTo>
                  <a:cubicBezTo>
                    <a:pt x="2057" y="18935"/>
                    <a:pt x="1854" y="23697"/>
                    <a:pt x="1130" y="28384"/>
                  </a:cubicBezTo>
                  <a:cubicBezTo>
                    <a:pt x="368" y="23697"/>
                    <a:pt x="88" y="18948"/>
                    <a:pt x="279" y="14198"/>
                  </a:cubicBezTo>
                  <a:cubicBezTo>
                    <a:pt x="0" y="9461"/>
                    <a:pt x="215" y="4698"/>
                    <a:pt x="901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9" name="Free Form 3461">
              <a:extLst>
                <a:ext uri="{FF2B5EF4-FFF2-40B4-BE49-F238E27FC236}">
                  <a16:creationId xmlns:a16="http://schemas.microsoft.com/office/drawing/2014/main" id="{CE5DF1EB-9408-FB7E-6C89-D133242D0FEB}"/>
                </a:ext>
              </a:extLst>
            </p:cNvPr>
            <p:cNvSpPr/>
            <p:nvPr/>
          </p:nvSpPr>
          <p:spPr>
            <a:xfrm>
              <a:off x="25442792" y="30789428"/>
              <a:ext cx="91046" cy="39217"/>
            </a:xfrm>
            <a:custGeom>
              <a:avLst/>
              <a:gdLst/>
              <a:ahLst/>
              <a:cxnLst/>
              <a:rect l="0" t="0" r="0" b="0"/>
              <a:pathLst>
                <a:path w="91045" h="39217">
                  <a:moveTo>
                    <a:pt x="91045" y="0"/>
                  </a:moveTo>
                  <a:cubicBezTo>
                    <a:pt x="91019" y="368"/>
                    <a:pt x="90931" y="736"/>
                    <a:pt x="90791" y="1079"/>
                  </a:cubicBezTo>
                  <a:cubicBezTo>
                    <a:pt x="90511" y="2044"/>
                    <a:pt x="90181" y="2984"/>
                    <a:pt x="89800" y="3911"/>
                  </a:cubicBezTo>
                  <a:cubicBezTo>
                    <a:pt x="88352" y="7480"/>
                    <a:pt x="86447" y="10845"/>
                    <a:pt x="84123" y="13906"/>
                  </a:cubicBezTo>
                  <a:cubicBezTo>
                    <a:pt x="76275" y="24053"/>
                    <a:pt x="65404" y="31419"/>
                    <a:pt x="53085" y="34975"/>
                  </a:cubicBezTo>
                  <a:cubicBezTo>
                    <a:pt x="40830" y="38328"/>
                    <a:pt x="28041" y="39217"/>
                    <a:pt x="15443" y="37566"/>
                  </a:cubicBezTo>
                  <a:cubicBezTo>
                    <a:pt x="10617" y="36994"/>
                    <a:pt x="6756" y="36308"/>
                    <a:pt x="4089" y="35737"/>
                  </a:cubicBezTo>
                  <a:cubicBezTo>
                    <a:pt x="2692" y="35534"/>
                    <a:pt x="1320" y="35178"/>
                    <a:pt x="0" y="34696"/>
                  </a:cubicBezTo>
                  <a:cubicBezTo>
                    <a:pt x="1396" y="34759"/>
                    <a:pt x="2793" y="34924"/>
                    <a:pt x="4165" y="35178"/>
                  </a:cubicBezTo>
                  <a:cubicBezTo>
                    <a:pt x="6845" y="35546"/>
                    <a:pt x="10731" y="36080"/>
                    <a:pt x="15531" y="36512"/>
                  </a:cubicBezTo>
                  <a:cubicBezTo>
                    <a:pt x="27977" y="37883"/>
                    <a:pt x="40563" y="36918"/>
                    <a:pt x="52666" y="33667"/>
                  </a:cubicBezTo>
                  <a:cubicBezTo>
                    <a:pt x="64693" y="30174"/>
                    <a:pt x="75386" y="23126"/>
                    <a:pt x="83323" y="13423"/>
                  </a:cubicBezTo>
                  <a:cubicBezTo>
                    <a:pt x="86422" y="9270"/>
                    <a:pt x="89013" y="4762"/>
                    <a:pt x="91045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0" name="Free Form 3462">
              <a:extLst>
                <a:ext uri="{FF2B5EF4-FFF2-40B4-BE49-F238E27FC236}">
                  <a16:creationId xmlns:a16="http://schemas.microsoft.com/office/drawing/2014/main" id="{05102B56-F3A8-9961-4F22-1A1FFE95576F}"/>
                </a:ext>
              </a:extLst>
            </p:cNvPr>
            <p:cNvSpPr/>
            <p:nvPr/>
          </p:nvSpPr>
          <p:spPr>
            <a:xfrm>
              <a:off x="25444004" y="30829798"/>
              <a:ext cx="54431" cy="8700"/>
            </a:xfrm>
            <a:custGeom>
              <a:avLst/>
              <a:gdLst/>
              <a:ahLst/>
              <a:cxnLst/>
              <a:rect l="0" t="0" r="0" b="0"/>
              <a:pathLst>
                <a:path w="54431" h="8699">
                  <a:moveTo>
                    <a:pt x="54431" y="0"/>
                  </a:moveTo>
                  <a:cubicBezTo>
                    <a:pt x="51980" y="1155"/>
                    <a:pt x="49402" y="2044"/>
                    <a:pt x="46760" y="2641"/>
                  </a:cubicBezTo>
                  <a:cubicBezTo>
                    <a:pt x="34162" y="6134"/>
                    <a:pt x="21196" y="8102"/>
                    <a:pt x="8127" y="8483"/>
                  </a:cubicBezTo>
                  <a:cubicBezTo>
                    <a:pt x="5422" y="8699"/>
                    <a:pt x="2692" y="8623"/>
                    <a:pt x="0" y="8267"/>
                  </a:cubicBezTo>
                  <a:cubicBezTo>
                    <a:pt x="2666" y="7785"/>
                    <a:pt x="5359" y="7518"/>
                    <a:pt x="8064" y="7467"/>
                  </a:cubicBezTo>
                  <a:cubicBezTo>
                    <a:pt x="13042" y="7073"/>
                    <a:pt x="19875" y="6413"/>
                    <a:pt x="27406" y="5283"/>
                  </a:cubicBezTo>
                  <a:cubicBezTo>
                    <a:pt x="34924" y="4140"/>
                    <a:pt x="41604" y="2730"/>
                    <a:pt x="46506" y="1612"/>
                  </a:cubicBezTo>
                  <a:cubicBezTo>
                    <a:pt x="49110" y="901"/>
                    <a:pt x="51751" y="355"/>
                    <a:pt x="54431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1" name="Free Form 3463">
              <a:extLst>
                <a:ext uri="{FF2B5EF4-FFF2-40B4-BE49-F238E27FC236}">
                  <a16:creationId xmlns:a16="http://schemas.microsoft.com/office/drawing/2014/main" id="{5A4B086C-1924-62F4-7634-BD1300683DE1}"/>
                </a:ext>
              </a:extLst>
            </p:cNvPr>
            <p:cNvSpPr/>
            <p:nvPr/>
          </p:nvSpPr>
          <p:spPr>
            <a:xfrm>
              <a:off x="25442763" y="30840808"/>
              <a:ext cx="54025" cy="2756"/>
            </a:xfrm>
            <a:custGeom>
              <a:avLst/>
              <a:gdLst/>
              <a:ahLst/>
              <a:cxnLst/>
              <a:rect l="0" t="0" r="0" b="0"/>
              <a:pathLst>
                <a:path w="54025" h="2755">
                  <a:moveTo>
                    <a:pt x="54025" y="177"/>
                  </a:moveTo>
                  <a:cubicBezTo>
                    <a:pt x="51459" y="825"/>
                    <a:pt x="48830" y="1206"/>
                    <a:pt x="46189" y="1346"/>
                  </a:cubicBezTo>
                  <a:cubicBezTo>
                    <a:pt x="41299" y="1828"/>
                    <a:pt x="34543" y="2311"/>
                    <a:pt x="27050" y="2539"/>
                  </a:cubicBezTo>
                  <a:cubicBezTo>
                    <a:pt x="19557" y="2755"/>
                    <a:pt x="12852" y="2679"/>
                    <a:pt x="7924" y="2539"/>
                  </a:cubicBezTo>
                  <a:cubicBezTo>
                    <a:pt x="5257" y="2578"/>
                    <a:pt x="2603" y="2336"/>
                    <a:pt x="0" y="1828"/>
                  </a:cubicBezTo>
                  <a:cubicBezTo>
                    <a:pt x="2628" y="1511"/>
                    <a:pt x="5270" y="1409"/>
                    <a:pt x="7924" y="1511"/>
                  </a:cubicBezTo>
                  <a:cubicBezTo>
                    <a:pt x="12826" y="1511"/>
                    <a:pt x="19557" y="1371"/>
                    <a:pt x="27025" y="1142"/>
                  </a:cubicBezTo>
                  <a:cubicBezTo>
                    <a:pt x="34492" y="914"/>
                    <a:pt x="41223" y="596"/>
                    <a:pt x="46100" y="380"/>
                  </a:cubicBezTo>
                  <a:cubicBezTo>
                    <a:pt x="48729" y="63"/>
                    <a:pt x="51383" y="0"/>
                    <a:pt x="54025" y="17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2" name="Free Form 3464">
              <a:extLst>
                <a:ext uri="{FF2B5EF4-FFF2-40B4-BE49-F238E27FC236}">
                  <a16:creationId xmlns:a16="http://schemas.microsoft.com/office/drawing/2014/main" id="{A47FBF53-273E-4797-5D4F-32ADC3A43BF2}"/>
                </a:ext>
              </a:extLst>
            </p:cNvPr>
            <p:cNvSpPr/>
            <p:nvPr/>
          </p:nvSpPr>
          <p:spPr>
            <a:xfrm>
              <a:off x="25410117" y="30822619"/>
              <a:ext cx="15836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66"/>
                    <a:pt x="8534" y="29400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14"/>
                    <a:pt x="10528" y="2692"/>
                  </a:cubicBezTo>
                  <a:cubicBezTo>
                    <a:pt x="6603" y="5359"/>
                    <a:pt x="4000" y="9550"/>
                    <a:pt x="3340" y="14249"/>
                  </a:cubicBezTo>
                  <a:cubicBezTo>
                    <a:pt x="2920" y="18973"/>
                    <a:pt x="4546" y="23659"/>
                    <a:pt x="7797" y="27114"/>
                  </a:cubicBezTo>
                  <a:cubicBezTo>
                    <a:pt x="9258" y="28485"/>
                    <a:pt x="10807" y="29743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3" name="Free Form 3465">
              <a:extLst>
                <a:ext uri="{FF2B5EF4-FFF2-40B4-BE49-F238E27FC236}">
                  <a16:creationId xmlns:a16="http://schemas.microsoft.com/office/drawing/2014/main" id="{B660C1FB-F64E-A540-2E1E-C3C7C5948F53}"/>
                </a:ext>
              </a:extLst>
            </p:cNvPr>
            <p:cNvSpPr/>
            <p:nvPr/>
          </p:nvSpPr>
          <p:spPr>
            <a:xfrm>
              <a:off x="25404708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46"/>
                    <a:pt x="8674" y="838"/>
                    <a:pt x="10426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02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4" name="Free Form 3466">
              <a:extLst>
                <a:ext uri="{FF2B5EF4-FFF2-40B4-BE49-F238E27FC236}">
                  <a16:creationId xmlns:a16="http://schemas.microsoft.com/office/drawing/2014/main" id="{3366D5DF-47BF-1BFE-1FF1-1F747677306E}"/>
                </a:ext>
              </a:extLst>
            </p:cNvPr>
            <p:cNvSpPr/>
            <p:nvPr/>
          </p:nvSpPr>
          <p:spPr>
            <a:xfrm>
              <a:off x="25385418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12"/>
                    <a:pt x="12255" y="1701"/>
                    <a:pt x="10528" y="2692"/>
                  </a:cubicBezTo>
                  <a:cubicBezTo>
                    <a:pt x="3149" y="7365"/>
                    <a:pt x="952" y="17132"/>
                    <a:pt x="5638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82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5" name="Free Form 3467">
              <a:extLst>
                <a:ext uri="{FF2B5EF4-FFF2-40B4-BE49-F238E27FC236}">
                  <a16:creationId xmlns:a16="http://schemas.microsoft.com/office/drawing/2014/main" id="{973D9164-164A-E60E-A3B7-A28C378130D0}"/>
                </a:ext>
              </a:extLst>
            </p:cNvPr>
            <p:cNvSpPr/>
            <p:nvPr/>
          </p:nvSpPr>
          <p:spPr>
            <a:xfrm>
              <a:off x="25380037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28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6" name="Free Form 3468">
              <a:extLst>
                <a:ext uri="{FF2B5EF4-FFF2-40B4-BE49-F238E27FC236}">
                  <a16:creationId xmlns:a16="http://schemas.microsoft.com/office/drawing/2014/main" id="{D8D4F030-F282-0D5D-7B02-9F1F01EDDE65}"/>
                </a:ext>
              </a:extLst>
            </p:cNvPr>
            <p:cNvSpPr/>
            <p:nvPr/>
          </p:nvSpPr>
          <p:spPr>
            <a:xfrm>
              <a:off x="25360747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12"/>
                    <a:pt x="12255" y="1701"/>
                    <a:pt x="10528" y="2692"/>
                  </a:cubicBezTo>
                  <a:cubicBezTo>
                    <a:pt x="3149" y="7365"/>
                    <a:pt x="952" y="17132"/>
                    <a:pt x="5638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82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7" name="Free Form 3469">
              <a:extLst>
                <a:ext uri="{FF2B5EF4-FFF2-40B4-BE49-F238E27FC236}">
                  <a16:creationId xmlns:a16="http://schemas.microsoft.com/office/drawing/2014/main" id="{437F39CE-5F59-3736-D697-B133ACCFD53D}"/>
                </a:ext>
              </a:extLst>
            </p:cNvPr>
            <p:cNvSpPr/>
            <p:nvPr/>
          </p:nvSpPr>
          <p:spPr>
            <a:xfrm>
              <a:off x="25355366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28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8" name="Free Form 3470">
              <a:extLst>
                <a:ext uri="{FF2B5EF4-FFF2-40B4-BE49-F238E27FC236}">
                  <a16:creationId xmlns:a16="http://schemas.microsoft.com/office/drawing/2014/main" id="{0BE5B146-0D87-6EE8-9546-B613670CFA64}"/>
                </a:ext>
              </a:extLst>
            </p:cNvPr>
            <p:cNvSpPr/>
            <p:nvPr/>
          </p:nvSpPr>
          <p:spPr>
            <a:xfrm>
              <a:off x="25336079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509" y="30886"/>
                  </a:moveTo>
                  <a:cubicBezTo>
                    <a:pt x="10439" y="30479"/>
                    <a:pt x="8559" y="29412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00"/>
                    <a:pt x="12268" y="1701"/>
                    <a:pt x="10553" y="2692"/>
                  </a:cubicBezTo>
                  <a:cubicBezTo>
                    <a:pt x="3174" y="7315"/>
                    <a:pt x="952" y="17043"/>
                    <a:pt x="5575" y="24409"/>
                  </a:cubicBezTo>
                  <a:cubicBezTo>
                    <a:pt x="6184" y="25387"/>
                    <a:pt x="6908" y="26288"/>
                    <a:pt x="7708" y="27114"/>
                  </a:cubicBezTo>
                  <a:cubicBezTo>
                    <a:pt x="9194" y="28511"/>
                    <a:pt x="10807" y="29768"/>
                    <a:pt x="12509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9" name="Free Form 3471">
              <a:extLst>
                <a:ext uri="{FF2B5EF4-FFF2-40B4-BE49-F238E27FC236}">
                  <a16:creationId xmlns:a16="http://schemas.microsoft.com/office/drawing/2014/main" id="{EE4F3744-7C63-06DA-A91F-332F41A38A28}"/>
                </a:ext>
              </a:extLst>
            </p:cNvPr>
            <p:cNvSpPr/>
            <p:nvPr/>
          </p:nvSpPr>
          <p:spPr>
            <a:xfrm>
              <a:off x="25330707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4020" y="32168"/>
                  </a:moveTo>
                  <a:cubicBezTo>
                    <a:pt x="12090" y="31736"/>
                    <a:pt x="10337" y="30746"/>
                    <a:pt x="8966" y="29323"/>
                  </a:cubicBezTo>
                  <a:cubicBezTo>
                    <a:pt x="1257" y="22986"/>
                    <a:pt x="0" y="11658"/>
                    <a:pt x="6134" y="3784"/>
                  </a:cubicBezTo>
                  <a:cubicBezTo>
                    <a:pt x="7188" y="2133"/>
                    <a:pt x="8699" y="825"/>
                    <a:pt x="10477" y="0"/>
                  </a:cubicBezTo>
                  <a:cubicBezTo>
                    <a:pt x="10642" y="203"/>
                    <a:pt x="8851" y="1511"/>
                    <a:pt x="6984" y="4381"/>
                  </a:cubicBezTo>
                  <a:cubicBezTo>
                    <a:pt x="1828" y="12026"/>
                    <a:pt x="3035" y="22288"/>
                    <a:pt x="9816" y="28536"/>
                  </a:cubicBezTo>
                  <a:cubicBezTo>
                    <a:pt x="12115" y="31089"/>
                    <a:pt x="14134" y="31965"/>
                    <a:pt x="14020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0" name="Free Form 3472">
              <a:extLst>
                <a:ext uri="{FF2B5EF4-FFF2-40B4-BE49-F238E27FC236}">
                  <a16:creationId xmlns:a16="http://schemas.microsoft.com/office/drawing/2014/main" id="{1E9E92B4-5BB4-C391-90FB-1ECB3831C3E3}"/>
                </a:ext>
              </a:extLst>
            </p:cNvPr>
            <p:cNvSpPr/>
            <p:nvPr/>
          </p:nvSpPr>
          <p:spPr>
            <a:xfrm>
              <a:off x="25311459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00"/>
                    <a:pt x="12242" y="1701"/>
                    <a:pt x="10528" y="2692"/>
                  </a:cubicBezTo>
                  <a:cubicBezTo>
                    <a:pt x="3162" y="7315"/>
                    <a:pt x="927" y="17043"/>
                    <a:pt x="5562" y="24409"/>
                  </a:cubicBezTo>
                  <a:cubicBezTo>
                    <a:pt x="6172" y="25387"/>
                    <a:pt x="6883" y="26288"/>
                    <a:pt x="7683" y="27114"/>
                  </a:cubicBezTo>
                  <a:cubicBezTo>
                    <a:pt x="9169" y="28511"/>
                    <a:pt x="10756" y="29768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1" name="Free Form 3473">
              <a:extLst>
                <a:ext uri="{FF2B5EF4-FFF2-40B4-BE49-F238E27FC236}">
                  <a16:creationId xmlns:a16="http://schemas.microsoft.com/office/drawing/2014/main" id="{569BB4EF-C126-167A-7B94-7CBE1E85EBD1}"/>
                </a:ext>
              </a:extLst>
            </p:cNvPr>
            <p:cNvSpPr/>
            <p:nvPr/>
          </p:nvSpPr>
          <p:spPr>
            <a:xfrm>
              <a:off x="25307802" y="30822582"/>
              <a:ext cx="12369" cy="32144"/>
            </a:xfrm>
            <a:custGeom>
              <a:avLst/>
              <a:gdLst/>
              <a:ahLst/>
              <a:cxnLst/>
              <a:rect l="0" t="0" r="0" b="0"/>
              <a:pathLst>
                <a:path w="12369" h="32143">
                  <a:moveTo>
                    <a:pt x="12255" y="32143"/>
                  </a:moveTo>
                  <a:cubicBezTo>
                    <a:pt x="10324" y="31711"/>
                    <a:pt x="8572" y="30720"/>
                    <a:pt x="7200" y="29298"/>
                  </a:cubicBezTo>
                  <a:cubicBezTo>
                    <a:pt x="3517" y="26237"/>
                    <a:pt x="1168" y="21881"/>
                    <a:pt x="609" y="17119"/>
                  </a:cubicBezTo>
                  <a:cubicBezTo>
                    <a:pt x="126" y="12369"/>
                    <a:pt x="1447" y="7594"/>
                    <a:pt x="4330" y="3784"/>
                  </a:cubicBezTo>
                  <a:cubicBezTo>
                    <a:pt x="5410" y="2146"/>
                    <a:pt x="6908" y="838"/>
                    <a:pt x="8674" y="0"/>
                  </a:cubicBezTo>
                  <a:cubicBezTo>
                    <a:pt x="8851" y="203"/>
                    <a:pt x="7061" y="1511"/>
                    <a:pt x="5181" y="4381"/>
                  </a:cubicBezTo>
                  <a:cubicBezTo>
                    <a:pt x="0" y="11988"/>
                    <a:pt x="1142" y="22250"/>
                    <a:pt x="7886" y="28536"/>
                  </a:cubicBezTo>
                  <a:cubicBezTo>
                    <a:pt x="10350" y="31063"/>
                    <a:pt x="12369" y="31940"/>
                    <a:pt x="12255" y="3214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2" name="Free Form 3474">
              <a:extLst>
                <a:ext uri="{FF2B5EF4-FFF2-40B4-BE49-F238E27FC236}">
                  <a16:creationId xmlns:a16="http://schemas.microsoft.com/office/drawing/2014/main" id="{3609C6CA-0A47-7729-1E14-1BA4EDA5C8A9}"/>
                </a:ext>
              </a:extLst>
            </p:cNvPr>
            <p:cNvSpPr/>
            <p:nvPr/>
          </p:nvSpPr>
          <p:spPr>
            <a:xfrm>
              <a:off x="25286787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62" y="7315"/>
                    <a:pt x="927" y="17043"/>
                    <a:pt x="5549" y="24409"/>
                  </a:cubicBezTo>
                  <a:cubicBezTo>
                    <a:pt x="6172" y="25387"/>
                    <a:pt x="6883" y="26288"/>
                    <a:pt x="7683" y="27114"/>
                  </a:cubicBezTo>
                  <a:cubicBezTo>
                    <a:pt x="9169" y="28511"/>
                    <a:pt x="10756" y="29768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3" name="Free Form 3475">
              <a:extLst>
                <a:ext uri="{FF2B5EF4-FFF2-40B4-BE49-F238E27FC236}">
                  <a16:creationId xmlns:a16="http://schemas.microsoft.com/office/drawing/2014/main" id="{0D34FAC1-A01D-73DE-D3CE-CEFED2114FB4}"/>
                </a:ext>
              </a:extLst>
            </p:cNvPr>
            <p:cNvSpPr/>
            <p:nvPr/>
          </p:nvSpPr>
          <p:spPr>
            <a:xfrm>
              <a:off x="25281390" y="30822557"/>
              <a:ext cx="14109" cy="32169"/>
            </a:xfrm>
            <a:custGeom>
              <a:avLst/>
              <a:gdLst/>
              <a:ahLst/>
              <a:cxnLst/>
              <a:rect l="0" t="0" r="0" b="0"/>
              <a:pathLst>
                <a:path w="14109" h="32168">
                  <a:moveTo>
                    <a:pt x="13995" y="32168"/>
                  </a:moveTo>
                  <a:cubicBezTo>
                    <a:pt x="12077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108" y="3784"/>
                  </a:cubicBezTo>
                  <a:cubicBezTo>
                    <a:pt x="7175" y="2146"/>
                    <a:pt x="8674" y="838"/>
                    <a:pt x="10451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1777" y="11988"/>
                    <a:pt x="2920" y="22250"/>
                    <a:pt x="9651" y="28536"/>
                  </a:cubicBezTo>
                  <a:cubicBezTo>
                    <a:pt x="12090" y="31089"/>
                    <a:pt x="14109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4" name="Free Form 3476">
              <a:extLst>
                <a:ext uri="{FF2B5EF4-FFF2-40B4-BE49-F238E27FC236}">
                  <a16:creationId xmlns:a16="http://schemas.microsoft.com/office/drawing/2014/main" id="{03E32F0B-8725-9953-7BDF-7730D665D0D8}"/>
                </a:ext>
              </a:extLst>
            </p:cNvPr>
            <p:cNvSpPr/>
            <p:nvPr/>
          </p:nvSpPr>
          <p:spPr>
            <a:xfrm>
              <a:off x="25262116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5" name="Free Form 3477">
              <a:extLst>
                <a:ext uri="{FF2B5EF4-FFF2-40B4-BE49-F238E27FC236}">
                  <a16:creationId xmlns:a16="http://schemas.microsoft.com/office/drawing/2014/main" id="{795E30A4-5ADF-D24E-952B-6F1294ED2F29}"/>
                </a:ext>
              </a:extLst>
            </p:cNvPr>
            <p:cNvSpPr/>
            <p:nvPr/>
          </p:nvSpPr>
          <p:spPr>
            <a:xfrm>
              <a:off x="25256718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3995" y="32168"/>
                  </a:moveTo>
                  <a:cubicBezTo>
                    <a:pt x="12064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108" y="3784"/>
                  </a:cubicBezTo>
                  <a:cubicBezTo>
                    <a:pt x="7175" y="2146"/>
                    <a:pt x="8674" y="838"/>
                    <a:pt x="10451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4521" y="8089"/>
                    <a:pt x="3428" y="12534"/>
                    <a:pt x="3860" y="16954"/>
                  </a:cubicBezTo>
                  <a:cubicBezTo>
                    <a:pt x="4356" y="21348"/>
                    <a:pt x="6362" y="25437"/>
                    <a:pt x="9537" y="28536"/>
                  </a:cubicBezTo>
                  <a:cubicBezTo>
                    <a:pt x="12039" y="31089"/>
                    <a:pt x="14134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6" name="Free Form 3478">
              <a:extLst>
                <a:ext uri="{FF2B5EF4-FFF2-40B4-BE49-F238E27FC236}">
                  <a16:creationId xmlns:a16="http://schemas.microsoft.com/office/drawing/2014/main" id="{A2367414-0E06-1EC0-84EB-3C89E891F495}"/>
                </a:ext>
              </a:extLst>
            </p:cNvPr>
            <p:cNvSpPr/>
            <p:nvPr/>
          </p:nvSpPr>
          <p:spPr>
            <a:xfrm>
              <a:off x="25237444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66"/>
                    <a:pt x="8534" y="29400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7" name="Free Form 3479">
              <a:extLst>
                <a:ext uri="{FF2B5EF4-FFF2-40B4-BE49-F238E27FC236}">
                  <a16:creationId xmlns:a16="http://schemas.microsoft.com/office/drawing/2014/main" id="{95376B64-4C4F-9868-7726-5E1801D5E8C5}"/>
                </a:ext>
              </a:extLst>
            </p:cNvPr>
            <p:cNvSpPr/>
            <p:nvPr/>
          </p:nvSpPr>
          <p:spPr>
            <a:xfrm>
              <a:off x="25232021" y="30822557"/>
              <a:ext cx="14161" cy="32169"/>
            </a:xfrm>
            <a:custGeom>
              <a:avLst/>
              <a:gdLst/>
              <a:ahLst/>
              <a:cxnLst/>
              <a:rect l="0" t="0" r="0" b="0"/>
              <a:pathLst>
                <a:path w="14160" h="32168">
                  <a:moveTo>
                    <a:pt x="14020" y="32168"/>
                  </a:moveTo>
                  <a:cubicBezTo>
                    <a:pt x="12090" y="31736"/>
                    <a:pt x="10324" y="30746"/>
                    <a:pt x="8940" y="29323"/>
                  </a:cubicBezTo>
                  <a:cubicBezTo>
                    <a:pt x="1257" y="22974"/>
                    <a:pt x="0" y="11671"/>
                    <a:pt x="6095" y="3784"/>
                  </a:cubicBezTo>
                  <a:cubicBezTo>
                    <a:pt x="7175" y="2146"/>
                    <a:pt x="8674" y="838"/>
                    <a:pt x="10439" y="0"/>
                  </a:cubicBezTo>
                  <a:cubicBezTo>
                    <a:pt x="10617" y="203"/>
                    <a:pt x="8826" y="1511"/>
                    <a:pt x="6946" y="4381"/>
                  </a:cubicBezTo>
                  <a:cubicBezTo>
                    <a:pt x="1816" y="12026"/>
                    <a:pt x="3022" y="22275"/>
                    <a:pt x="9791" y="28536"/>
                  </a:cubicBezTo>
                  <a:cubicBezTo>
                    <a:pt x="12115" y="31089"/>
                    <a:pt x="14160" y="31965"/>
                    <a:pt x="14020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8" name="Free Form 3480">
              <a:extLst>
                <a:ext uri="{FF2B5EF4-FFF2-40B4-BE49-F238E27FC236}">
                  <a16:creationId xmlns:a16="http://schemas.microsoft.com/office/drawing/2014/main" id="{D1023FDD-9B32-9601-4AF6-BEB3EB3F3DE2}"/>
                </a:ext>
              </a:extLst>
            </p:cNvPr>
            <p:cNvSpPr/>
            <p:nvPr/>
          </p:nvSpPr>
          <p:spPr>
            <a:xfrm>
              <a:off x="25212772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66"/>
                    <a:pt x="8534" y="29400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55" y="1714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82" y="28485"/>
                    <a:pt x="10782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9" name="Free Form 3481">
              <a:extLst>
                <a:ext uri="{FF2B5EF4-FFF2-40B4-BE49-F238E27FC236}">
                  <a16:creationId xmlns:a16="http://schemas.microsoft.com/office/drawing/2014/main" id="{241CE1A8-C9EE-7F8F-5804-C1FC093DF237}"/>
                </a:ext>
              </a:extLst>
            </p:cNvPr>
            <p:cNvSpPr/>
            <p:nvPr/>
          </p:nvSpPr>
          <p:spPr>
            <a:xfrm>
              <a:off x="25207366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46"/>
                    <a:pt x="8674" y="838"/>
                    <a:pt x="10426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777" y="11988"/>
                    <a:pt x="2933" y="22250"/>
                    <a:pt x="9664" y="28536"/>
                  </a:cubicBezTo>
                  <a:cubicBezTo>
                    <a:pt x="12128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0" name="Free Form 3482">
              <a:extLst>
                <a:ext uri="{FF2B5EF4-FFF2-40B4-BE49-F238E27FC236}">
                  <a16:creationId xmlns:a16="http://schemas.microsoft.com/office/drawing/2014/main" id="{FDC04642-BDD8-C4FC-10F3-9BCE735AF538}"/>
                </a:ext>
              </a:extLst>
            </p:cNvPr>
            <p:cNvSpPr/>
            <p:nvPr/>
          </p:nvSpPr>
          <p:spPr>
            <a:xfrm>
              <a:off x="25188133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12"/>
                    <a:pt x="12242" y="1701"/>
                    <a:pt x="10528" y="2692"/>
                  </a:cubicBezTo>
                  <a:cubicBezTo>
                    <a:pt x="3149" y="7365"/>
                    <a:pt x="952" y="17132"/>
                    <a:pt x="5626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82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1" name="Free Form 3483">
              <a:extLst>
                <a:ext uri="{FF2B5EF4-FFF2-40B4-BE49-F238E27FC236}">
                  <a16:creationId xmlns:a16="http://schemas.microsoft.com/office/drawing/2014/main" id="{D15F97A8-2F39-799E-62D2-9E203D5E998B}"/>
                </a:ext>
              </a:extLst>
            </p:cNvPr>
            <p:cNvSpPr/>
            <p:nvPr/>
          </p:nvSpPr>
          <p:spPr>
            <a:xfrm>
              <a:off x="25182694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45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242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2" name="Free Form 3484">
              <a:extLst>
                <a:ext uri="{FF2B5EF4-FFF2-40B4-BE49-F238E27FC236}">
                  <a16:creationId xmlns:a16="http://schemas.microsoft.com/office/drawing/2014/main" id="{D38CA3B7-3763-1E26-A685-1308F8191DDE}"/>
                </a:ext>
              </a:extLst>
            </p:cNvPr>
            <p:cNvSpPr/>
            <p:nvPr/>
          </p:nvSpPr>
          <p:spPr>
            <a:xfrm>
              <a:off x="25163405" y="30822619"/>
              <a:ext cx="15863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00"/>
                    <a:pt x="12268" y="1701"/>
                    <a:pt x="10553" y="2692"/>
                  </a:cubicBezTo>
                  <a:cubicBezTo>
                    <a:pt x="3174" y="7340"/>
                    <a:pt x="965" y="17094"/>
                    <a:pt x="5626" y="24472"/>
                  </a:cubicBezTo>
                  <a:cubicBezTo>
                    <a:pt x="6222" y="25425"/>
                    <a:pt x="6921" y="26301"/>
                    <a:pt x="7708" y="27114"/>
                  </a:cubicBezTo>
                  <a:cubicBezTo>
                    <a:pt x="9207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3" name="Free Form 3485">
              <a:extLst>
                <a:ext uri="{FF2B5EF4-FFF2-40B4-BE49-F238E27FC236}">
                  <a16:creationId xmlns:a16="http://schemas.microsoft.com/office/drawing/2014/main" id="{C42CD8CE-DBA8-31D3-3E45-6884C55B175F}"/>
                </a:ext>
              </a:extLst>
            </p:cNvPr>
            <p:cNvSpPr/>
            <p:nvPr/>
          </p:nvSpPr>
          <p:spPr>
            <a:xfrm>
              <a:off x="25158022" y="30822557"/>
              <a:ext cx="14198" cy="32169"/>
            </a:xfrm>
            <a:custGeom>
              <a:avLst/>
              <a:gdLst/>
              <a:ahLst/>
              <a:cxnLst/>
              <a:rect l="0" t="0" r="0" b="0"/>
              <a:pathLst>
                <a:path w="14198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629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28" y="31089"/>
                    <a:pt x="14198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4" name="Free Form 3486">
              <a:extLst>
                <a:ext uri="{FF2B5EF4-FFF2-40B4-BE49-F238E27FC236}">
                  <a16:creationId xmlns:a16="http://schemas.microsoft.com/office/drawing/2014/main" id="{467DBACA-1F7C-2199-21BB-D649D1CCF344}"/>
                </a:ext>
              </a:extLst>
            </p:cNvPr>
            <p:cNvSpPr/>
            <p:nvPr/>
          </p:nvSpPr>
          <p:spPr>
            <a:xfrm>
              <a:off x="25138736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509" y="30886"/>
                  </a:moveTo>
                  <a:cubicBezTo>
                    <a:pt x="10439" y="30479"/>
                    <a:pt x="8559" y="29412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00"/>
                    <a:pt x="12268" y="1701"/>
                    <a:pt x="10553" y="2692"/>
                  </a:cubicBezTo>
                  <a:cubicBezTo>
                    <a:pt x="3174" y="7315"/>
                    <a:pt x="952" y="17043"/>
                    <a:pt x="5575" y="24409"/>
                  </a:cubicBezTo>
                  <a:cubicBezTo>
                    <a:pt x="6184" y="25387"/>
                    <a:pt x="6908" y="26288"/>
                    <a:pt x="7708" y="27114"/>
                  </a:cubicBezTo>
                  <a:cubicBezTo>
                    <a:pt x="9194" y="28511"/>
                    <a:pt x="10807" y="29768"/>
                    <a:pt x="12509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5" name="Free Form 3487">
              <a:extLst>
                <a:ext uri="{FF2B5EF4-FFF2-40B4-BE49-F238E27FC236}">
                  <a16:creationId xmlns:a16="http://schemas.microsoft.com/office/drawing/2014/main" id="{34922FD2-7CE0-935B-8298-ED6BA2C3192B}"/>
                </a:ext>
              </a:extLst>
            </p:cNvPr>
            <p:cNvSpPr/>
            <p:nvPr/>
          </p:nvSpPr>
          <p:spPr>
            <a:xfrm>
              <a:off x="25135167" y="30822582"/>
              <a:ext cx="12332" cy="32144"/>
            </a:xfrm>
            <a:custGeom>
              <a:avLst/>
              <a:gdLst/>
              <a:ahLst/>
              <a:cxnLst/>
              <a:rect l="0" t="0" r="0" b="0"/>
              <a:pathLst>
                <a:path w="12331" h="32143">
                  <a:moveTo>
                    <a:pt x="12217" y="32143"/>
                  </a:moveTo>
                  <a:cubicBezTo>
                    <a:pt x="10299" y="31711"/>
                    <a:pt x="8534" y="30720"/>
                    <a:pt x="7162" y="29298"/>
                  </a:cubicBezTo>
                  <a:cubicBezTo>
                    <a:pt x="3492" y="26237"/>
                    <a:pt x="1117" y="21881"/>
                    <a:pt x="546" y="17119"/>
                  </a:cubicBezTo>
                  <a:cubicBezTo>
                    <a:pt x="76" y="12369"/>
                    <a:pt x="1422" y="7607"/>
                    <a:pt x="4292" y="3784"/>
                  </a:cubicBezTo>
                  <a:cubicBezTo>
                    <a:pt x="5359" y="2133"/>
                    <a:pt x="6870" y="825"/>
                    <a:pt x="8635" y="0"/>
                  </a:cubicBezTo>
                  <a:cubicBezTo>
                    <a:pt x="8813" y="203"/>
                    <a:pt x="7023" y="1511"/>
                    <a:pt x="5143" y="4381"/>
                  </a:cubicBezTo>
                  <a:cubicBezTo>
                    <a:pt x="0" y="12026"/>
                    <a:pt x="1206" y="22288"/>
                    <a:pt x="7988" y="28536"/>
                  </a:cubicBezTo>
                  <a:cubicBezTo>
                    <a:pt x="10312" y="31063"/>
                    <a:pt x="12331" y="31940"/>
                    <a:pt x="12217" y="3214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6" name="Free Form 3488">
              <a:extLst>
                <a:ext uri="{FF2B5EF4-FFF2-40B4-BE49-F238E27FC236}">
                  <a16:creationId xmlns:a16="http://schemas.microsoft.com/office/drawing/2014/main" id="{6EC0FB40-0820-4C8F-8371-3F4E47EA0816}"/>
                </a:ext>
              </a:extLst>
            </p:cNvPr>
            <p:cNvSpPr/>
            <p:nvPr/>
          </p:nvSpPr>
          <p:spPr>
            <a:xfrm>
              <a:off x="25114002" y="30822619"/>
              <a:ext cx="15836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572" y="30886"/>
                  </a:moveTo>
                  <a:cubicBezTo>
                    <a:pt x="10464" y="30505"/>
                    <a:pt x="8547" y="29438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00"/>
                    <a:pt x="12242" y="1701"/>
                    <a:pt x="10528" y="2692"/>
                  </a:cubicBezTo>
                  <a:cubicBezTo>
                    <a:pt x="3162" y="7315"/>
                    <a:pt x="927" y="17043"/>
                    <a:pt x="5562" y="24409"/>
                  </a:cubicBezTo>
                  <a:cubicBezTo>
                    <a:pt x="6172" y="25387"/>
                    <a:pt x="6883" y="26288"/>
                    <a:pt x="7683" y="27114"/>
                  </a:cubicBezTo>
                  <a:cubicBezTo>
                    <a:pt x="9207" y="28511"/>
                    <a:pt x="10832" y="29768"/>
                    <a:pt x="12572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7" name="Free Form 3489">
              <a:extLst>
                <a:ext uri="{FF2B5EF4-FFF2-40B4-BE49-F238E27FC236}">
                  <a16:creationId xmlns:a16="http://schemas.microsoft.com/office/drawing/2014/main" id="{997155FF-FF9F-A2EE-572A-880981CFF596}"/>
                </a:ext>
              </a:extLst>
            </p:cNvPr>
            <p:cNvSpPr/>
            <p:nvPr/>
          </p:nvSpPr>
          <p:spPr>
            <a:xfrm>
              <a:off x="25110495" y="30822582"/>
              <a:ext cx="12332" cy="32144"/>
            </a:xfrm>
            <a:custGeom>
              <a:avLst/>
              <a:gdLst/>
              <a:ahLst/>
              <a:cxnLst/>
              <a:rect l="0" t="0" r="0" b="0"/>
              <a:pathLst>
                <a:path w="12331" h="32143">
                  <a:moveTo>
                    <a:pt x="12217" y="32143"/>
                  </a:moveTo>
                  <a:cubicBezTo>
                    <a:pt x="10286" y="31711"/>
                    <a:pt x="8534" y="30720"/>
                    <a:pt x="7162" y="29298"/>
                  </a:cubicBezTo>
                  <a:cubicBezTo>
                    <a:pt x="3479" y="26237"/>
                    <a:pt x="1130" y="21881"/>
                    <a:pt x="571" y="17119"/>
                  </a:cubicBezTo>
                  <a:cubicBezTo>
                    <a:pt x="88" y="12369"/>
                    <a:pt x="1422" y="7594"/>
                    <a:pt x="4292" y="3784"/>
                  </a:cubicBezTo>
                  <a:cubicBezTo>
                    <a:pt x="5372" y="2146"/>
                    <a:pt x="6870" y="838"/>
                    <a:pt x="8635" y="0"/>
                  </a:cubicBezTo>
                  <a:cubicBezTo>
                    <a:pt x="8813" y="203"/>
                    <a:pt x="7023" y="1511"/>
                    <a:pt x="5143" y="4381"/>
                  </a:cubicBezTo>
                  <a:cubicBezTo>
                    <a:pt x="0" y="12026"/>
                    <a:pt x="1206" y="22288"/>
                    <a:pt x="7988" y="28536"/>
                  </a:cubicBezTo>
                  <a:cubicBezTo>
                    <a:pt x="10312" y="31063"/>
                    <a:pt x="12331" y="31940"/>
                    <a:pt x="12217" y="3214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8" name="Free Form 3490">
              <a:extLst>
                <a:ext uri="{FF2B5EF4-FFF2-40B4-BE49-F238E27FC236}">
                  <a16:creationId xmlns:a16="http://schemas.microsoft.com/office/drawing/2014/main" id="{A75EBCE9-E0DB-2AB8-7CD1-E2A1518DD862}"/>
                </a:ext>
              </a:extLst>
            </p:cNvPr>
            <p:cNvSpPr/>
            <p:nvPr/>
          </p:nvSpPr>
          <p:spPr>
            <a:xfrm>
              <a:off x="25089444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9" name="Free Form 3491">
              <a:extLst>
                <a:ext uri="{FF2B5EF4-FFF2-40B4-BE49-F238E27FC236}">
                  <a16:creationId xmlns:a16="http://schemas.microsoft.com/office/drawing/2014/main" id="{6321D7A4-8E7C-2C13-454F-736FF1A096FF}"/>
                </a:ext>
              </a:extLst>
            </p:cNvPr>
            <p:cNvSpPr/>
            <p:nvPr/>
          </p:nvSpPr>
          <p:spPr>
            <a:xfrm>
              <a:off x="25084046" y="30822557"/>
              <a:ext cx="14110" cy="32169"/>
            </a:xfrm>
            <a:custGeom>
              <a:avLst/>
              <a:gdLst/>
              <a:ahLst/>
              <a:cxnLst/>
              <a:rect l="0" t="0" r="0" b="0"/>
              <a:pathLst>
                <a:path w="14109" h="32168">
                  <a:moveTo>
                    <a:pt x="13995" y="32168"/>
                  </a:moveTo>
                  <a:cubicBezTo>
                    <a:pt x="12064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108" y="3784"/>
                  </a:cubicBezTo>
                  <a:cubicBezTo>
                    <a:pt x="7175" y="2146"/>
                    <a:pt x="8674" y="838"/>
                    <a:pt x="10451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1841" y="12039"/>
                    <a:pt x="3047" y="22262"/>
                    <a:pt x="9791" y="28536"/>
                  </a:cubicBezTo>
                  <a:cubicBezTo>
                    <a:pt x="12090" y="31089"/>
                    <a:pt x="14109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0" name="Free Form 3492">
              <a:extLst>
                <a:ext uri="{FF2B5EF4-FFF2-40B4-BE49-F238E27FC236}">
                  <a16:creationId xmlns:a16="http://schemas.microsoft.com/office/drawing/2014/main" id="{838A2858-58B9-5A6C-D980-0E9FE17DBFFA}"/>
                </a:ext>
              </a:extLst>
            </p:cNvPr>
            <p:cNvSpPr/>
            <p:nvPr/>
          </p:nvSpPr>
          <p:spPr>
            <a:xfrm>
              <a:off x="25064772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1" name="Free Form 3493">
              <a:extLst>
                <a:ext uri="{FF2B5EF4-FFF2-40B4-BE49-F238E27FC236}">
                  <a16:creationId xmlns:a16="http://schemas.microsoft.com/office/drawing/2014/main" id="{4BFE9F89-F72A-1833-9572-42E934ADC547}"/>
                </a:ext>
              </a:extLst>
            </p:cNvPr>
            <p:cNvSpPr/>
            <p:nvPr/>
          </p:nvSpPr>
          <p:spPr>
            <a:xfrm>
              <a:off x="25059376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3995" y="32168"/>
                  </a:moveTo>
                  <a:cubicBezTo>
                    <a:pt x="12064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095" y="3784"/>
                  </a:cubicBezTo>
                  <a:cubicBezTo>
                    <a:pt x="7175" y="2146"/>
                    <a:pt x="8674" y="838"/>
                    <a:pt x="10439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4521" y="8089"/>
                    <a:pt x="3428" y="12534"/>
                    <a:pt x="3860" y="16954"/>
                  </a:cubicBezTo>
                  <a:cubicBezTo>
                    <a:pt x="4394" y="21373"/>
                    <a:pt x="6451" y="25463"/>
                    <a:pt x="9677" y="28536"/>
                  </a:cubicBezTo>
                  <a:cubicBezTo>
                    <a:pt x="12090" y="31089"/>
                    <a:pt x="14134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2" name="Free Form 3494">
              <a:extLst>
                <a:ext uri="{FF2B5EF4-FFF2-40B4-BE49-F238E27FC236}">
                  <a16:creationId xmlns:a16="http://schemas.microsoft.com/office/drawing/2014/main" id="{67D87337-7CBF-C880-46C4-13B0CE6957EC}"/>
                </a:ext>
              </a:extLst>
            </p:cNvPr>
            <p:cNvSpPr/>
            <p:nvPr/>
          </p:nvSpPr>
          <p:spPr>
            <a:xfrm>
              <a:off x="25040190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369" y="30886"/>
                  </a:moveTo>
                  <a:cubicBezTo>
                    <a:pt x="10337" y="30454"/>
                    <a:pt x="8508" y="29387"/>
                    <a:pt x="7111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07" y="812"/>
                    <a:pt x="12242" y="1701"/>
                    <a:pt x="10528" y="2692"/>
                  </a:cubicBezTo>
                  <a:cubicBezTo>
                    <a:pt x="3149" y="7365"/>
                    <a:pt x="952" y="17132"/>
                    <a:pt x="5626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43" y="28498"/>
                    <a:pt x="10705" y="29755"/>
                    <a:pt x="12369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3" name="Free Form 3495">
              <a:extLst>
                <a:ext uri="{FF2B5EF4-FFF2-40B4-BE49-F238E27FC236}">
                  <a16:creationId xmlns:a16="http://schemas.microsoft.com/office/drawing/2014/main" id="{0CEA5E15-671C-CB55-4C5B-91ECC8FAEDE2}"/>
                </a:ext>
              </a:extLst>
            </p:cNvPr>
            <p:cNvSpPr/>
            <p:nvPr/>
          </p:nvSpPr>
          <p:spPr>
            <a:xfrm>
              <a:off x="25034707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4020" y="32168"/>
                  </a:moveTo>
                  <a:cubicBezTo>
                    <a:pt x="12090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095" y="3784"/>
                  </a:cubicBezTo>
                  <a:cubicBezTo>
                    <a:pt x="7175" y="2146"/>
                    <a:pt x="8674" y="838"/>
                    <a:pt x="10439" y="0"/>
                  </a:cubicBezTo>
                  <a:cubicBezTo>
                    <a:pt x="10617" y="203"/>
                    <a:pt x="8851" y="1511"/>
                    <a:pt x="6984" y="4381"/>
                  </a:cubicBezTo>
                  <a:cubicBezTo>
                    <a:pt x="1828" y="12026"/>
                    <a:pt x="3035" y="22288"/>
                    <a:pt x="9816" y="28536"/>
                  </a:cubicBezTo>
                  <a:cubicBezTo>
                    <a:pt x="12090" y="31089"/>
                    <a:pt x="14134" y="31965"/>
                    <a:pt x="14020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4" name="Free Form 3500">
              <a:extLst>
                <a:ext uri="{FF2B5EF4-FFF2-40B4-BE49-F238E27FC236}">
                  <a16:creationId xmlns:a16="http://schemas.microsoft.com/office/drawing/2014/main" id="{5BE064CC-2916-2836-3895-F7E501615D3A}"/>
                </a:ext>
              </a:extLst>
            </p:cNvPr>
            <p:cNvSpPr/>
            <p:nvPr/>
          </p:nvSpPr>
          <p:spPr>
            <a:xfrm>
              <a:off x="25060822" y="30786337"/>
              <a:ext cx="41961" cy="12687"/>
            </a:xfrm>
            <a:custGeom>
              <a:avLst/>
              <a:gdLst/>
              <a:ahLst/>
              <a:cxnLst/>
              <a:rect l="0" t="0" r="0" b="0"/>
              <a:pathLst>
                <a:path w="41960" h="12687">
                  <a:moveTo>
                    <a:pt x="41960" y="12687"/>
                  </a:moveTo>
                  <a:cubicBezTo>
                    <a:pt x="39814" y="12636"/>
                    <a:pt x="37667" y="12306"/>
                    <a:pt x="35597" y="11721"/>
                  </a:cubicBezTo>
                  <a:cubicBezTo>
                    <a:pt x="31711" y="10921"/>
                    <a:pt x="26377" y="9588"/>
                    <a:pt x="20548" y="7861"/>
                  </a:cubicBezTo>
                  <a:cubicBezTo>
                    <a:pt x="14731" y="6134"/>
                    <a:pt x="9562" y="4279"/>
                    <a:pt x="5880" y="2832"/>
                  </a:cubicBezTo>
                  <a:cubicBezTo>
                    <a:pt x="3797" y="2146"/>
                    <a:pt x="1828" y="1193"/>
                    <a:pt x="0" y="0"/>
                  </a:cubicBezTo>
                  <a:cubicBezTo>
                    <a:pt x="2133" y="342"/>
                    <a:pt x="4216" y="914"/>
                    <a:pt x="6222" y="1701"/>
                  </a:cubicBezTo>
                  <a:cubicBezTo>
                    <a:pt x="9994" y="2920"/>
                    <a:pt x="15189" y="4533"/>
                    <a:pt x="20980" y="6299"/>
                  </a:cubicBezTo>
                  <a:cubicBezTo>
                    <a:pt x="26771" y="8064"/>
                    <a:pt x="32029" y="9512"/>
                    <a:pt x="35851" y="10578"/>
                  </a:cubicBezTo>
                  <a:cubicBezTo>
                    <a:pt x="37959" y="11061"/>
                    <a:pt x="40004" y="11760"/>
                    <a:pt x="41960" y="12687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5" name="Free Form 3501">
              <a:extLst>
                <a:ext uri="{FF2B5EF4-FFF2-40B4-BE49-F238E27FC236}">
                  <a16:creationId xmlns:a16="http://schemas.microsoft.com/office/drawing/2014/main" id="{9C61121B-0A0F-8C3D-B065-F003EA440F73}"/>
                </a:ext>
              </a:extLst>
            </p:cNvPr>
            <p:cNvSpPr/>
            <p:nvPr/>
          </p:nvSpPr>
          <p:spPr>
            <a:xfrm>
              <a:off x="25156133" y="30795560"/>
              <a:ext cx="35598" cy="18148"/>
            </a:xfrm>
            <a:custGeom>
              <a:avLst/>
              <a:gdLst/>
              <a:ahLst/>
              <a:cxnLst/>
              <a:rect l="0" t="0" r="0" b="0"/>
              <a:pathLst>
                <a:path w="35597" h="18148">
                  <a:moveTo>
                    <a:pt x="35597" y="0"/>
                  </a:moveTo>
                  <a:cubicBezTo>
                    <a:pt x="34111" y="1295"/>
                    <a:pt x="32473" y="2387"/>
                    <a:pt x="30708" y="3263"/>
                  </a:cubicBezTo>
                  <a:cubicBezTo>
                    <a:pt x="27596" y="5079"/>
                    <a:pt x="23215" y="7518"/>
                    <a:pt x="18275" y="10020"/>
                  </a:cubicBezTo>
                  <a:cubicBezTo>
                    <a:pt x="13334" y="12522"/>
                    <a:pt x="8826" y="14681"/>
                    <a:pt x="5499" y="16128"/>
                  </a:cubicBezTo>
                  <a:cubicBezTo>
                    <a:pt x="3771" y="17055"/>
                    <a:pt x="1917" y="17729"/>
                    <a:pt x="0" y="18148"/>
                  </a:cubicBezTo>
                  <a:cubicBezTo>
                    <a:pt x="5689" y="14681"/>
                    <a:pt x="11569" y="11531"/>
                    <a:pt x="17602" y="8712"/>
                  </a:cubicBezTo>
                  <a:cubicBezTo>
                    <a:pt x="23431" y="5473"/>
                    <a:pt x="29438" y="2565"/>
                    <a:pt x="35597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6" name="Free Form 3502">
              <a:extLst>
                <a:ext uri="{FF2B5EF4-FFF2-40B4-BE49-F238E27FC236}">
                  <a16:creationId xmlns:a16="http://schemas.microsoft.com/office/drawing/2014/main" id="{0E0F9186-CF2B-CAA1-EBD4-8FC553074568}"/>
                </a:ext>
              </a:extLst>
            </p:cNvPr>
            <p:cNvSpPr/>
            <p:nvPr/>
          </p:nvSpPr>
          <p:spPr>
            <a:xfrm>
              <a:off x="25173441" y="30793885"/>
              <a:ext cx="38163" cy="21412"/>
            </a:xfrm>
            <a:custGeom>
              <a:avLst/>
              <a:gdLst/>
              <a:ahLst/>
              <a:cxnLst/>
              <a:rect l="0" t="0" r="0" b="0"/>
              <a:pathLst>
                <a:path w="38163" h="21411">
                  <a:moveTo>
                    <a:pt x="38163" y="0"/>
                  </a:moveTo>
                  <a:cubicBezTo>
                    <a:pt x="32194" y="4216"/>
                    <a:pt x="25945" y="8000"/>
                    <a:pt x="19456" y="11353"/>
                  </a:cubicBezTo>
                  <a:cubicBezTo>
                    <a:pt x="13207" y="15150"/>
                    <a:pt x="6718" y="18516"/>
                    <a:pt x="0" y="21411"/>
                  </a:cubicBezTo>
                  <a:cubicBezTo>
                    <a:pt x="5981" y="17208"/>
                    <a:pt x="12229" y="13423"/>
                    <a:pt x="18719" y="10045"/>
                  </a:cubicBezTo>
                  <a:cubicBezTo>
                    <a:pt x="24967" y="6286"/>
                    <a:pt x="31470" y="2920"/>
                    <a:pt x="38163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7" name="Free Form 3503">
              <a:extLst>
                <a:ext uri="{FF2B5EF4-FFF2-40B4-BE49-F238E27FC236}">
                  <a16:creationId xmlns:a16="http://schemas.microsoft.com/office/drawing/2014/main" id="{E153FB81-F5A4-92A3-FB47-8819B191C8BE}"/>
                </a:ext>
              </a:extLst>
            </p:cNvPr>
            <p:cNvSpPr/>
            <p:nvPr/>
          </p:nvSpPr>
          <p:spPr>
            <a:xfrm>
              <a:off x="25189998" y="30795105"/>
              <a:ext cx="28676" cy="19253"/>
            </a:xfrm>
            <a:custGeom>
              <a:avLst/>
              <a:gdLst/>
              <a:ahLst/>
              <a:cxnLst/>
              <a:rect l="0" t="0" r="0" b="0"/>
              <a:pathLst>
                <a:path w="28676" h="19252">
                  <a:moveTo>
                    <a:pt x="28676" y="0"/>
                  </a:moveTo>
                  <a:cubicBezTo>
                    <a:pt x="24332" y="3797"/>
                    <a:pt x="19684" y="7226"/>
                    <a:pt x="14769" y="10248"/>
                  </a:cubicBezTo>
                  <a:cubicBezTo>
                    <a:pt x="10109" y="13652"/>
                    <a:pt x="5168" y="16662"/>
                    <a:pt x="0" y="19252"/>
                  </a:cubicBezTo>
                  <a:cubicBezTo>
                    <a:pt x="4343" y="15443"/>
                    <a:pt x="9016" y="12014"/>
                    <a:pt x="13944" y="9004"/>
                  </a:cubicBezTo>
                  <a:cubicBezTo>
                    <a:pt x="18592" y="5587"/>
                    <a:pt x="23520" y="2578"/>
                    <a:pt x="2867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8" name="Free Form 3504">
              <a:extLst>
                <a:ext uri="{FF2B5EF4-FFF2-40B4-BE49-F238E27FC236}">
                  <a16:creationId xmlns:a16="http://schemas.microsoft.com/office/drawing/2014/main" id="{FAA6AF72-3B65-ACE5-90EA-5BFAA4054267}"/>
                </a:ext>
              </a:extLst>
            </p:cNvPr>
            <p:cNvSpPr/>
            <p:nvPr/>
          </p:nvSpPr>
          <p:spPr>
            <a:xfrm>
              <a:off x="25216879" y="30793885"/>
              <a:ext cx="37681" cy="23139"/>
            </a:xfrm>
            <a:custGeom>
              <a:avLst/>
              <a:gdLst/>
              <a:ahLst/>
              <a:cxnLst/>
              <a:rect l="0" t="0" r="0" b="0"/>
              <a:pathLst>
                <a:path w="37680" h="23139">
                  <a:moveTo>
                    <a:pt x="37680" y="0"/>
                  </a:moveTo>
                  <a:cubicBezTo>
                    <a:pt x="31800" y="4470"/>
                    <a:pt x="25641" y="8547"/>
                    <a:pt x="19227" y="12204"/>
                  </a:cubicBezTo>
                  <a:cubicBezTo>
                    <a:pt x="13068" y="16281"/>
                    <a:pt x="6654" y="19926"/>
                    <a:pt x="0" y="23139"/>
                  </a:cubicBezTo>
                  <a:cubicBezTo>
                    <a:pt x="5880" y="18668"/>
                    <a:pt x="12052" y="14592"/>
                    <a:pt x="18465" y="10934"/>
                  </a:cubicBezTo>
                  <a:cubicBezTo>
                    <a:pt x="24625" y="6870"/>
                    <a:pt x="31038" y="3225"/>
                    <a:pt x="37680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9" name="Free Form 3505">
              <a:extLst>
                <a:ext uri="{FF2B5EF4-FFF2-40B4-BE49-F238E27FC236}">
                  <a16:creationId xmlns:a16="http://schemas.microsoft.com/office/drawing/2014/main" id="{C91EA64B-E77E-59C8-9F6A-7CAA18F84F14}"/>
                </a:ext>
              </a:extLst>
            </p:cNvPr>
            <p:cNvSpPr/>
            <p:nvPr/>
          </p:nvSpPr>
          <p:spPr>
            <a:xfrm>
              <a:off x="25232250" y="30794452"/>
              <a:ext cx="35052" cy="22085"/>
            </a:xfrm>
            <a:custGeom>
              <a:avLst/>
              <a:gdLst/>
              <a:ahLst/>
              <a:cxnLst/>
              <a:rect l="0" t="0" r="0" b="0"/>
              <a:pathLst>
                <a:path w="35051" h="22085">
                  <a:moveTo>
                    <a:pt x="34886" y="0"/>
                  </a:moveTo>
                  <a:cubicBezTo>
                    <a:pt x="35051" y="393"/>
                    <a:pt x="26796" y="4457"/>
                    <a:pt x="17170" y="10477"/>
                  </a:cubicBezTo>
                  <a:cubicBezTo>
                    <a:pt x="7543" y="16497"/>
                    <a:pt x="279" y="22085"/>
                    <a:pt x="0" y="21831"/>
                  </a:cubicBezTo>
                  <a:cubicBezTo>
                    <a:pt x="1282" y="20256"/>
                    <a:pt x="2781" y="18871"/>
                    <a:pt x="4457" y="17716"/>
                  </a:cubicBezTo>
                  <a:cubicBezTo>
                    <a:pt x="8267" y="14642"/>
                    <a:pt x="12255" y="11810"/>
                    <a:pt x="16408" y="9194"/>
                  </a:cubicBezTo>
                  <a:cubicBezTo>
                    <a:pt x="20535" y="6616"/>
                    <a:pt x="24828" y="4279"/>
                    <a:pt x="29235" y="2209"/>
                  </a:cubicBezTo>
                  <a:cubicBezTo>
                    <a:pt x="31013" y="1219"/>
                    <a:pt x="32905" y="482"/>
                    <a:pt x="3488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0" name="Free Form 3506">
              <a:extLst>
                <a:ext uri="{FF2B5EF4-FFF2-40B4-BE49-F238E27FC236}">
                  <a16:creationId xmlns:a16="http://schemas.microsoft.com/office/drawing/2014/main" id="{4FA27E6E-CF82-5F6B-F323-E46DA52A0EE6}"/>
                </a:ext>
              </a:extLst>
            </p:cNvPr>
            <p:cNvSpPr/>
            <p:nvPr/>
          </p:nvSpPr>
          <p:spPr>
            <a:xfrm>
              <a:off x="25246352" y="30792834"/>
              <a:ext cx="34213" cy="22568"/>
            </a:xfrm>
            <a:custGeom>
              <a:avLst/>
              <a:gdLst/>
              <a:ahLst/>
              <a:cxnLst/>
              <a:rect l="0" t="0" r="0" b="0"/>
              <a:pathLst>
                <a:path w="34213" h="22567">
                  <a:moveTo>
                    <a:pt x="34213" y="0"/>
                  </a:moveTo>
                  <a:cubicBezTo>
                    <a:pt x="28930" y="4356"/>
                    <a:pt x="23355" y="8331"/>
                    <a:pt x="17525" y="11899"/>
                  </a:cubicBezTo>
                  <a:cubicBezTo>
                    <a:pt x="11950" y="15874"/>
                    <a:pt x="6095" y="19443"/>
                    <a:pt x="0" y="22567"/>
                  </a:cubicBezTo>
                  <a:cubicBezTo>
                    <a:pt x="5295" y="18249"/>
                    <a:pt x="10871" y="14312"/>
                    <a:pt x="16725" y="10782"/>
                  </a:cubicBezTo>
                  <a:cubicBezTo>
                    <a:pt x="22288" y="6769"/>
                    <a:pt x="28130" y="3174"/>
                    <a:pt x="34213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1" name="Free Form 3507">
              <a:extLst>
                <a:ext uri="{FF2B5EF4-FFF2-40B4-BE49-F238E27FC236}">
                  <a16:creationId xmlns:a16="http://schemas.microsoft.com/office/drawing/2014/main" id="{9E81C90F-5EFE-C3F8-F8AC-2942BC8C9D00}"/>
                </a:ext>
              </a:extLst>
            </p:cNvPr>
            <p:cNvSpPr/>
            <p:nvPr/>
          </p:nvSpPr>
          <p:spPr>
            <a:xfrm>
              <a:off x="25262568" y="30790506"/>
              <a:ext cx="36309" cy="24079"/>
            </a:xfrm>
            <a:custGeom>
              <a:avLst/>
              <a:gdLst/>
              <a:ahLst/>
              <a:cxnLst/>
              <a:rect l="0" t="0" r="0" b="0"/>
              <a:pathLst>
                <a:path w="36308" h="24078">
                  <a:moveTo>
                    <a:pt x="36308" y="0"/>
                  </a:moveTo>
                  <a:cubicBezTo>
                    <a:pt x="30695" y="4635"/>
                    <a:pt x="24764" y="8889"/>
                    <a:pt x="18567" y="12712"/>
                  </a:cubicBezTo>
                  <a:cubicBezTo>
                    <a:pt x="12636" y="16916"/>
                    <a:pt x="6438" y="20713"/>
                    <a:pt x="0" y="24078"/>
                  </a:cubicBezTo>
                  <a:cubicBezTo>
                    <a:pt x="5626" y="19443"/>
                    <a:pt x="11556" y="15201"/>
                    <a:pt x="17741" y="11353"/>
                  </a:cubicBezTo>
                  <a:cubicBezTo>
                    <a:pt x="23672" y="7150"/>
                    <a:pt x="29870" y="3365"/>
                    <a:pt x="36308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2" name="Free Form 3508">
              <a:extLst>
                <a:ext uri="{FF2B5EF4-FFF2-40B4-BE49-F238E27FC236}">
                  <a16:creationId xmlns:a16="http://schemas.microsoft.com/office/drawing/2014/main" id="{CB65C753-04E9-F93D-1DAD-5450C0D7E64C}"/>
                </a:ext>
              </a:extLst>
            </p:cNvPr>
            <p:cNvSpPr/>
            <p:nvPr/>
          </p:nvSpPr>
          <p:spPr>
            <a:xfrm>
              <a:off x="25291471" y="30789824"/>
              <a:ext cx="30886" cy="24244"/>
            </a:xfrm>
            <a:custGeom>
              <a:avLst/>
              <a:gdLst/>
              <a:ahLst/>
              <a:cxnLst/>
              <a:rect l="0" t="0" r="0" b="0"/>
              <a:pathLst>
                <a:path w="30886" h="24244">
                  <a:moveTo>
                    <a:pt x="30657" y="0"/>
                  </a:moveTo>
                  <a:cubicBezTo>
                    <a:pt x="30886" y="368"/>
                    <a:pt x="23507" y="5029"/>
                    <a:pt x="15074" y="11645"/>
                  </a:cubicBezTo>
                  <a:cubicBezTo>
                    <a:pt x="6642" y="18249"/>
                    <a:pt x="304" y="24244"/>
                    <a:pt x="0" y="23939"/>
                  </a:cubicBezTo>
                  <a:cubicBezTo>
                    <a:pt x="1054" y="22326"/>
                    <a:pt x="2324" y="20878"/>
                    <a:pt x="3771" y="19621"/>
                  </a:cubicBezTo>
                  <a:cubicBezTo>
                    <a:pt x="7048" y="16357"/>
                    <a:pt x="10515" y="13309"/>
                    <a:pt x="14160" y="10477"/>
                  </a:cubicBezTo>
                  <a:cubicBezTo>
                    <a:pt x="17792" y="7632"/>
                    <a:pt x="21577" y="5003"/>
                    <a:pt x="25514" y="2616"/>
                  </a:cubicBezTo>
                  <a:cubicBezTo>
                    <a:pt x="27088" y="1485"/>
                    <a:pt x="28815" y="596"/>
                    <a:pt x="30657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3" name="Free Form 3509">
              <a:extLst>
                <a:ext uri="{FF2B5EF4-FFF2-40B4-BE49-F238E27FC236}">
                  <a16:creationId xmlns:a16="http://schemas.microsoft.com/office/drawing/2014/main" id="{2C89CC5D-17DF-EA94-9B55-FAC52DF9C013}"/>
                </a:ext>
              </a:extLst>
            </p:cNvPr>
            <p:cNvSpPr/>
            <p:nvPr/>
          </p:nvSpPr>
          <p:spPr>
            <a:xfrm>
              <a:off x="25304050" y="30791840"/>
              <a:ext cx="28638" cy="23990"/>
            </a:xfrm>
            <a:custGeom>
              <a:avLst/>
              <a:gdLst/>
              <a:ahLst/>
              <a:cxnLst/>
              <a:rect l="0" t="0" r="0" b="0"/>
              <a:pathLst>
                <a:path w="28638" h="23990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3990"/>
                    <a:pt x="0" y="23710"/>
                  </a:cubicBezTo>
                  <a:cubicBezTo>
                    <a:pt x="8051" y="14261"/>
                    <a:pt x="17652" y="624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4" name="Free Form 3510">
              <a:extLst>
                <a:ext uri="{FF2B5EF4-FFF2-40B4-BE49-F238E27FC236}">
                  <a16:creationId xmlns:a16="http://schemas.microsoft.com/office/drawing/2014/main" id="{A742DBFD-6DEE-F8BE-6F37-B120C45A1C84}"/>
                </a:ext>
              </a:extLst>
            </p:cNvPr>
            <p:cNvSpPr/>
            <p:nvPr/>
          </p:nvSpPr>
          <p:spPr>
            <a:xfrm>
              <a:off x="25326139" y="30791840"/>
              <a:ext cx="28638" cy="23990"/>
            </a:xfrm>
            <a:custGeom>
              <a:avLst/>
              <a:gdLst/>
              <a:ahLst/>
              <a:cxnLst/>
              <a:rect l="0" t="0" r="0" b="0"/>
              <a:pathLst>
                <a:path w="28638" h="23990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3990"/>
                    <a:pt x="0" y="23710"/>
                  </a:cubicBezTo>
                  <a:cubicBezTo>
                    <a:pt x="3860" y="18833"/>
                    <a:pt x="8305" y="14452"/>
                    <a:pt x="13220" y="10642"/>
                  </a:cubicBezTo>
                  <a:cubicBezTo>
                    <a:pt x="17817" y="6489"/>
                    <a:pt x="22910" y="290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5" name="Free Form 3511">
              <a:extLst>
                <a:ext uri="{FF2B5EF4-FFF2-40B4-BE49-F238E27FC236}">
                  <a16:creationId xmlns:a16="http://schemas.microsoft.com/office/drawing/2014/main" id="{667D846F-983A-7F73-59D0-2824622A4B7A}"/>
                </a:ext>
              </a:extLst>
            </p:cNvPr>
            <p:cNvSpPr/>
            <p:nvPr/>
          </p:nvSpPr>
          <p:spPr>
            <a:xfrm>
              <a:off x="25342774" y="30791840"/>
              <a:ext cx="28639" cy="23990"/>
            </a:xfrm>
            <a:custGeom>
              <a:avLst/>
              <a:gdLst/>
              <a:ahLst/>
              <a:cxnLst/>
              <a:rect l="0" t="0" r="0" b="0"/>
              <a:pathLst>
                <a:path w="28638" h="23990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3990"/>
                    <a:pt x="0" y="23710"/>
                  </a:cubicBezTo>
                  <a:cubicBezTo>
                    <a:pt x="3860" y="18833"/>
                    <a:pt x="8305" y="14452"/>
                    <a:pt x="13220" y="10642"/>
                  </a:cubicBezTo>
                  <a:cubicBezTo>
                    <a:pt x="17817" y="6489"/>
                    <a:pt x="22910" y="290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6" name="Free Form 3512">
              <a:extLst>
                <a:ext uri="{FF2B5EF4-FFF2-40B4-BE49-F238E27FC236}">
                  <a16:creationId xmlns:a16="http://schemas.microsoft.com/office/drawing/2014/main" id="{63E681CF-42A2-4518-5567-98025A366A72}"/>
                </a:ext>
              </a:extLst>
            </p:cNvPr>
            <p:cNvSpPr/>
            <p:nvPr/>
          </p:nvSpPr>
          <p:spPr>
            <a:xfrm>
              <a:off x="25351349" y="30791840"/>
              <a:ext cx="28613" cy="23990"/>
            </a:xfrm>
            <a:custGeom>
              <a:avLst/>
              <a:gdLst/>
              <a:ahLst/>
              <a:cxnLst/>
              <a:rect l="0" t="0" r="0" b="0"/>
              <a:pathLst>
                <a:path w="28612" h="23990">
                  <a:moveTo>
                    <a:pt x="28384" y="0"/>
                  </a:moveTo>
                  <a:cubicBezTo>
                    <a:pt x="28612" y="342"/>
                    <a:pt x="21945" y="5257"/>
                    <a:pt x="14185" y="11785"/>
                  </a:cubicBezTo>
                  <a:cubicBezTo>
                    <a:pt x="6438" y="18313"/>
                    <a:pt x="330" y="23990"/>
                    <a:pt x="0" y="23710"/>
                  </a:cubicBezTo>
                  <a:cubicBezTo>
                    <a:pt x="8051" y="14261"/>
                    <a:pt x="17652" y="624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7" name="Free Form 3513">
              <a:extLst>
                <a:ext uri="{FF2B5EF4-FFF2-40B4-BE49-F238E27FC236}">
                  <a16:creationId xmlns:a16="http://schemas.microsoft.com/office/drawing/2014/main" id="{F40FEED4-1967-FE16-2514-24AF8888A21F}"/>
                </a:ext>
              </a:extLst>
            </p:cNvPr>
            <p:cNvSpPr/>
            <p:nvPr/>
          </p:nvSpPr>
          <p:spPr>
            <a:xfrm>
              <a:off x="25381641" y="30790989"/>
              <a:ext cx="28638" cy="24015"/>
            </a:xfrm>
            <a:custGeom>
              <a:avLst/>
              <a:gdLst/>
              <a:ahLst/>
              <a:cxnLst/>
              <a:rect l="0" t="0" r="0" b="0"/>
              <a:pathLst>
                <a:path w="28638" h="24015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30" y="24015"/>
                    <a:pt x="0" y="23710"/>
                  </a:cubicBezTo>
                  <a:cubicBezTo>
                    <a:pt x="3848" y="18833"/>
                    <a:pt x="8293" y="14439"/>
                    <a:pt x="13220" y="10642"/>
                  </a:cubicBezTo>
                  <a:cubicBezTo>
                    <a:pt x="17817" y="6476"/>
                    <a:pt x="22910" y="290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8" name="Free Form 3514">
              <a:extLst>
                <a:ext uri="{FF2B5EF4-FFF2-40B4-BE49-F238E27FC236}">
                  <a16:creationId xmlns:a16="http://schemas.microsoft.com/office/drawing/2014/main" id="{0F625AE8-0AC0-B186-CCBC-8BC0550D8F5E}"/>
                </a:ext>
              </a:extLst>
            </p:cNvPr>
            <p:cNvSpPr/>
            <p:nvPr/>
          </p:nvSpPr>
          <p:spPr>
            <a:xfrm>
              <a:off x="25411934" y="30790138"/>
              <a:ext cx="28638" cy="24016"/>
            </a:xfrm>
            <a:custGeom>
              <a:avLst/>
              <a:gdLst/>
              <a:ahLst/>
              <a:cxnLst/>
              <a:rect l="0" t="0" r="0" b="0"/>
              <a:pathLst>
                <a:path w="28638" h="24015">
                  <a:moveTo>
                    <a:pt x="28384" y="0"/>
                  </a:moveTo>
                  <a:cubicBezTo>
                    <a:pt x="28638" y="368"/>
                    <a:pt x="21945" y="5245"/>
                    <a:pt x="14185" y="11810"/>
                  </a:cubicBezTo>
                  <a:cubicBezTo>
                    <a:pt x="6438" y="18364"/>
                    <a:pt x="304" y="24015"/>
                    <a:pt x="0" y="23710"/>
                  </a:cubicBezTo>
                  <a:cubicBezTo>
                    <a:pt x="3873" y="18846"/>
                    <a:pt x="8305" y="14477"/>
                    <a:pt x="13220" y="10667"/>
                  </a:cubicBezTo>
                  <a:cubicBezTo>
                    <a:pt x="17830" y="6515"/>
                    <a:pt x="22910" y="2933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9" name="Free Form 3515">
              <a:extLst>
                <a:ext uri="{FF2B5EF4-FFF2-40B4-BE49-F238E27FC236}">
                  <a16:creationId xmlns:a16="http://schemas.microsoft.com/office/drawing/2014/main" id="{708729B4-8699-24FF-8AFF-67C03152ABE3}"/>
                </a:ext>
              </a:extLst>
            </p:cNvPr>
            <p:cNvSpPr/>
            <p:nvPr/>
          </p:nvSpPr>
          <p:spPr>
            <a:xfrm>
              <a:off x="25442216" y="30789428"/>
              <a:ext cx="28651" cy="23990"/>
            </a:xfrm>
            <a:custGeom>
              <a:avLst/>
              <a:gdLst/>
              <a:ahLst/>
              <a:cxnLst/>
              <a:rect l="0" t="0" r="0" b="0"/>
              <a:pathLst>
                <a:path w="28650" h="23990">
                  <a:moveTo>
                    <a:pt x="28396" y="0"/>
                  </a:moveTo>
                  <a:cubicBezTo>
                    <a:pt x="28650" y="342"/>
                    <a:pt x="21958" y="5257"/>
                    <a:pt x="14198" y="11785"/>
                  </a:cubicBezTo>
                  <a:cubicBezTo>
                    <a:pt x="6451" y="18313"/>
                    <a:pt x="317" y="23990"/>
                    <a:pt x="0" y="23710"/>
                  </a:cubicBezTo>
                  <a:cubicBezTo>
                    <a:pt x="3873" y="18833"/>
                    <a:pt x="8318" y="14452"/>
                    <a:pt x="13233" y="10642"/>
                  </a:cubicBezTo>
                  <a:cubicBezTo>
                    <a:pt x="17830" y="6489"/>
                    <a:pt x="22923" y="2908"/>
                    <a:pt x="2839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0" name="Free Form 3516">
              <a:extLst>
                <a:ext uri="{FF2B5EF4-FFF2-40B4-BE49-F238E27FC236}">
                  <a16:creationId xmlns:a16="http://schemas.microsoft.com/office/drawing/2014/main" id="{650645A3-5730-C596-33CD-13A71D112125}"/>
                </a:ext>
              </a:extLst>
            </p:cNvPr>
            <p:cNvSpPr/>
            <p:nvPr/>
          </p:nvSpPr>
          <p:spPr>
            <a:xfrm>
              <a:off x="25472520" y="30788462"/>
              <a:ext cx="28638" cy="24015"/>
            </a:xfrm>
            <a:custGeom>
              <a:avLst/>
              <a:gdLst/>
              <a:ahLst/>
              <a:cxnLst/>
              <a:rect l="0" t="0" r="0" b="0"/>
              <a:pathLst>
                <a:path w="28638" h="24015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4015"/>
                    <a:pt x="0" y="23710"/>
                  </a:cubicBezTo>
                  <a:cubicBezTo>
                    <a:pt x="8051" y="14249"/>
                    <a:pt x="17652" y="6235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1" name="Free Form 3517">
              <a:extLst>
                <a:ext uri="{FF2B5EF4-FFF2-40B4-BE49-F238E27FC236}">
                  <a16:creationId xmlns:a16="http://schemas.microsoft.com/office/drawing/2014/main" id="{0F624EFE-74AA-6D44-4EC6-80BE52D5F671}"/>
                </a:ext>
              </a:extLst>
            </p:cNvPr>
            <p:cNvSpPr/>
            <p:nvPr/>
          </p:nvSpPr>
          <p:spPr>
            <a:xfrm>
              <a:off x="25207972" y="30038124"/>
              <a:ext cx="176109" cy="176097"/>
            </a:xfrm>
            <a:custGeom>
              <a:avLst/>
              <a:gdLst/>
              <a:ahLst/>
              <a:cxnLst/>
              <a:rect l="0" t="0" r="0" b="0"/>
              <a:pathLst>
                <a:path w="176109" h="176096">
                  <a:moveTo>
                    <a:pt x="44703" y="23939"/>
                  </a:moveTo>
                  <a:cubicBezTo>
                    <a:pt x="80110" y="0"/>
                    <a:pt x="128217" y="9283"/>
                    <a:pt x="152169" y="44690"/>
                  </a:cubicBezTo>
                  <a:cubicBezTo>
                    <a:pt x="176109" y="80098"/>
                    <a:pt x="166825" y="128205"/>
                    <a:pt x="131418" y="152157"/>
                  </a:cubicBezTo>
                  <a:cubicBezTo>
                    <a:pt x="96010" y="176096"/>
                    <a:pt x="47891" y="166812"/>
                    <a:pt x="23951" y="131405"/>
                  </a:cubicBezTo>
                  <a:cubicBezTo>
                    <a:pt x="0" y="95998"/>
                    <a:pt x="9296" y="47878"/>
                    <a:pt x="44703" y="23939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2" name="Free Form 3518">
              <a:extLst>
                <a:ext uri="{FF2B5EF4-FFF2-40B4-BE49-F238E27FC236}">
                  <a16:creationId xmlns:a16="http://schemas.microsoft.com/office/drawing/2014/main" id="{9397C1C5-CE7B-F237-E9E3-2CC7BC12F4C2}"/>
                </a:ext>
              </a:extLst>
            </p:cNvPr>
            <p:cNvSpPr/>
            <p:nvPr/>
          </p:nvSpPr>
          <p:spPr>
            <a:xfrm>
              <a:off x="25171230" y="30056637"/>
              <a:ext cx="170432" cy="317916"/>
            </a:xfrm>
            <a:custGeom>
              <a:avLst/>
              <a:gdLst/>
              <a:ahLst/>
              <a:cxnLst/>
              <a:rect l="0" t="0" r="0" b="0"/>
              <a:pathLst>
                <a:path w="170432" h="317915">
                  <a:moveTo>
                    <a:pt x="150302" y="0"/>
                  </a:moveTo>
                  <a:cubicBezTo>
                    <a:pt x="150302" y="0"/>
                    <a:pt x="163167" y="128128"/>
                    <a:pt x="164755" y="215173"/>
                  </a:cubicBezTo>
                  <a:lnTo>
                    <a:pt x="170432" y="317915"/>
                  </a:lnTo>
                  <a:cubicBezTo>
                    <a:pt x="170432" y="317915"/>
                    <a:pt x="110158" y="298751"/>
                    <a:pt x="49237" y="301596"/>
                  </a:cubicBezTo>
                  <a:lnTo>
                    <a:pt x="0" y="175397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3" name="Free Form 3519">
              <a:extLst>
                <a:ext uri="{FF2B5EF4-FFF2-40B4-BE49-F238E27FC236}">
                  <a16:creationId xmlns:a16="http://schemas.microsoft.com/office/drawing/2014/main" id="{16803550-9A0D-CB22-833C-68809C129ED9}"/>
                </a:ext>
              </a:extLst>
            </p:cNvPr>
            <p:cNvSpPr/>
            <p:nvPr/>
          </p:nvSpPr>
          <p:spPr>
            <a:xfrm>
              <a:off x="24963332" y="29897957"/>
              <a:ext cx="370556" cy="402472"/>
            </a:xfrm>
            <a:custGeom>
              <a:avLst/>
              <a:gdLst/>
              <a:ahLst/>
              <a:cxnLst/>
              <a:rect l="0" t="0" r="0" b="0"/>
              <a:pathLst>
                <a:path w="370556" h="402471">
                  <a:moveTo>
                    <a:pt x="17627" y="181023"/>
                  </a:moveTo>
                  <a:cubicBezTo>
                    <a:pt x="29273" y="127074"/>
                    <a:pt x="41185" y="71043"/>
                    <a:pt x="85050" y="37655"/>
                  </a:cubicBezTo>
                  <a:cubicBezTo>
                    <a:pt x="124153" y="7873"/>
                    <a:pt x="168298" y="0"/>
                    <a:pt x="217408" y="2844"/>
                  </a:cubicBezTo>
                  <a:cubicBezTo>
                    <a:pt x="241576" y="4178"/>
                    <a:pt x="268691" y="15735"/>
                    <a:pt x="289582" y="27939"/>
                  </a:cubicBezTo>
                  <a:cubicBezTo>
                    <a:pt x="318195" y="44690"/>
                    <a:pt x="329955" y="77989"/>
                    <a:pt x="343518" y="108317"/>
                  </a:cubicBezTo>
                  <a:cubicBezTo>
                    <a:pt x="370556" y="169009"/>
                    <a:pt x="365870" y="250606"/>
                    <a:pt x="346642" y="272983"/>
                  </a:cubicBezTo>
                  <a:lnTo>
                    <a:pt x="92747" y="402471"/>
                  </a:lnTo>
                  <a:cubicBezTo>
                    <a:pt x="48488" y="378621"/>
                    <a:pt x="18795" y="367356"/>
                    <a:pt x="7581" y="318322"/>
                  </a:cubicBezTo>
                  <a:cubicBezTo>
                    <a:pt x="0" y="284934"/>
                    <a:pt x="10388" y="214500"/>
                    <a:pt x="17627" y="18102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4" name="Free Form 3520">
              <a:extLst>
                <a:ext uri="{FF2B5EF4-FFF2-40B4-BE49-F238E27FC236}">
                  <a16:creationId xmlns:a16="http://schemas.microsoft.com/office/drawing/2014/main" id="{1126527B-7299-58FC-978E-5A8ADB1B7EC8}"/>
                </a:ext>
              </a:extLst>
            </p:cNvPr>
            <p:cNvSpPr/>
            <p:nvPr/>
          </p:nvSpPr>
          <p:spPr>
            <a:xfrm>
              <a:off x="25026839" y="29934218"/>
              <a:ext cx="285924" cy="536811"/>
            </a:xfrm>
            <a:custGeom>
              <a:avLst/>
              <a:gdLst/>
              <a:ahLst/>
              <a:cxnLst/>
              <a:rect l="0" t="0" r="0" b="0"/>
              <a:pathLst>
                <a:path w="285924" h="536810">
                  <a:moveTo>
                    <a:pt x="26288" y="51243"/>
                  </a:moveTo>
                  <a:lnTo>
                    <a:pt x="185532" y="6692"/>
                  </a:lnTo>
                  <a:cubicBezTo>
                    <a:pt x="236636" y="0"/>
                    <a:pt x="272437" y="62343"/>
                    <a:pt x="276984" y="113752"/>
                  </a:cubicBezTo>
                  <a:cubicBezTo>
                    <a:pt x="282025" y="170914"/>
                    <a:pt x="285924" y="240865"/>
                    <a:pt x="280209" y="283740"/>
                  </a:cubicBezTo>
                  <a:cubicBezTo>
                    <a:pt x="268856" y="369934"/>
                    <a:pt x="203185" y="382507"/>
                    <a:pt x="203185" y="382507"/>
                  </a:cubicBezTo>
                  <a:cubicBezTo>
                    <a:pt x="203185" y="382507"/>
                    <a:pt x="203020" y="383815"/>
                    <a:pt x="203185" y="409329"/>
                  </a:cubicBezTo>
                  <a:lnTo>
                    <a:pt x="204696" y="466745"/>
                  </a:lnTo>
                  <a:cubicBezTo>
                    <a:pt x="184821" y="536810"/>
                    <a:pt x="114095" y="529711"/>
                    <a:pt x="20472" y="417025"/>
                  </a:cubicBezTo>
                  <a:lnTo>
                    <a:pt x="1282" y="102856"/>
                  </a:lnTo>
                  <a:cubicBezTo>
                    <a:pt x="0" y="78180"/>
                    <a:pt x="10731" y="53288"/>
                    <a:pt x="26288" y="51243"/>
                  </a:cubicBezTo>
                  <a:close/>
                </a:path>
              </a:pathLst>
            </a:custGeom>
            <a:solidFill>
              <a:srgbClr val="EEAB8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5" name="Free Form 3521">
              <a:extLst>
                <a:ext uri="{FF2B5EF4-FFF2-40B4-BE49-F238E27FC236}">
                  <a16:creationId xmlns:a16="http://schemas.microsoft.com/office/drawing/2014/main" id="{3571F1A1-8111-1744-50B7-B56FCC0CF43C}"/>
                </a:ext>
              </a:extLst>
            </p:cNvPr>
            <p:cNvSpPr/>
            <p:nvPr/>
          </p:nvSpPr>
          <p:spPr>
            <a:xfrm>
              <a:off x="25267286" y="30108365"/>
              <a:ext cx="22314" cy="22212"/>
            </a:xfrm>
            <a:custGeom>
              <a:avLst/>
              <a:gdLst/>
              <a:ahLst/>
              <a:cxnLst/>
              <a:rect l="0" t="0" r="0" b="0"/>
              <a:pathLst>
                <a:path w="22313" h="22212">
                  <a:moveTo>
                    <a:pt x="22135" y="10248"/>
                  </a:moveTo>
                  <a:cubicBezTo>
                    <a:pt x="22313" y="16205"/>
                    <a:pt x="17729" y="21234"/>
                    <a:pt x="11772" y="21602"/>
                  </a:cubicBezTo>
                  <a:cubicBezTo>
                    <a:pt x="6007" y="22212"/>
                    <a:pt x="838" y="18033"/>
                    <a:pt x="215" y="12268"/>
                  </a:cubicBezTo>
                  <a:cubicBezTo>
                    <a:pt x="203" y="12166"/>
                    <a:pt x="203" y="12052"/>
                    <a:pt x="190" y="11950"/>
                  </a:cubicBezTo>
                  <a:cubicBezTo>
                    <a:pt x="0" y="5994"/>
                    <a:pt x="4571" y="965"/>
                    <a:pt x="10528" y="596"/>
                  </a:cubicBezTo>
                  <a:cubicBezTo>
                    <a:pt x="16332" y="0"/>
                    <a:pt x="21513" y="4216"/>
                    <a:pt x="22110" y="10020"/>
                  </a:cubicBezTo>
                  <a:cubicBezTo>
                    <a:pt x="22123" y="10096"/>
                    <a:pt x="22135" y="10172"/>
                    <a:pt x="22135" y="102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6" name="Free Form 3522">
              <a:extLst>
                <a:ext uri="{FF2B5EF4-FFF2-40B4-BE49-F238E27FC236}">
                  <a16:creationId xmlns:a16="http://schemas.microsoft.com/office/drawing/2014/main" id="{B28A8356-2E26-A9BA-BD47-E91312411613}"/>
                </a:ext>
              </a:extLst>
            </p:cNvPr>
            <p:cNvSpPr/>
            <p:nvPr/>
          </p:nvSpPr>
          <p:spPr>
            <a:xfrm>
              <a:off x="25245789" y="30088448"/>
              <a:ext cx="44679" cy="13385"/>
            </a:xfrm>
            <a:custGeom>
              <a:avLst/>
              <a:gdLst/>
              <a:ahLst/>
              <a:cxnLst/>
              <a:rect l="0" t="0" r="0" b="0"/>
              <a:pathLst>
                <a:path w="44678" h="13385">
                  <a:moveTo>
                    <a:pt x="44030" y="11086"/>
                  </a:moveTo>
                  <a:cubicBezTo>
                    <a:pt x="42696" y="12560"/>
                    <a:pt x="34200" y="6603"/>
                    <a:pt x="22339" y="6908"/>
                  </a:cubicBezTo>
                  <a:cubicBezTo>
                    <a:pt x="10477" y="7226"/>
                    <a:pt x="1955" y="13385"/>
                    <a:pt x="647" y="11963"/>
                  </a:cubicBezTo>
                  <a:cubicBezTo>
                    <a:pt x="0" y="11340"/>
                    <a:pt x="1333" y="8724"/>
                    <a:pt x="5054" y="5867"/>
                  </a:cubicBezTo>
                  <a:cubicBezTo>
                    <a:pt x="10096" y="2235"/>
                    <a:pt x="16154" y="253"/>
                    <a:pt x="22364" y="190"/>
                  </a:cubicBezTo>
                  <a:cubicBezTo>
                    <a:pt x="28523" y="0"/>
                    <a:pt x="34581" y="1790"/>
                    <a:pt x="39661" y="5295"/>
                  </a:cubicBezTo>
                  <a:cubicBezTo>
                    <a:pt x="43382" y="7848"/>
                    <a:pt x="44678" y="10439"/>
                    <a:pt x="44030" y="110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7" name="Free Form 3523">
              <a:extLst>
                <a:ext uri="{FF2B5EF4-FFF2-40B4-BE49-F238E27FC236}">
                  <a16:creationId xmlns:a16="http://schemas.microsoft.com/office/drawing/2014/main" id="{661A14CE-EE6B-F896-47E0-8A01B6A1E64E}"/>
                </a:ext>
              </a:extLst>
            </p:cNvPr>
            <p:cNvSpPr/>
            <p:nvPr/>
          </p:nvSpPr>
          <p:spPr>
            <a:xfrm>
              <a:off x="25155270" y="30108352"/>
              <a:ext cx="22339" cy="22225"/>
            </a:xfrm>
            <a:custGeom>
              <a:avLst/>
              <a:gdLst/>
              <a:ahLst/>
              <a:cxnLst/>
              <a:rect l="0" t="0" r="0" b="0"/>
              <a:pathLst>
                <a:path w="22339" h="22224">
                  <a:moveTo>
                    <a:pt x="22123" y="10261"/>
                  </a:moveTo>
                  <a:cubicBezTo>
                    <a:pt x="22339" y="16230"/>
                    <a:pt x="17741" y="21272"/>
                    <a:pt x="11785" y="21615"/>
                  </a:cubicBezTo>
                  <a:cubicBezTo>
                    <a:pt x="6019" y="22224"/>
                    <a:pt x="850" y="18046"/>
                    <a:pt x="228" y="12280"/>
                  </a:cubicBezTo>
                  <a:cubicBezTo>
                    <a:pt x="228" y="12179"/>
                    <a:pt x="215" y="12064"/>
                    <a:pt x="203" y="11963"/>
                  </a:cubicBezTo>
                  <a:cubicBezTo>
                    <a:pt x="0" y="6007"/>
                    <a:pt x="4584" y="965"/>
                    <a:pt x="10540" y="609"/>
                  </a:cubicBezTo>
                  <a:cubicBezTo>
                    <a:pt x="16306" y="0"/>
                    <a:pt x="21488" y="4178"/>
                    <a:pt x="22097" y="9943"/>
                  </a:cubicBezTo>
                  <a:cubicBezTo>
                    <a:pt x="22110" y="10045"/>
                    <a:pt x="22110" y="10159"/>
                    <a:pt x="22123" y="1026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8" name="Free Form 3524">
              <a:extLst>
                <a:ext uri="{FF2B5EF4-FFF2-40B4-BE49-F238E27FC236}">
                  <a16:creationId xmlns:a16="http://schemas.microsoft.com/office/drawing/2014/main" id="{4A2A8608-BAB6-3429-3285-D94ECA7312BF}"/>
                </a:ext>
              </a:extLst>
            </p:cNvPr>
            <p:cNvSpPr/>
            <p:nvPr/>
          </p:nvSpPr>
          <p:spPr>
            <a:xfrm>
              <a:off x="25129274" y="30088194"/>
              <a:ext cx="44679" cy="13385"/>
            </a:xfrm>
            <a:custGeom>
              <a:avLst/>
              <a:gdLst/>
              <a:ahLst/>
              <a:cxnLst/>
              <a:rect l="0" t="0" r="0" b="0"/>
              <a:pathLst>
                <a:path w="44678" h="13385">
                  <a:moveTo>
                    <a:pt x="44030" y="11086"/>
                  </a:moveTo>
                  <a:cubicBezTo>
                    <a:pt x="42696" y="12560"/>
                    <a:pt x="34175" y="6603"/>
                    <a:pt x="22339" y="6908"/>
                  </a:cubicBezTo>
                  <a:cubicBezTo>
                    <a:pt x="10502" y="7226"/>
                    <a:pt x="1955" y="13385"/>
                    <a:pt x="647" y="11963"/>
                  </a:cubicBezTo>
                  <a:cubicBezTo>
                    <a:pt x="0" y="11340"/>
                    <a:pt x="1308" y="8724"/>
                    <a:pt x="5054" y="5867"/>
                  </a:cubicBezTo>
                  <a:cubicBezTo>
                    <a:pt x="10096" y="2222"/>
                    <a:pt x="16141" y="241"/>
                    <a:pt x="22364" y="177"/>
                  </a:cubicBezTo>
                  <a:cubicBezTo>
                    <a:pt x="28523" y="0"/>
                    <a:pt x="34581" y="1790"/>
                    <a:pt x="39661" y="5295"/>
                  </a:cubicBezTo>
                  <a:cubicBezTo>
                    <a:pt x="43382" y="7848"/>
                    <a:pt x="44678" y="10426"/>
                    <a:pt x="44030" y="110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9" name="Free Form 3525">
              <a:extLst>
                <a:ext uri="{FF2B5EF4-FFF2-40B4-BE49-F238E27FC236}">
                  <a16:creationId xmlns:a16="http://schemas.microsoft.com/office/drawing/2014/main" id="{14B7722D-B59D-9B6C-C69D-EC061C049F57}"/>
                </a:ext>
              </a:extLst>
            </p:cNvPr>
            <p:cNvSpPr/>
            <p:nvPr/>
          </p:nvSpPr>
          <p:spPr>
            <a:xfrm>
              <a:off x="25209138" y="30078013"/>
              <a:ext cx="40106" cy="99364"/>
            </a:xfrm>
            <a:custGeom>
              <a:avLst/>
              <a:gdLst/>
              <a:ahLst/>
              <a:cxnLst/>
              <a:rect l="0" t="0" r="0" b="0"/>
              <a:pathLst>
                <a:path w="40106" h="99363">
                  <a:moveTo>
                    <a:pt x="9194" y="98716"/>
                  </a:moveTo>
                  <a:cubicBezTo>
                    <a:pt x="9194" y="98030"/>
                    <a:pt x="16459" y="96582"/>
                    <a:pt x="28358" y="94740"/>
                  </a:cubicBezTo>
                  <a:cubicBezTo>
                    <a:pt x="31368" y="94372"/>
                    <a:pt x="34238" y="93686"/>
                    <a:pt x="34683" y="91616"/>
                  </a:cubicBezTo>
                  <a:cubicBezTo>
                    <a:pt x="35140" y="89546"/>
                    <a:pt x="34010" y="86168"/>
                    <a:pt x="32448" y="82701"/>
                  </a:cubicBezTo>
                  <a:lnTo>
                    <a:pt x="22910" y="59994"/>
                  </a:lnTo>
                  <a:cubicBezTo>
                    <a:pt x="9651" y="27482"/>
                    <a:pt x="0" y="736"/>
                    <a:pt x="1308" y="368"/>
                  </a:cubicBezTo>
                  <a:cubicBezTo>
                    <a:pt x="2603" y="0"/>
                    <a:pt x="14414" y="25755"/>
                    <a:pt x="27673" y="58254"/>
                  </a:cubicBezTo>
                  <a:cubicBezTo>
                    <a:pt x="30860" y="66267"/>
                    <a:pt x="33921" y="73900"/>
                    <a:pt x="36816" y="81228"/>
                  </a:cubicBezTo>
                  <a:cubicBezTo>
                    <a:pt x="38074" y="84631"/>
                    <a:pt x="40106" y="88467"/>
                    <a:pt x="38696" y="93039"/>
                  </a:cubicBezTo>
                  <a:cubicBezTo>
                    <a:pt x="37870" y="95223"/>
                    <a:pt x="36080" y="96912"/>
                    <a:pt x="33832" y="97611"/>
                  </a:cubicBezTo>
                  <a:cubicBezTo>
                    <a:pt x="32168" y="98093"/>
                    <a:pt x="30441" y="98373"/>
                    <a:pt x="28701" y="98436"/>
                  </a:cubicBezTo>
                  <a:cubicBezTo>
                    <a:pt x="16713" y="99147"/>
                    <a:pt x="9258" y="99363"/>
                    <a:pt x="9194" y="9871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0" name="Free Form 3526">
              <a:extLst>
                <a:ext uri="{FF2B5EF4-FFF2-40B4-BE49-F238E27FC236}">
                  <a16:creationId xmlns:a16="http://schemas.microsoft.com/office/drawing/2014/main" id="{6CF40509-F135-6876-90EE-D53F6D756435}"/>
                </a:ext>
              </a:extLst>
            </p:cNvPr>
            <p:cNvSpPr/>
            <p:nvPr/>
          </p:nvSpPr>
          <p:spPr>
            <a:xfrm>
              <a:off x="25114282" y="30288962"/>
              <a:ext cx="115747" cy="59359"/>
            </a:xfrm>
            <a:custGeom>
              <a:avLst/>
              <a:gdLst/>
              <a:ahLst/>
              <a:cxnLst/>
              <a:rect l="0" t="0" r="0" b="0"/>
              <a:pathLst>
                <a:path w="115746" h="59359">
                  <a:moveTo>
                    <a:pt x="115746" y="27761"/>
                  </a:moveTo>
                  <a:cubicBezTo>
                    <a:pt x="75335" y="29400"/>
                    <a:pt x="35267" y="19799"/>
                    <a:pt x="0" y="0"/>
                  </a:cubicBezTo>
                  <a:cubicBezTo>
                    <a:pt x="0" y="0"/>
                    <a:pt x="29920" y="59359"/>
                    <a:pt x="115657" y="49173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1" name="Free Form 3527">
              <a:extLst>
                <a:ext uri="{FF2B5EF4-FFF2-40B4-BE49-F238E27FC236}">
                  <a16:creationId xmlns:a16="http://schemas.microsoft.com/office/drawing/2014/main" id="{E0837300-4752-ED19-CD52-2D740281A78D}"/>
                </a:ext>
              </a:extLst>
            </p:cNvPr>
            <p:cNvSpPr/>
            <p:nvPr/>
          </p:nvSpPr>
          <p:spPr>
            <a:xfrm>
              <a:off x="25176307" y="30189956"/>
              <a:ext cx="43840" cy="38265"/>
            </a:xfrm>
            <a:custGeom>
              <a:avLst/>
              <a:gdLst/>
              <a:ahLst/>
              <a:cxnLst/>
              <a:rect l="0" t="0" r="0" b="0"/>
              <a:pathLst>
                <a:path w="43839" h="38264">
                  <a:moveTo>
                    <a:pt x="3441" y="9855"/>
                  </a:moveTo>
                  <a:cubicBezTo>
                    <a:pt x="6807" y="4419"/>
                    <a:pt x="12674" y="1041"/>
                    <a:pt x="19062" y="850"/>
                  </a:cubicBezTo>
                  <a:cubicBezTo>
                    <a:pt x="27990" y="0"/>
                    <a:pt x="36689" y="4051"/>
                    <a:pt x="41769" y="11442"/>
                  </a:cubicBezTo>
                  <a:cubicBezTo>
                    <a:pt x="43839" y="13830"/>
                    <a:pt x="43839" y="20637"/>
                    <a:pt x="43052" y="22542"/>
                  </a:cubicBezTo>
                  <a:cubicBezTo>
                    <a:pt x="42252" y="24447"/>
                    <a:pt x="43052" y="23507"/>
                    <a:pt x="41452" y="24840"/>
                  </a:cubicBezTo>
                  <a:cubicBezTo>
                    <a:pt x="36296" y="29641"/>
                    <a:pt x="30809" y="34467"/>
                    <a:pt x="24028" y="36207"/>
                  </a:cubicBezTo>
                  <a:cubicBezTo>
                    <a:pt x="16649" y="38264"/>
                    <a:pt x="8762" y="35597"/>
                    <a:pt x="4152" y="29476"/>
                  </a:cubicBezTo>
                  <a:cubicBezTo>
                    <a:pt x="279" y="23570"/>
                    <a:pt x="0" y="16014"/>
                    <a:pt x="3441" y="9855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2" name="Free Form 3528">
              <a:extLst>
                <a:ext uri="{FF2B5EF4-FFF2-40B4-BE49-F238E27FC236}">
                  <a16:creationId xmlns:a16="http://schemas.microsoft.com/office/drawing/2014/main" id="{54D312D6-6F5F-2786-3D09-7039F8487BD5}"/>
                </a:ext>
              </a:extLst>
            </p:cNvPr>
            <p:cNvSpPr/>
            <p:nvPr/>
          </p:nvSpPr>
          <p:spPr>
            <a:xfrm>
              <a:off x="25179328" y="30186103"/>
              <a:ext cx="41135" cy="33579"/>
            </a:xfrm>
            <a:custGeom>
              <a:avLst/>
              <a:gdLst/>
              <a:ahLst/>
              <a:cxnLst/>
              <a:rect l="0" t="0" r="0" b="0"/>
              <a:pathLst>
                <a:path w="41134" h="33578">
                  <a:moveTo>
                    <a:pt x="2209" y="165"/>
                  </a:moveTo>
                  <a:cubicBezTo>
                    <a:pt x="4140" y="0"/>
                    <a:pt x="4571" y="12852"/>
                    <a:pt x="15836" y="21653"/>
                  </a:cubicBezTo>
                  <a:cubicBezTo>
                    <a:pt x="27114" y="30454"/>
                    <a:pt x="40766" y="28587"/>
                    <a:pt x="40931" y="30403"/>
                  </a:cubicBezTo>
                  <a:cubicBezTo>
                    <a:pt x="41134" y="31190"/>
                    <a:pt x="38099" y="32981"/>
                    <a:pt x="32194" y="33235"/>
                  </a:cubicBezTo>
                  <a:cubicBezTo>
                    <a:pt x="24650" y="33578"/>
                    <a:pt x="17246" y="31254"/>
                    <a:pt x="11264" y="26657"/>
                  </a:cubicBezTo>
                  <a:cubicBezTo>
                    <a:pt x="5524" y="22250"/>
                    <a:pt x="1714" y="15785"/>
                    <a:pt x="647" y="8623"/>
                  </a:cubicBezTo>
                  <a:cubicBezTo>
                    <a:pt x="0" y="3340"/>
                    <a:pt x="1409" y="114"/>
                    <a:pt x="2209" y="16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3" name="Free Form 3529">
              <a:extLst>
                <a:ext uri="{FF2B5EF4-FFF2-40B4-BE49-F238E27FC236}">
                  <a16:creationId xmlns:a16="http://schemas.microsoft.com/office/drawing/2014/main" id="{D8782764-1956-AFAD-FD19-87369A7657DD}"/>
                </a:ext>
              </a:extLst>
            </p:cNvPr>
            <p:cNvSpPr/>
            <p:nvPr/>
          </p:nvSpPr>
          <p:spPr>
            <a:xfrm>
              <a:off x="25124221" y="30046828"/>
              <a:ext cx="54559" cy="22364"/>
            </a:xfrm>
            <a:custGeom>
              <a:avLst/>
              <a:gdLst/>
              <a:ahLst/>
              <a:cxnLst/>
              <a:rect l="0" t="0" r="0" b="0"/>
              <a:pathLst>
                <a:path w="54558" h="22364">
                  <a:moveTo>
                    <a:pt x="54164" y="9156"/>
                  </a:moveTo>
                  <a:cubicBezTo>
                    <a:pt x="53288" y="12471"/>
                    <a:pt x="41363" y="12001"/>
                    <a:pt x="27647" y="14833"/>
                  </a:cubicBezTo>
                  <a:cubicBezTo>
                    <a:pt x="13931" y="17678"/>
                    <a:pt x="3035" y="22364"/>
                    <a:pt x="927" y="19633"/>
                  </a:cubicBezTo>
                  <a:cubicBezTo>
                    <a:pt x="0" y="18325"/>
                    <a:pt x="1701" y="15112"/>
                    <a:pt x="5956" y="11658"/>
                  </a:cubicBezTo>
                  <a:cubicBezTo>
                    <a:pt x="17551" y="2920"/>
                    <a:pt x="32511" y="0"/>
                    <a:pt x="46532" y="3733"/>
                  </a:cubicBezTo>
                  <a:cubicBezTo>
                    <a:pt x="51777" y="5295"/>
                    <a:pt x="54558" y="7594"/>
                    <a:pt x="54164" y="915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4" name="Free Form 3530">
              <a:extLst>
                <a:ext uri="{FF2B5EF4-FFF2-40B4-BE49-F238E27FC236}">
                  <a16:creationId xmlns:a16="http://schemas.microsoft.com/office/drawing/2014/main" id="{3505E62E-BE7D-6189-525A-6F31FAADFCF7}"/>
                </a:ext>
              </a:extLst>
            </p:cNvPr>
            <p:cNvSpPr/>
            <p:nvPr/>
          </p:nvSpPr>
          <p:spPr>
            <a:xfrm>
              <a:off x="25244514" y="30050902"/>
              <a:ext cx="45987" cy="19024"/>
            </a:xfrm>
            <a:custGeom>
              <a:avLst/>
              <a:gdLst/>
              <a:ahLst/>
              <a:cxnLst/>
              <a:rect l="0" t="0" r="0" b="0"/>
              <a:pathLst>
                <a:path w="45986" h="19024">
                  <a:moveTo>
                    <a:pt x="44767" y="16751"/>
                  </a:moveTo>
                  <a:cubicBezTo>
                    <a:pt x="41922" y="19024"/>
                    <a:pt x="33413" y="14846"/>
                    <a:pt x="22681" y="12979"/>
                  </a:cubicBezTo>
                  <a:cubicBezTo>
                    <a:pt x="11950" y="11099"/>
                    <a:pt x="2374" y="11582"/>
                    <a:pt x="711" y="8458"/>
                  </a:cubicBezTo>
                  <a:cubicBezTo>
                    <a:pt x="0" y="6984"/>
                    <a:pt x="1866" y="4546"/>
                    <a:pt x="6388" y="2781"/>
                  </a:cubicBezTo>
                  <a:cubicBezTo>
                    <a:pt x="12356" y="533"/>
                    <a:pt x="18833" y="0"/>
                    <a:pt x="25094" y="1282"/>
                  </a:cubicBezTo>
                  <a:cubicBezTo>
                    <a:pt x="31368" y="2336"/>
                    <a:pt x="37197" y="5168"/>
                    <a:pt x="41896" y="9448"/>
                  </a:cubicBezTo>
                  <a:cubicBezTo>
                    <a:pt x="45198" y="12661"/>
                    <a:pt x="45986" y="15620"/>
                    <a:pt x="44767" y="1675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5" name="Free Form 3531">
              <a:extLst>
                <a:ext uri="{FF2B5EF4-FFF2-40B4-BE49-F238E27FC236}">
                  <a16:creationId xmlns:a16="http://schemas.microsoft.com/office/drawing/2014/main" id="{20B71ECD-7B88-DCAC-007C-B65DF65CF6D3}"/>
                </a:ext>
              </a:extLst>
            </p:cNvPr>
            <p:cNvSpPr/>
            <p:nvPr/>
          </p:nvSpPr>
          <p:spPr>
            <a:xfrm>
              <a:off x="25210297" y="29931634"/>
              <a:ext cx="368" cy="1866"/>
            </a:xfrm>
            <a:custGeom>
              <a:avLst/>
              <a:gdLst/>
              <a:ahLst/>
              <a:cxnLst/>
              <a:rect l="0" t="0" r="0" b="0"/>
              <a:pathLst>
                <a:path w="368" h="1866">
                  <a:moveTo>
                    <a:pt x="0" y="0"/>
                  </a:moveTo>
                  <a:cubicBezTo>
                    <a:pt x="139" y="622"/>
                    <a:pt x="228" y="1244"/>
                    <a:pt x="368" y="1866"/>
                  </a:cubicBezTo>
                  <a:lnTo>
                    <a:pt x="63" y="1866"/>
                  </a:lnTo>
                  <a:cubicBezTo>
                    <a:pt x="63" y="1333"/>
                    <a:pt x="25" y="685"/>
                    <a:pt x="0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6" name="Free Form 3532">
              <a:extLst>
                <a:ext uri="{FF2B5EF4-FFF2-40B4-BE49-F238E27FC236}">
                  <a16:creationId xmlns:a16="http://schemas.microsoft.com/office/drawing/2014/main" id="{F6942C2C-4AF9-6435-F594-A7F3970E2226}"/>
                </a:ext>
              </a:extLst>
            </p:cNvPr>
            <p:cNvSpPr/>
            <p:nvPr/>
          </p:nvSpPr>
          <p:spPr>
            <a:xfrm>
              <a:off x="24924751" y="29913745"/>
              <a:ext cx="399766" cy="575049"/>
            </a:xfrm>
            <a:custGeom>
              <a:avLst/>
              <a:gdLst/>
              <a:ahLst/>
              <a:cxnLst/>
              <a:rect l="0" t="0" r="0" b="0"/>
              <a:pathLst>
                <a:path w="399766" h="575049">
                  <a:moveTo>
                    <a:pt x="118070" y="435173"/>
                  </a:moveTo>
                  <a:cubicBezTo>
                    <a:pt x="119518" y="435910"/>
                    <a:pt x="122642" y="523894"/>
                    <a:pt x="134059" y="561626"/>
                  </a:cubicBezTo>
                  <a:cubicBezTo>
                    <a:pt x="138111" y="575049"/>
                    <a:pt x="180896" y="574859"/>
                    <a:pt x="180896" y="574859"/>
                  </a:cubicBezTo>
                  <a:cubicBezTo>
                    <a:pt x="185926" y="574859"/>
                    <a:pt x="175905" y="406014"/>
                    <a:pt x="173657" y="368169"/>
                  </a:cubicBezTo>
                  <a:cubicBezTo>
                    <a:pt x="172210" y="344204"/>
                    <a:pt x="144930" y="309406"/>
                    <a:pt x="138911" y="286153"/>
                  </a:cubicBezTo>
                  <a:cubicBezTo>
                    <a:pt x="129310" y="248955"/>
                    <a:pt x="143597" y="225879"/>
                    <a:pt x="149248" y="187665"/>
                  </a:cubicBezTo>
                  <a:cubicBezTo>
                    <a:pt x="170762" y="185303"/>
                    <a:pt x="202308" y="170800"/>
                    <a:pt x="216837" y="154328"/>
                  </a:cubicBezTo>
                  <a:cubicBezTo>
                    <a:pt x="234325" y="134466"/>
                    <a:pt x="245094" y="109790"/>
                    <a:pt x="255597" y="85520"/>
                  </a:cubicBezTo>
                  <a:cubicBezTo>
                    <a:pt x="254594" y="109625"/>
                    <a:pt x="246097" y="132827"/>
                    <a:pt x="231289" y="151890"/>
                  </a:cubicBezTo>
                  <a:cubicBezTo>
                    <a:pt x="240776" y="154023"/>
                    <a:pt x="250911" y="150074"/>
                    <a:pt x="258150" y="143571"/>
                  </a:cubicBezTo>
                  <a:cubicBezTo>
                    <a:pt x="265135" y="136739"/>
                    <a:pt x="270596" y="128509"/>
                    <a:pt x="274190" y="119416"/>
                  </a:cubicBezTo>
                  <a:cubicBezTo>
                    <a:pt x="283791" y="97814"/>
                    <a:pt x="289290" y="74611"/>
                    <a:pt x="290369" y="50989"/>
                  </a:cubicBezTo>
                  <a:cubicBezTo>
                    <a:pt x="293112" y="84860"/>
                    <a:pt x="288807" y="118934"/>
                    <a:pt x="277746" y="151064"/>
                  </a:cubicBezTo>
                  <a:cubicBezTo>
                    <a:pt x="283791" y="149312"/>
                    <a:pt x="290179" y="151064"/>
                    <a:pt x="296389" y="152068"/>
                  </a:cubicBezTo>
                  <a:cubicBezTo>
                    <a:pt x="302612" y="153058"/>
                    <a:pt x="309736" y="152969"/>
                    <a:pt x="314194" y="148537"/>
                  </a:cubicBezTo>
                  <a:cubicBezTo>
                    <a:pt x="316912" y="145311"/>
                    <a:pt x="318652" y="141374"/>
                    <a:pt x="319223" y="137183"/>
                  </a:cubicBezTo>
                  <a:cubicBezTo>
                    <a:pt x="325548" y="108533"/>
                    <a:pt x="326945" y="79005"/>
                    <a:pt x="323338" y="49885"/>
                  </a:cubicBezTo>
                  <a:cubicBezTo>
                    <a:pt x="330742" y="65670"/>
                    <a:pt x="338133" y="81622"/>
                    <a:pt x="342324" y="98576"/>
                  </a:cubicBezTo>
                  <a:cubicBezTo>
                    <a:pt x="346528" y="115517"/>
                    <a:pt x="347404" y="133640"/>
                    <a:pt x="341956" y="150213"/>
                  </a:cubicBezTo>
                  <a:cubicBezTo>
                    <a:pt x="344369" y="153401"/>
                    <a:pt x="349627" y="153058"/>
                    <a:pt x="352611" y="150213"/>
                  </a:cubicBezTo>
                  <a:cubicBezTo>
                    <a:pt x="355354" y="147280"/>
                    <a:pt x="357056" y="143521"/>
                    <a:pt x="357437" y="139508"/>
                  </a:cubicBezTo>
                  <a:cubicBezTo>
                    <a:pt x="359901" y="125119"/>
                    <a:pt x="357437" y="110387"/>
                    <a:pt x="355215" y="95985"/>
                  </a:cubicBezTo>
                  <a:cubicBezTo>
                    <a:pt x="363597" y="111327"/>
                    <a:pt x="366175" y="129005"/>
                    <a:pt x="370696" y="145896"/>
                  </a:cubicBezTo>
                  <a:cubicBezTo>
                    <a:pt x="375204" y="162799"/>
                    <a:pt x="382507" y="180109"/>
                    <a:pt x="396985" y="189913"/>
                  </a:cubicBezTo>
                  <a:cubicBezTo>
                    <a:pt x="399766" y="167993"/>
                    <a:pt x="399359" y="145781"/>
                    <a:pt x="395791" y="123988"/>
                  </a:cubicBezTo>
                  <a:cubicBezTo>
                    <a:pt x="393149" y="105954"/>
                    <a:pt x="384856" y="87984"/>
                    <a:pt x="377224" y="71436"/>
                  </a:cubicBezTo>
                  <a:cubicBezTo>
                    <a:pt x="368702" y="52920"/>
                    <a:pt x="356637" y="34721"/>
                    <a:pt x="343150" y="22516"/>
                  </a:cubicBezTo>
                  <a:cubicBezTo>
                    <a:pt x="318195" y="0"/>
                    <a:pt x="307463" y="9397"/>
                    <a:pt x="291195" y="17602"/>
                  </a:cubicBezTo>
                  <a:lnTo>
                    <a:pt x="289290" y="18376"/>
                  </a:lnTo>
                  <a:lnTo>
                    <a:pt x="289290" y="17182"/>
                  </a:lnTo>
                  <a:lnTo>
                    <a:pt x="288617" y="13741"/>
                  </a:lnTo>
                  <a:cubicBezTo>
                    <a:pt x="246428" y="3657"/>
                    <a:pt x="202296" y="5092"/>
                    <a:pt x="160856" y="17894"/>
                  </a:cubicBezTo>
                  <a:cubicBezTo>
                    <a:pt x="130275" y="27368"/>
                    <a:pt x="92378" y="58152"/>
                    <a:pt x="76478" y="86028"/>
                  </a:cubicBezTo>
                  <a:cubicBezTo>
                    <a:pt x="76199" y="86536"/>
                    <a:pt x="75856" y="87044"/>
                    <a:pt x="75564" y="87616"/>
                  </a:cubicBezTo>
                  <a:cubicBezTo>
                    <a:pt x="41503" y="155408"/>
                    <a:pt x="0" y="321662"/>
                    <a:pt x="2692" y="456471"/>
                  </a:cubicBezTo>
                  <a:lnTo>
                    <a:pt x="43598" y="448914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7" name="Free Form 3533">
              <a:extLst>
                <a:ext uri="{FF2B5EF4-FFF2-40B4-BE49-F238E27FC236}">
                  <a16:creationId xmlns:a16="http://schemas.microsoft.com/office/drawing/2014/main" id="{B13438B5-5404-8219-5E4B-96578F95CC52}"/>
                </a:ext>
              </a:extLst>
            </p:cNvPr>
            <p:cNvSpPr/>
            <p:nvPr/>
          </p:nvSpPr>
          <p:spPr>
            <a:xfrm>
              <a:off x="24925707" y="30060747"/>
              <a:ext cx="169899" cy="169899"/>
            </a:xfrm>
            <a:custGeom>
              <a:avLst/>
              <a:gdLst/>
              <a:ahLst/>
              <a:cxnLst/>
              <a:rect l="0" t="0" r="0" b="0"/>
              <a:pathLst>
                <a:path w="169898" h="169898">
                  <a:moveTo>
                    <a:pt x="30225" y="30225"/>
                  </a:moveTo>
                  <a:cubicBezTo>
                    <a:pt x="60451" y="0"/>
                    <a:pt x="109447" y="0"/>
                    <a:pt x="139673" y="30225"/>
                  </a:cubicBezTo>
                  <a:cubicBezTo>
                    <a:pt x="169898" y="60451"/>
                    <a:pt x="169898" y="109447"/>
                    <a:pt x="139673" y="139673"/>
                  </a:cubicBezTo>
                  <a:cubicBezTo>
                    <a:pt x="109447" y="169898"/>
                    <a:pt x="60451" y="169898"/>
                    <a:pt x="30225" y="139673"/>
                  </a:cubicBezTo>
                  <a:cubicBezTo>
                    <a:pt x="0" y="109447"/>
                    <a:pt x="0" y="60451"/>
                    <a:pt x="30225" y="30225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8" name="Free Form 3534">
              <a:extLst>
                <a:ext uri="{FF2B5EF4-FFF2-40B4-BE49-F238E27FC236}">
                  <a16:creationId xmlns:a16="http://schemas.microsoft.com/office/drawing/2014/main" id="{85550DC6-BC15-5CAB-DBBE-0BB8380F7DCC}"/>
                </a:ext>
              </a:extLst>
            </p:cNvPr>
            <p:cNvSpPr/>
            <p:nvPr/>
          </p:nvSpPr>
          <p:spPr>
            <a:xfrm>
              <a:off x="25009263" y="29882176"/>
              <a:ext cx="225359" cy="214514"/>
            </a:xfrm>
            <a:custGeom>
              <a:avLst/>
              <a:gdLst/>
              <a:ahLst/>
              <a:cxnLst/>
              <a:rect l="0" t="0" r="0" b="0"/>
              <a:pathLst>
                <a:path w="225359" h="214513">
                  <a:moveTo>
                    <a:pt x="0" y="186129"/>
                  </a:moveTo>
                  <a:cubicBezTo>
                    <a:pt x="0" y="186129"/>
                    <a:pt x="3809" y="26453"/>
                    <a:pt x="144308" y="5676"/>
                  </a:cubicBezTo>
                  <a:cubicBezTo>
                    <a:pt x="144308" y="5676"/>
                    <a:pt x="215656" y="0"/>
                    <a:pt x="225359" y="34073"/>
                  </a:cubicBezTo>
                  <a:cubicBezTo>
                    <a:pt x="225359" y="34073"/>
                    <a:pt x="188770" y="14198"/>
                    <a:pt x="152372" y="23736"/>
                  </a:cubicBezTo>
                  <a:cubicBezTo>
                    <a:pt x="128382" y="30009"/>
                    <a:pt x="40791" y="68909"/>
                    <a:pt x="36677" y="198930"/>
                  </a:cubicBezTo>
                  <a:lnTo>
                    <a:pt x="507" y="214513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9" name="Free Form 3535">
              <a:extLst>
                <a:ext uri="{FF2B5EF4-FFF2-40B4-BE49-F238E27FC236}">
                  <a16:creationId xmlns:a16="http://schemas.microsoft.com/office/drawing/2014/main" id="{792E009E-E37D-8C3A-20D1-D2DE380D59C0}"/>
                </a:ext>
              </a:extLst>
            </p:cNvPr>
            <p:cNvSpPr/>
            <p:nvPr/>
          </p:nvSpPr>
          <p:spPr>
            <a:xfrm>
              <a:off x="24950219" y="30087081"/>
              <a:ext cx="115328" cy="117436"/>
            </a:xfrm>
            <a:custGeom>
              <a:avLst/>
              <a:gdLst/>
              <a:ahLst/>
              <a:cxnLst/>
              <a:rect l="0" t="0" r="0" b="0"/>
              <a:pathLst>
                <a:path w="115327" h="117435">
                  <a:moveTo>
                    <a:pt x="115314" y="58190"/>
                  </a:moveTo>
                  <a:lnTo>
                    <a:pt x="115314" y="57276"/>
                  </a:lnTo>
                  <a:cubicBezTo>
                    <a:pt x="115314" y="56679"/>
                    <a:pt x="115314" y="55688"/>
                    <a:pt x="115111" y="54584"/>
                  </a:cubicBezTo>
                  <a:cubicBezTo>
                    <a:pt x="115060" y="53123"/>
                    <a:pt x="114882" y="51675"/>
                    <a:pt x="114603" y="50240"/>
                  </a:cubicBezTo>
                  <a:cubicBezTo>
                    <a:pt x="114324" y="48272"/>
                    <a:pt x="113917" y="46316"/>
                    <a:pt x="113384" y="44398"/>
                  </a:cubicBezTo>
                  <a:cubicBezTo>
                    <a:pt x="112038" y="39102"/>
                    <a:pt x="109891" y="34061"/>
                    <a:pt x="107047" y="29400"/>
                  </a:cubicBezTo>
                  <a:cubicBezTo>
                    <a:pt x="103326" y="23228"/>
                    <a:pt x="98449" y="17817"/>
                    <a:pt x="92683" y="13474"/>
                  </a:cubicBezTo>
                  <a:cubicBezTo>
                    <a:pt x="85736" y="8178"/>
                    <a:pt x="77634" y="4610"/>
                    <a:pt x="69036" y="3022"/>
                  </a:cubicBezTo>
                  <a:cubicBezTo>
                    <a:pt x="59155" y="1206"/>
                    <a:pt x="48983" y="2070"/>
                    <a:pt x="39534" y="5499"/>
                  </a:cubicBezTo>
                  <a:cubicBezTo>
                    <a:pt x="34442" y="7302"/>
                    <a:pt x="29654" y="9880"/>
                    <a:pt x="25348" y="13131"/>
                  </a:cubicBezTo>
                  <a:cubicBezTo>
                    <a:pt x="23113" y="14795"/>
                    <a:pt x="20980" y="16611"/>
                    <a:pt x="18986" y="18554"/>
                  </a:cubicBezTo>
                  <a:cubicBezTo>
                    <a:pt x="17005" y="20599"/>
                    <a:pt x="15163" y="22770"/>
                    <a:pt x="13474" y="25056"/>
                  </a:cubicBezTo>
                  <a:cubicBezTo>
                    <a:pt x="6426" y="34670"/>
                    <a:pt x="2616" y="46278"/>
                    <a:pt x="2578" y="58190"/>
                  </a:cubicBezTo>
                  <a:cubicBezTo>
                    <a:pt x="2641" y="64197"/>
                    <a:pt x="3594" y="70154"/>
                    <a:pt x="5410" y="75881"/>
                  </a:cubicBezTo>
                  <a:cubicBezTo>
                    <a:pt x="7238" y="81418"/>
                    <a:pt x="9943" y="86638"/>
                    <a:pt x="13423" y="91324"/>
                  </a:cubicBezTo>
                  <a:cubicBezTo>
                    <a:pt x="16700" y="95909"/>
                    <a:pt x="20713" y="99935"/>
                    <a:pt x="25285" y="103249"/>
                  </a:cubicBezTo>
                  <a:cubicBezTo>
                    <a:pt x="29603" y="106501"/>
                    <a:pt x="34391" y="109079"/>
                    <a:pt x="39483" y="110882"/>
                  </a:cubicBezTo>
                  <a:cubicBezTo>
                    <a:pt x="57403" y="117435"/>
                    <a:pt x="77418" y="114425"/>
                    <a:pt x="92632" y="102907"/>
                  </a:cubicBezTo>
                  <a:cubicBezTo>
                    <a:pt x="98411" y="98576"/>
                    <a:pt x="103287" y="93166"/>
                    <a:pt x="106996" y="86981"/>
                  </a:cubicBezTo>
                  <a:cubicBezTo>
                    <a:pt x="109815" y="82345"/>
                    <a:pt x="111923" y="77329"/>
                    <a:pt x="113270" y="72071"/>
                  </a:cubicBezTo>
                  <a:cubicBezTo>
                    <a:pt x="113803" y="70154"/>
                    <a:pt x="114222" y="68198"/>
                    <a:pt x="114489" y="66229"/>
                  </a:cubicBezTo>
                  <a:cubicBezTo>
                    <a:pt x="114768" y="64794"/>
                    <a:pt x="114946" y="63346"/>
                    <a:pt x="114997" y="61886"/>
                  </a:cubicBezTo>
                  <a:cubicBezTo>
                    <a:pt x="114997" y="60768"/>
                    <a:pt x="115149" y="59892"/>
                    <a:pt x="115200" y="59181"/>
                  </a:cubicBezTo>
                  <a:cubicBezTo>
                    <a:pt x="115251" y="58470"/>
                    <a:pt x="115200" y="58279"/>
                    <a:pt x="115200" y="58279"/>
                  </a:cubicBezTo>
                  <a:cubicBezTo>
                    <a:pt x="115251" y="58584"/>
                    <a:pt x="115251" y="58901"/>
                    <a:pt x="115200" y="59206"/>
                  </a:cubicBezTo>
                  <a:lnTo>
                    <a:pt x="115200" y="61911"/>
                  </a:lnTo>
                  <a:cubicBezTo>
                    <a:pt x="115213" y="63372"/>
                    <a:pt x="115086" y="64845"/>
                    <a:pt x="114832" y="66280"/>
                  </a:cubicBezTo>
                  <a:cubicBezTo>
                    <a:pt x="114628" y="68287"/>
                    <a:pt x="114260" y="70268"/>
                    <a:pt x="113752" y="72211"/>
                  </a:cubicBezTo>
                  <a:cubicBezTo>
                    <a:pt x="112495" y="77596"/>
                    <a:pt x="110412" y="82752"/>
                    <a:pt x="107567" y="87489"/>
                  </a:cubicBezTo>
                  <a:cubicBezTo>
                    <a:pt x="99236" y="101637"/>
                    <a:pt x="85254" y="111530"/>
                    <a:pt x="69150" y="114654"/>
                  </a:cubicBezTo>
                  <a:cubicBezTo>
                    <a:pt x="59054" y="116584"/>
                    <a:pt x="48627" y="115746"/>
                    <a:pt x="38975" y="112241"/>
                  </a:cubicBezTo>
                  <a:cubicBezTo>
                    <a:pt x="33756" y="110412"/>
                    <a:pt x="28841" y="107783"/>
                    <a:pt x="24409" y="104469"/>
                  </a:cubicBezTo>
                  <a:cubicBezTo>
                    <a:pt x="22110" y="102767"/>
                    <a:pt x="19938" y="100913"/>
                    <a:pt x="17881" y="98931"/>
                  </a:cubicBezTo>
                  <a:cubicBezTo>
                    <a:pt x="15836" y="96836"/>
                    <a:pt x="13944" y="94613"/>
                    <a:pt x="12204" y="92264"/>
                  </a:cubicBezTo>
                  <a:cubicBezTo>
                    <a:pt x="8610" y="87463"/>
                    <a:pt x="5841" y="82104"/>
                    <a:pt x="3962" y="76415"/>
                  </a:cubicBezTo>
                  <a:cubicBezTo>
                    <a:pt x="0" y="64655"/>
                    <a:pt x="0" y="51904"/>
                    <a:pt x="3962" y="40131"/>
                  </a:cubicBezTo>
                  <a:cubicBezTo>
                    <a:pt x="5841" y="34442"/>
                    <a:pt x="8610" y="29095"/>
                    <a:pt x="12204" y="24294"/>
                  </a:cubicBezTo>
                  <a:cubicBezTo>
                    <a:pt x="13944" y="21945"/>
                    <a:pt x="15836" y="19722"/>
                    <a:pt x="17881" y="17614"/>
                  </a:cubicBezTo>
                  <a:cubicBezTo>
                    <a:pt x="19938" y="15633"/>
                    <a:pt x="22110" y="13792"/>
                    <a:pt x="24409" y="12090"/>
                  </a:cubicBezTo>
                  <a:cubicBezTo>
                    <a:pt x="28841" y="8775"/>
                    <a:pt x="33756" y="6146"/>
                    <a:pt x="38975" y="4305"/>
                  </a:cubicBezTo>
                  <a:cubicBezTo>
                    <a:pt x="48627" y="838"/>
                    <a:pt x="59041" y="0"/>
                    <a:pt x="69125" y="1892"/>
                  </a:cubicBezTo>
                  <a:cubicBezTo>
                    <a:pt x="77900" y="3555"/>
                    <a:pt x="86155" y="7277"/>
                    <a:pt x="93229" y="12737"/>
                  </a:cubicBezTo>
                  <a:cubicBezTo>
                    <a:pt x="99058" y="17182"/>
                    <a:pt x="103961" y="22732"/>
                    <a:pt x="107644" y="29057"/>
                  </a:cubicBezTo>
                  <a:cubicBezTo>
                    <a:pt x="110488" y="33807"/>
                    <a:pt x="112584" y="38950"/>
                    <a:pt x="113841" y="44335"/>
                  </a:cubicBezTo>
                  <a:cubicBezTo>
                    <a:pt x="114349" y="46278"/>
                    <a:pt x="114717" y="48272"/>
                    <a:pt x="114921" y="50266"/>
                  </a:cubicBezTo>
                  <a:cubicBezTo>
                    <a:pt x="115175" y="51713"/>
                    <a:pt x="115302" y="53174"/>
                    <a:pt x="115289" y="54647"/>
                  </a:cubicBezTo>
                  <a:lnTo>
                    <a:pt x="115289" y="57479"/>
                  </a:lnTo>
                  <a:cubicBezTo>
                    <a:pt x="115327" y="57720"/>
                    <a:pt x="115327" y="57949"/>
                    <a:pt x="115314" y="5819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0" name="Free Form 3536">
              <a:extLst>
                <a:ext uri="{FF2B5EF4-FFF2-40B4-BE49-F238E27FC236}">
                  <a16:creationId xmlns:a16="http://schemas.microsoft.com/office/drawing/2014/main" id="{2FEA9272-8195-E95B-B228-7472C52B473B}"/>
                </a:ext>
              </a:extLst>
            </p:cNvPr>
            <p:cNvSpPr/>
            <p:nvPr/>
          </p:nvSpPr>
          <p:spPr>
            <a:xfrm>
              <a:off x="24980364" y="30121685"/>
              <a:ext cx="46951" cy="46862"/>
            </a:xfrm>
            <a:custGeom>
              <a:avLst/>
              <a:gdLst/>
              <a:ahLst/>
              <a:cxnLst/>
              <a:rect l="0" t="0" r="0" b="0"/>
              <a:pathLst>
                <a:path w="46951" h="46862">
                  <a:moveTo>
                    <a:pt x="46672" y="279"/>
                  </a:moveTo>
                  <a:cubicBezTo>
                    <a:pt x="46951" y="558"/>
                    <a:pt x="36816" y="11150"/>
                    <a:pt x="23964" y="23951"/>
                  </a:cubicBezTo>
                  <a:cubicBezTo>
                    <a:pt x="11099" y="36766"/>
                    <a:pt x="571" y="46862"/>
                    <a:pt x="279" y="46672"/>
                  </a:cubicBezTo>
                  <a:cubicBezTo>
                    <a:pt x="0" y="46468"/>
                    <a:pt x="10109" y="35762"/>
                    <a:pt x="22999" y="22986"/>
                  </a:cubicBezTo>
                  <a:cubicBezTo>
                    <a:pt x="35889" y="10210"/>
                    <a:pt x="46392" y="0"/>
                    <a:pt x="46672" y="27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1" name="Free Form 3537">
              <a:extLst>
                <a:ext uri="{FF2B5EF4-FFF2-40B4-BE49-F238E27FC236}">
                  <a16:creationId xmlns:a16="http://schemas.microsoft.com/office/drawing/2014/main" id="{4B4C81A3-6D36-985F-5BA1-C25CD098ABA7}"/>
                </a:ext>
              </a:extLst>
            </p:cNvPr>
            <p:cNvSpPr/>
            <p:nvPr/>
          </p:nvSpPr>
          <p:spPr>
            <a:xfrm>
              <a:off x="25000037" y="30142121"/>
              <a:ext cx="18084" cy="17691"/>
            </a:xfrm>
            <a:custGeom>
              <a:avLst/>
              <a:gdLst/>
              <a:ahLst/>
              <a:cxnLst/>
              <a:rect l="0" t="0" r="0" b="0"/>
              <a:pathLst>
                <a:path w="18084" h="17690">
                  <a:moveTo>
                    <a:pt x="18084" y="0"/>
                  </a:moveTo>
                  <a:cubicBezTo>
                    <a:pt x="15620" y="3441"/>
                    <a:pt x="12763" y="6591"/>
                    <a:pt x="9562" y="9372"/>
                  </a:cubicBezTo>
                  <a:cubicBezTo>
                    <a:pt x="6705" y="12496"/>
                    <a:pt x="3492" y="15290"/>
                    <a:pt x="0" y="17690"/>
                  </a:cubicBezTo>
                  <a:cubicBezTo>
                    <a:pt x="5321" y="11112"/>
                    <a:pt x="11379" y="5181"/>
                    <a:pt x="18059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2" name="Free Form 3538">
              <a:extLst>
                <a:ext uri="{FF2B5EF4-FFF2-40B4-BE49-F238E27FC236}">
                  <a16:creationId xmlns:a16="http://schemas.microsoft.com/office/drawing/2014/main" id="{97F4E81B-55DF-A340-E788-EB4F1065A80F}"/>
                </a:ext>
              </a:extLst>
            </p:cNvPr>
            <p:cNvSpPr/>
            <p:nvPr/>
          </p:nvSpPr>
          <p:spPr>
            <a:xfrm>
              <a:off x="25101716" y="30063781"/>
              <a:ext cx="103593" cy="104329"/>
            </a:xfrm>
            <a:custGeom>
              <a:avLst/>
              <a:gdLst/>
              <a:ahLst/>
              <a:cxnLst/>
              <a:rect l="0" t="0" r="0" b="0"/>
              <a:pathLst>
                <a:path w="103592" h="104329">
                  <a:moveTo>
                    <a:pt x="103529" y="53187"/>
                  </a:moveTo>
                  <a:cubicBezTo>
                    <a:pt x="103237" y="49110"/>
                    <a:pt x="102627" y="45071"/>
                    <a:pt x="101713" y="41096"/>
                  </a:cubicBezTo>
                  <a:cubicBezTo>
                    <a:pt x="100481" y="36461"/>
                    <a:pt x="98576" y="32041"/>
                    <a:pt x="96036" y="27977"/>
                  </a:cubicBezTo>
                  <a:cubicBezTo>
                    <a:pt x="92772" y="22554"/>
                    <a:pt x="88492" y="17817"/>
                    <a:pt x="83425" y="14007"/>
                  </a:cubicBezTo>
                  <a:cubicBezTo>
                    <a:pt x="77329" y="9372"/>
                    <a:pt x="70230" y="6248"/>
                    <a:pt x="62699" y="4864"/>
                  </a:cubicBezTo>
                  <a:cubicBezTo>
                    <a:pt x="54063" y="3289"/>
                    <a:pt x="45148" y="4051"/>
                    <a:pt x="36893" y="7048"/>
                  </a:cubicBezTo>
                  <a:cubicBezTo>
                    <a:pt x="32422" y="8623"/>
                    <a:pt x="28231" y="10883"/>
                    <a:pt x="24459" y="13753"/>
                  </a:cubicBezTo>
                  <a:cubicBezTo>
                    <a:pt x="20459" y="16636"/>
                    <a:pt x="16954" y="20154"/>
                    <a:pt x="14096" y="24167"/>
                  </a:cubicBezTo>
                  <a:cubicBezTo>
                    <a:pt x="1371" y="41426"/>
                    <a:pt x="1371" y="64947"/>
                    <a:pt x="14096" y="82206"/>
                  </a:cubicBezTo>
                  <a:cubicBezTo>
                    <a:pt x="16954" y="86219"/>
                    <a:pt x="20459" y="89737"/>
                    <a:pt x="24459" y="92620"/>
                  </a:cubicBezTo>
                  <a:cubicBezTo>
                    <a:pt x="28231" y="95490"/>
                    <a:pt x="32422" y="97750"/>
                    <a:pt x="36893" y="99325"/>
                  </a:cubicBezTo>
                  <a:cubicBezTo>
                    <a:pt x="45148" y="102322"/>
                    <a:pt x="54063" y="103084"/>
                    <a:pt x="62699" y="101510"/>
                  </a:cubicBezTo>
                  <a:cubicBezTo>
                    <a:pt x="70230" y="100125"/>
                    <a:pt x="77329" y="97001"/>
                    <a:pt x="83425" y="92366"/>
                  </a:cubicBezTo>
                  <a:cubicBezTo>
                    <a:pt x="88505" y="88543"/>
                    <a:pt x="92797" y="83781"/>
                    <a:pt x="96061" y="78345"/>
                  </a:cubicBezTo>
                  <a:cubicBezTo>
                    <a:pt x="98601" y="74281"/>
                    <a:pt x="100519" y="69849"/>
                    <a:pt x="101738" y="65226"/>
                  </a:cubicBezTo>
                  <a:cubicBezTo>
                    <a:pt x="102653" y="61251"/>
                    <a:pt x="103262" y="57200"/>
                    <a:pt x="103554" y="53123"/>
                  </a:cubicBezTo>
                  <a:cubicBezTo>
                    <a:pt x="103592" y="53390"/>
                    <a:pt x="103592" y="53656"/>
                    <a:pt x="103554" y="53923"/>
                  </a:cubicBezTo>
                  <a:lnTo>
                    <a:pt x="103554" y="56311"/>
                  </a:lnTo>
                  <a:cubicBezTo>
                    <a:pt x="103567" y="57606"/>
                    <a:pt x="103453" y="58889"/>
                    <a:pt x="103249" y="60171"/>
                  </a:cubicBezTo>
                  <a:cubicBezTo>
                    <a:pt x="103046" y="61924"/>
                    <a:pt x="102729" y="63664"/>
                    <a:pt x="102284" y="65366"/>
                  </a:cubicBezTo>
                  <a:cubicBezTo>
                    <a:pt x="101179" y="70077"/>
                    <a:pt x="99351" y="74599"/>
                    <a:pt x="96887" y="78764"/>
                  </a:cubicBezTo>
                  <a:cubicBezTo>
                    <a:pt x="89584" y="91223"/>
                    <a:pt x="77253" y="99935"/>
                    <a:pt x="63067" y="102640"/>
                  </a:cubicBezTo>
                  <a:cubicBezTo>
                    <a:pt x="54203" y="104329"/>
                    <a:pt x="45046" y="103605"/>
                    <a:pt x="36550" y="100544"/>
                  </a:cubicBezTo>
                  <a:cubicBezTo>
                    <a:pt x="31965" y="98931"/>
                    <a:pt x="27660" y="96620"/>
                    <a:pt x="23774" y="93699"/>
                  </a:cubicBezTo>
                  <a:cubicBezTo>
                    <a:pt x="19633" y="90765"/>
                    <a:pt x="16014" y="87146"/>
                    <a:pt x="13080" y="82993"/>
                  </a:cubicBezTo>
                  <a:cubicBezTo>
                    <a:pt x="0" y="65277"/>
                    <a:pt x="0" y="41096"/>
                    <a:pt x="13080" y="23380"/>
                  </a:cubicBezTo>
                  <a:cubicBezTo>
                    <a:pt x="14592" y="21323"/>
                    <a:pt x="16243" y="19367"/>
                    <a:pt x="18021" y="17525"/>
                  </a:cubicBezTo>
                  <a:cubicBezTo>
                    <a:pt x="19799" y="15785"/>
                    <a:pt x="21691" y="14160"/>
                    <a:pt x="23697" y="12674"/>
                  </a:cubicBezTo>
                  <a:cubicBezTo>
                    <a:pt x="27571" y="9740"/>
                    <a:pt x="31876" y="7429"/>
                    <a:pt x="36474" y="5829"/>
                  </a:cubicBezTo>
                  <a:cubicBezTo>
                    <a:pt x="52577" y="0"/>
                    <a:pt x="70560" y="2793"/>
                    <a:pt x="84136" y="13245"/>
                  </a:cubicBezTo>
                  <a:cubicBezTo>
                    <a:pt x="89254" y="17157"/>
                    <a:pt x="93559" y="22034"/>
                    <a:pt x="96798" y="27609"/>
                  </a:cubicBezTo>
                  <a:cubicBezTo>
                    <a:pt x="99274" y="31775"/>
                    <a:pt x="101090" y="36283"/>
                    <a:pt x="102195" y="41007"/>
                  </a:cubicBezTo>
                  <a:cubicBezTo>
                    <a:pt x="102640" y="42709"/>
                    <a:pt x="102970" y="44449"/>
                    <a:pt x="103160" y="46202"/>
                  </a:cubicBezTo>
                  <a:cubicBezTo>
                    <a:pt x="103376" y="47484"/>
                    <a:pt x="103478" y="48767"/>
                    <a:pt x="103465" y="50062"/>
                  </a:cubicBezTo>
                  <a:lnTo>
                    <a:pt x="103465" y="52425"/>
                  </a:lnTo>
                  <a:cubicBezTo>
                    <a:pt x="103529" y="52666"/>
                    <a:pt x="103541" y="52933"/>
                    <a:pt x="103529" y="53187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3" name="Free Form 3539">
              <a:extLst>
                <a:ext uri="{FF2B5EF4-FFF2-40B4-BE49-F238E27FC236}">
                  <a16:creationId xmlns:a16="http://schemas.microsoft.com/office/drawing/2014/main" id="{0375E74D-2AF5-F90C-6653-23554101A8B0}"/>
                </a:ext>
              </a:extLst>
            </p:cNvPr>
            <p:cNvSpPr/>
            <p:nvPr/>
          </p:nvSpPr>
          <p:spPr>
            <a:xfrm>
              <a:off x="25230664" y="30065876"/>
              <a:ext cx="103529" cy="106730"/>
            </a:xfrm>
            <a:custGeom>
              <a:avLst/>
              <a:gdLst/>
              <a:ahLst/>
              <a:cxnLst/>
              <a:rect l="0" t="0" r="0" b="0"/>
              <a:pathLst>
                <a:path w="103529" h="106729">
                  <a:moveTo>
                    <a:pt x="103389" y="51091"/>
                  </a:moveTo>
                  <a:cubicBezTo>
                    <a:pt x="103072" y="47014"/>
                    <a:pt x="102462" y="42976"/>
                    <a:pt x="101548" y="39001"/>
                  </a:cubicBezTo>
                  <a:cubicBezTo>
                    <a:pt x="100316" y="34365"/>
                    <a:pt x="98398" y="29946"/>
                    <a:pt x="95871" y="25882"/>
                  </a:cubicBezTo>
                  <a:cubicBezTo>
                    <a:pt x="92607" y="20472"/>
                    <a:pt x="88327" y="15722"/>
                    <a:pt x="83285" y="11912"/>
                  </a:cubicBezTo>
                  <a:cubicBezTo>
                    <a:pt x="77177" y="7289"/>
                    <a:pt x="70077" y="4152"/>
                    <a:pt x="62534" y="2768"/>
                  </a:cubicBezTo>
                  <a:cubicBezTo>
                    <a:pt x="53885" y="1193"/>
                    <a:pt x="44982" y="1955"/>
                    <a:pt x="36728" y="4952"/>
                  </a:cubicBezTo>
                  <a:cubicBezTo>
                    <a:pt x="32257" y="6527"/>
                    <a:pt x="28066" y="8788"/>
                    <a:pt x="24294" y="11658"/>
                  </a:cubicBezTo>
                  <a:cubicBezTo>
                    <a:pt x="20294" y="14541"/>
                    <a:pt x="16789" y="18059"/>
                    <a:pt x="13931" y="22072"/>
                  </a:cubicBezTo>
                  <a:cubicBezTo>
                    <a:pt x="1206" y="39331"/>
                    <a:pt x="1206" y="62851"/>
                    <a:pt x="13931" y="80110"/>
                  </a:cubicBezTo>
                  <a:cubicBezTo>
                    <a:pt x="15404" y="82104"/>
                    <a:pt x="17005" y="84009"/>
                    <a:pt x="18732" y="85787"/>
                  </a:cubicBezTo>
                  <a:cubicBezTo>
                    <a:pt x="20522" y="87489"/>
                    <a:pt x="22415" y="89064"/>
                    <a:pt x="24409" y="90524"/>
                  </a:cubicBezTo>
                  <a:cubicBezTo>
                    <a:pt x="28180" y="93394"/>
                    <a:pt x="32371" y="95655"/>
                    <a:pt x="36842" y="97230"/>
                  </a:cubicBezTo>
                  <a:cubicBezTo>
                    <a:pt x="45097" y="100227"/>
                    <a:pt x="53999" y="100989"/>
                    <a:pt x="62648" y="99414"/>
                  </a:cubicBezTo>
                  <a:cubicBezTo>
                    <a:pt x="70179" y="98030"/>
                    <a:pt x="77291" y="94893"/>
                    <a:pt x="83400" y="90270"/>
                  </a:cubicBezTo>
                  <a:cubicBezTo>
                    <a:pt x="88441" y="86460"/>
                    <a:pt x="92721" y="81710"/>
                    <a:pt x="95985" y="76300"/>
                  </a:cubicBezTo>
                  <a:cubicBezTo>
                    <a:pt x="98512" y="72236"/>
                    <a:pt x="100430" y="67817"/>
                    <a:pt x="101662" y="63181"/>
                  </a:cubicBezTo>
                  <a:cubicBezTo>
                    <a:pt x="102576" y="59206"/>
                    <a:pt x="103186" y="55168"/>
                    <a:pt x="103503" y="51091"/>
                  </a:cubicBezTo>
                  <a:cubicBezTo>
                    <a:pt x="103529" y="51358"/>
                    <a:pt x="103529" y="51624"/>
                    <a:pt x="103503" y="51891"/>
                  </a:cubicBezTo>
                  <a:lnTo>
                    <a:pt x="103503" y="54266"/>
                  </a:lnTo>
                  <a:cubicBezTo>
                    <a:pt x="103503" y="55561"/>
                    <a:pt x="103402" y="56857"/>
                    <a:pt x="103186" y="58127"/>
                  </a:cubicBezTo>
                  <a:cubicBezTo>
                    <a:pt x="103008" y="59879"/>
                    <a:pt x="102691" y="61619"/>
                    <a:pt x="102259" y="63334"/>
                  </a:cubicBezTo>
                  <a:cubicBezTo>
                    <a:pt x="101154" y="68045"/>
                    <a:pt x="99325" y="72567"/>
                    <a:pt x="96836" y="76732"/>
                  </a:cubicBezTo>
                  <a:cubicBezTo>
                    <a:pt x="84606" y="97573"/>
                    <a:pt x="59257" y="106729"/>
                    <a:pt x="36524" y="98500"/>
                  </a:cubicBezTo>
                  <a:cubicBezTo>
                    <a:pt x="31940" y="96899"/>
                    <a:pt x="27622" y="94588"/>
                    <a:pt x="23723" y="91654"/>
                  </a:cubicBezTo>
                  <a:cubicBezTo>
                    <a:pt x="21716" y="90181"/>
                    <a:pt x="19824" y="88556"/>
                    <a:pt x="18046" y="86803"/>
                  </a:cubicBezTo>
                  <a:cubicBezTo>
                    <a:pt x="16268" y="84962"/>
                    <a:pt x="14604" y="83019"/>
                    <a:pt x="13080" y="80961"/>
                  </a:cubicBezTo>
                  <a:cubicBezTo>
                    <a:pt x="0" y="63232"/>
                    <a:pt x="0" y="39052"/>
                    <a:pt x="13080" y="21335"/>
                  </a:cubicBezTo>
                  <a:cubicBezTo>
                    <a:pt x="14604" y="19278"/>
                    <a:pt x="16268" y="17322"/>
                    <a:pt x="18046" y="15493"/>
                  </a:cubicBezTo>
                  <a:cubicBezTo>
                    <a:pt x="19824" y="13741"/>
                    <a:pt x="21716" y="12115"/>
                    <a:pt x="23723" y="10629"/>
                  </a:cubicBezTo>
                  <a:cubicBezTo>
                    <a:pt x="27609" y="7696"/>
                    <a:pt x="31927" y="5384"/>
                    <a:pt x="36524" y="3797"/>
                  </a:cubicBezTo>
                  <a:cubicBezTo>
                    <a:pt x="45008" y="736"/>
                    <a:pt x="54164" y="0"/>
                    <a:pt x="63016" y="1689"/>
                  </a:cubicBezTo>
                  <a:cubicBezTo>
                    <a:pt x="77202" y="4406"/>
                    <a:pt x="89534" y="13106"/>
                    <a:pt x="96836" y="25564"/>
                  </a:cubicBezTo>
                  <a:cubicBezTo>
                    <a:pt x="99325" y="29730"/>
                    <a:pt x="101154" y="34251"/>
                    <a:pt x="102259" y="38963"/>
                  </a:cubicBezTo>
                  <a:cubicBezTo>
                    <a:pt x="102691" y="40677"/>
                    <a:pt x="103008" y="42417"/>
                    <a:pt x="103186" y="44157"/>
                  </a:cubicBezTo>
                  <a:cubicBezTo>
                    <a:pt x="103351" y="45389"/>
                    <a:pt x="103427" y="46621"/>
                    <a:pt x="103389" y="47853"/>
                  </a:cubicBezTo>
                  <a:lnTo>
                    <a:pt x="103389" y="50215"/>
                  </a:lnTo>
                  <a:cubicBezTo>
                    <a:pt x="103427" y="50507"/>
                    <a:pt x="103427" y="50799"/>
                    <a:pt x="103389" y="51091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4" name="Free Form 3540">
              <a:extLst>
                <a:ext uri="{FF2B5EF4-FFF2-40B4-BE49-F238E27FC236}">
                  <a16:creationId xmlns:a16="http://schemas.microsoft.com/office/drawing/2014/main" id="{B624C1C2-CBC1-31A1-F74B-13AA53794854}"/>
                </a:ext>
              </a:extLst>
            </p:cNvPr>
            <p:cNvSpPr/>
            <p:nvPr/>
          </p:nvSpPr>
          <p:spPr>
            <a:xfrm>
              <a:off x="25203115" y="30096455"/>
              <a:ext cx="33871" cy="9499"/>
            </a:xfrm>
            <a:custGeom>
              <a:avLst/>
              <a:gdLst/>
              <a:ahLst/>
              <a:cxnLst/>
              <a:rect l="0" t="0" r="0" b="0"/>
              <a:pathLst>
                <a:path w="33870" h="9499">
                  <a:moveTo>
                    <a:pt x="33870" y="5435"/>
                  </a:moveTo>
                  <a:cubicBezTo>
                    <a:pt x="32156" y="4978"/>
                    <a:pt x="30466" y="4444"/>
                    <a:pt x="28815" y="3822"/>
                  </a:cubicBezTo>
                  <a:cubicBezTo>
                    <a:pt x="20662" y="1511"/>
                    <a:pt x="11925" y="2527"/>
                    <a:pt x="4508" y="6654"/>
                  </a:cubicBezTo>
                  <a:cubicBezTo>
                    <a:pt x="1676" y="8216"/>
                    <a:pt x="165" y="9499"/>
                    <a:pt x="0" y="9499"/>
                  </a:cubicBezTo>
                  <a:cubicBezTo>
                    <a:pt x="1028" y="7988"/>
                    <a:pt x="2387" y="6756"/>
                    <a:pt x="3975" y="5867"/>
                  </a:cubicBezTo>
                  <a:cubicBezTo>
                    <a:pt x="11467" y="1054"/>
                    <a:pt x="20776" y="0"/>
                    <a:pt x="29158" y="3022"/>
                  </a:cubicBezTo>
                  <a:cubicBezTo>
                    <a:pt x="30886" y="3467"/>
                    <a:pt x="32498" y="4292"/>
                    <a:pt x="33870" y="543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5" name="Free Form 3541">
              <a:extLst>
                <a:ext uri="{FF2B5EF4-FFF2-40B4-BE49-F238E27FC236}">
                  <a16:creationId xmlns:a16="http://schemas.microsoft.com/office/drawing/2014/main" id="{0E958E6F-D734-1A31-1028-C1F93945F28E}"/>
                </a:ext>
              </a:extLst>
            </p:cNvPr>
            <p:cNvSpPr/>
            <p:nvPr/>
          </p:nvSpPr>
          <p:spPr>
            <a:xfrm>
              <a:off x="25006198" y="30068628"/>
              <a:ext cx="41109" cy="9500"/>
            </a:xfrm>
            <a:custGeom>
              <a:avLst/>
              <a:gdLst/>
              <a:ahLst/>
              <a:cxnLst/>
              <a:rect l="0" t="0" r="0" b="0"/>
              <a:pathLst>
                <a:path w="41109" h="9499">
                  <a:moveTo>
                    <a:pt x="41109" y="9499"/>
                  </a:moveTo>
                  <a:cubicBezTo>
                    <a:pt x="34569" y="6896"/>
                    <a:pt x="27850" y="4737"/>
                    <a:pt x="21005" y="3060"/>
                  </a:cubicBezTo>
                  <a:cubicBezTo>
                    <a:pt x="14058" y="1866"/>
                    <a:pt x="7048" y="1155"/>
                    <a:pt x="0" y="927"/>
                  </a:cubicBezTo>
                  <a:cubicBezTo>
                    <a:pt x="2031" y="342"/>
                    <a:pt x="4140" y="88"/>
                    <a:pt x="6248" y="190"/>
                  </a:cubicBezTo>
                  <a:cubicBezTo>
                    <a:pt x="16395" y="0"/>
                    <a:pt x="26466" y="2108"/>
                    <a:pt x="35686" y="6349"/>
                  </a:cubicBezTo>
                  <a:cubicBezTo>
                    <a:pt x="37655" y="7099"/>
                    <a:pt x="39483" y="8166"/>
                    <a:pt x="41109" y="949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6" name="Free Form 3542">
              <a:extLst>
                <a:ext uri="{FF2B5EF4-FFF2-40B4-BE49-F238E27FC236}">
                  <a16:creationId xmlns:a16="http://schemas.microsoft.com/office/drawing/2014/main" id="{684A9F79-9B5A-E626-5556-138B13582AB5}"/>
                </a:ext>
              </a:extLst>
            </p:cNvPr>
            <p:cNvSpPr/>
            <p:nvPr/>
          </p:nvSpPr>
          <p:spPr>
            <a:xfrm>
              <a:off x="25031174" y="29895477"/>
              <a:ext cx="200417" cy="173569"/>
            </a:xfrm>
            <a:custGeom>
              <a:avLst/>
              <a:gdLst/>
              <a:ahLst/>
              <a:cxnLst/>
              <a:rect l="0" t="0" r="0" b="0"/>
              <a:pathLst>
                <a:path w="200416" h="173569">
                  <a:moveTo>
                    <a:pt x="200416" y="19887"/>
                  </a:moveTo>
                  <a:cubicBezTo>
                    <a:pt x="198600" y="16319"/>
                    <a:pt x="196111" y="13144"/>
                    <a:pt x="193088" y="10515"/>
                  </a:cubicBezTo>
                  <a:cubicBezTo>
                    <a:pt x="189507" y="7518"/>
                    <a:pt x="185379" y="5219"/>
                    <a:pt x="180934" y="3733"/>
                  </a:cubicBezTo>
                  <a:cubicBezTo>
                    <a:pt x="175029" y="1866"/>
                    <a:pt x="168844" y="1054"/>
                    <a:pt x="162659" y="1320"/>
                  </a:cubicBezTo>
                  <a:cubicBezTo>
                    <a:pt x="155128" y="1612"/>
                    <a:pt x="147648" y="2565"/>
                    <a:pt x="140282" y="4165"/>
                  </a:cubicBezTo>
                  <a:cubicBezTo>
                    <a:pt x="131862" y="5778"/>
                    <a:pt x="123569" y="8077"/>
                    <a:pt x="115505" y="10998"/>
                  </a:cubicBezTo>
                  <a:cubicBezTo>
                    <a:pt x="96836" y="17754"/>
                    <a:pt x="79450" y="27609"/>
                    <a:pt x="64058" y="40131"/>
                  </a:cubicBezTo>
                  <a:cubicBezTo>
                    <a:pt x="48615" y="52653"/>
                    <a:pt x="35470" y="67779"/>
                    <a:pt x="25221" y="84822"/>
                  </a:cubicBezTo>
                  <a:cubicBezTo>
                    <a:pt x="16941" y="98741"/>
                    <a:pt x="10578" y="113714"/>
                    <a:pt x="6286" y="129335"/>
                  </a:cubicBezTo>
                  <a:cubicBezTo>
                    <a:pt x="3416" y="139876"/>
                    <a:pt x="1511" y="150671"/>
                    <a:pt x="609" y="161554"/>
                  </a:cubicBezTo>
                  <a:cubicBezTo>
                    <a:pt x="241" y="165415"/>
                    <a:pt x="152" y="168400"/>
                    <a:pt x="38" y="170444"/>
                  </a:cubicBezTo>
                  <a:lnTo>
                    <a:pt x="38" y="172768"/>
                  </a:lnTo>
                  <a:cubicBezTo>
                    <a:pt x="50" y="173035"/>
                    <a:pt x="50" y="173302"/>
                    <a:pt x="38" y="173569"/>
                  </a:cubicBezTo>
                  <a:cubicBezTo>
                    <a:pt x="0" y="173302"/>
                    <a:pt x="0" y="173035"/>
                    <a:pt x="38" y="172768"/>
                  </a:cubicBezTo>
                  <a:lnTo>
                    <a:pt x="38" y="170444"/>
                  </a:lnTo>
                  <a:cubicBezTo>
                    <a:pt x="38" y="168400"/>
                    <a:pt x="38" y="165390"/>
                    <a:pt x="317" y="161504"/>
                  </a:cubicBezTo>
                  <a:cubicBezTo>
                    <a:pt x="990" y="150544"/>
                    <a:pt x="2743" y="139685"/>
                    <a:pt x="5549" y="129081"/>
                  </a:cubicBezTo>
                  <a:cubicBezTo>
                    <a:pt x="9702" y="113295"/>
                    <a:pt x="16014" y="98169"/>
                    <a:pt x="24307" y="84111"/>
                  </a:cubicBezTo>
                  <a:cubicBezTo>
                    <a:pt x="34530" y="66902"/>
                    <a:pt x="47713" y="51624"/>
                    <a:pt x="63232" y="39001"/>
                  </a:cubicBezTo>
                  <a:cubicBezTo>
                    <a:pt x="78764" y="26390"/>
                    <a:pt x="96303" y="16509"/>
                    <a:pt x="115136" y="9753"/>
                  </a:cubicBezTo>
                  <a:cubicBezTo>
                    <a:pt x="123328" y="6781"/>
                    <a:pt x="131748" y="4470"/>
                    <a:pt x="140308" y="2857"/>
                  </a:cubicBezTo>
                  <a:cubicBezTo>
                    <a:pt x="147750" y="1320"/>
                    <a:pt x="155293" y="444"/>
                    <a:pt x="162888" y="215"/>
                  </a:cubicBezTo>
                  <a:cubicBezTo>
                    <a:pt x="169200" y="0"/>
                    <a:pt x="175486" y="914"/>
                    <a:pt x="181481" y="2908"/>
                  </a:cubicBezTo>
                  <a:cubicBezTo>
                    <a:pt x="185989" y="4457"/>
                    <a:pt x="190142" y="6883"/>
                    <a:pt x="193711" y="10032"/>
                  </a:cubicBezTo>
                  <a:cubicBezTo>
                    <a:pt x="195984" y="12026"/>
                    <a:pt x="197901" y="14376"/>
                    <a:pt x="199400" y="16992"/>
                  </a:cubicBezTo>
                  <a:cubicBezTo>
                    <a:pt x="199845" y="17919"/>
                    <a:pt x="200187" y="18884"/>
                    <a:pt x="200416" y="1988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7" name="Free Form 3543">
              <a:extLst>
                <a:ext uri="{FF2B5EF4-FFF2-40B4-BE49-F238E27FC236}">
                  <a16:creationId xmlns:a16="http://schemas.microsoft.com/office/drawing/2014/main" id="{F14CC1F6-D0BF-CF8E-9F48-5B686F8DE7EC}"/>
                </a:ext>
              </a:extLst>
            </p:cNvPr>
            <p:cNvSpPr/>
            <p:nvPr/>
          </p:nvSpPr>
          <p:spPr>
            <a:xfrm>
              <a:off x="25186818" y="30313770"/>
              <a:ext cx="269008" cy="109930"/>
            </a:xfrm>
            <a:custGeom>
              <a:avLst/>
              <a:gdLst/>
              <a:ahLst/>
              <a:cxnLst/>
              <a:rect l="0" t="0" r="0" b="0"/>
              <a:pathLst>
                <a:path w="269008" h="109930">
                  <a:moveTo>
                    <a:pt x="124039" y="0"/>
                  </a:moveTo>
                  <a:lnTo>
                    <a:pt x="27507" y="5194"/>
                  </a:lnTo>
                  <a:lnTo>
                    <a:pt x="1422" y="53060"/>
                  </a:lnTo>
                  <a:cubicBezTo>
                    <a:pt x="0" y="55625"/>
                    <a:pt x="914" y="58863"/>
                    <a:pt x="3479" y="60286"/>
                  </a:cubicBezTo>
                  <a:cubicBezTo>
                    <a:pt x="4254" y="60718"/>
                    <a:pt x="5130" y="60946"/>
                    <a:pt x="6019" y="60959"/>
                  </a:cubicBezTo>
                  <a:cubicBezTo>
                    <a:pt x="10642" y="60959"/>
                    <a:pt x="16039" y="60298"/>
                    <a:pt x="19024" y="57631"/>
                  </a:cubicBezTo>
                  <a:cubicBezTo>
                    <a:pt x="24955" y="52298"/>
                    <a:pt x="36232" y="36258"/>
                    <a:pt x="36232" y="36258"/>
                  </a:cubicBezTo>
                  <a:lnTo>
                    <a:pt x="30289" y="71881"/>
                  </a:lnTo>
                  <a:lnTo>
                    <a:pt x="57631" y="101586"/>
                  </a:lnTo>
                  <a:lnTo>
                    <a:pt x="63600" y="107567"/>
                  </a:lnTo>
                  <a:cubicBezTo>
                    <a:pt x="65963" y="109930"/>
                    <a:pt x="69785" y="109930"/>
                    <a:pt x="72147" y="107580"/>
                  </a:cubicBezTo>
                  <a:cubicBezTo>
                    <a:pt x="72325" y="107402"/>
                    <a:pt x="72490" y="107212"/>
                    <a:pt x="72655" y="107009"/>
                  </a:cubicBezTo>
                  <a:cubicBezTo>
                    <a:pt x="75627" y="103110"/>
                    <a:pt x="79005" y="98055"/>
                    <a:pt x="79005" y="95045"/>
                  </a:cubicBezTo>
                  <a:cubicBezTo>
                    <a:pt x="79005" y="95045"/>
                    <a:pt x="92074" y="91477"/>
                    <a:pt x="92670" y="83158"/>
                  </a:cubicBezTo>
                  <a:cubicBezTo>
                    <a:pt x="92836" y="75805"/>
                    <a:pt x="92442" y="68464"/>
                    <a:pt x="91477" y="61187"/>
                  </a:cubicBezTo>
                  <a:cubicBezTo>
                    <a:pt x="91477" y="61187"/>
                    <a:pt x="100392" y="55841"/>
                    <a:pt x="101586" y="50507"/>
                  </a:cubicBezTo>
                  <a:lnTo>
                    <a:pt x="115771" y="65353"/>
                  </a:lnTo>
                  <a:lnTo>
                    <a:pt x="179461" y="88073"/>
                  </a:lnTo>
                  <a:lnTo>
                    <a:pt x="217269" y="76707"/>
                  </a:lnTo>
                  <a:lnTo>
                    <a:pt x="269008" y="57746"/>
                  </a:lnTo>
                  <a:cubicBezTo>
                    <a:pt x="269008" y="57746"/>
                    <a:pt x="237550" y="30327"/>
                    <a:pt x="230985" y="25577"/>
                  </a:cubicBezTo>
                  <a:cubicBezTo>
                    <a:pt x="224432" y="20840"/>
                    <a:pt x="124039" y="0"/>
                    <a:pt x="124039" y="0"/>
                  </a:cubicBezTo>
                  <a:close/>
                </a:path>
              </a:pathLst>
            </a:custGeom>
            <a:solidFill>
              <a:srgbClr val="EEAB8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8" name="Free Form 3544">
              <a:extLst>
                <a:ext uri="{FF2B5EF4-FFF2-40B4-BE49-F238E27FC236}">
                  <a16:creationId xmlns:a16="http://schemas.microsoft.com/office/drawing/2014/main" id="{49DC22DF-ADA1-5029-2C7A-A46E6F8949CE}"/>
                </a:ext>
              </a:extLst>
            </p:cNvPr>
            <p:cNvSpPr/>
            <p:nvPr/>
          </p:nvSpPr>
          <p:spPr>
            <a:xfrm>
              <a:off x="25186551" y="30313770"/>
              <a:ext cx="270380" cy="111086"/>
            </a:xfrm>
            <a:custGeom>
              <a:avLst/>
              <a:gdLst/>
              <a:ahLst/>
              <a:cxnLst/>
              <a:rect l="0" t="0" r="0" b="0"/>
              <a:pathLst>
                <a:path w="270380" h="111085">
                  <a:moveTo>
                    <a:pt x="124306" y="0"/>
                  </a:moveTo>
                  <a:cubicBezTo>
                    <a:pt x="124306" y="0"/>
                    <a:pt x="125271" y="139"/>
                    <a:pt x="127151" y="507"/>
                  </a:cubicBezTo>
                  <a:lnTo>
                    <a:pt x="135469" y="2184"/>
                  </a:lnTo>
                  <a:cubicBezTo>
                    <a:pt x="142759" y="3657"/>
                    <a:pt x="153465" y="5880"/>
                    <a:pt x="167092" y="8826"/>
                  </a:cubicBezTo>
                  <a:cubicBezTo>
                    <a:pt x="180719" y="11785"/>
                    <a:pt x="197292" y="15354"/>
                    <a:pt x="216202" y="20180"/>
                  </a:cubicBezTo>
                  <a:cubicBezTo>
                    <a:pt x="221155" y="21348"/>
                    <a:pt x="226019" y="22859"/>
                    <a:pt x="230743" y="24726"/>
                  </a:cubicBezTo>
                  <a:cubicBezTo>
                    <a:pt x="232966" y="26174"/>
                    <a:pt x="235087" y="27774"/>
                    <a:pt x="237068" y="29527"/>
                  </a:cubicBezTo>
                  <a:lnTo>
                    <a:pt x="243316" y="34721"/>
                  </a:lnTo>
                  <a:cubicBezTo>
                    <a:pt x="251838" y="41795"/>
                    <a:pt x="260359" y="49338"/>
                    <a:pt x="269580" y="57238"/>
                  </a:cubicBezTo>
                  <a:lnTo>
                    <a:pt x="270380" y="57911"/>
                  </a:lnTo>
                  <a:lnTo>
                    <a:pt x="269580" y="58317"/>
                  </a:lnTo>
                  <a:lnTo>
                    <a:pt x="226997" y="73925"/>
                  </a:lnTo>
                  <a:cubicBezTo>
                    <a:pt x="223276" y="75233"/>
                    <a:pt x="219555" y="76770"/>
                    <a:pt x="215643" y="77964"/>
                  </a:cubicBezTo>
                  <a:lnTo>
                    <a:pt x="203947" y="81507"/>
                  </a:lnTo>
                  <a:lnTo>
                    <a:pt x="179893" y="88835"/>
                  </a:lnTo>
                  <a:lnTo>
                    <a:pt x="179664" y="88835"/>
                  </a:lnTo>
                  <a:lnTo>
                    <a:pt x="179436" y="88835"/>
                  </a:lnTo>
                  <a:lnTo>
                    <a:pt x="115733" y="66128"/>
                  </a:lnTo>
                  <a:lnTo>
                    <a:pt x="115568" y="66128"/>
                  </a:lnTo>
                  <a:lnTo>
                    <a:pt x="101370" y="51269"/>
                  </a:lnTo>
                  <a:lnTo>
                    <a:pt x="102614" y="50901"/>
                  </a:lnTo>
                  <a:cubicBezTo>
                    <a:pt x="101967" y="53072"/>
                    <a:pt x="100748" y="55041"/>
                    <a:pt x="99097" y="56577"/>
                  </a:cubicBezTo>
                  <a:cubicBezTo>
                    <a:pt x="97522" y="58190"/>
                    <a:pt x="95807" y="59651"/>
                    <a:pt x="93953" y="60921"/>
                  </a:cubicBezTo>
                  <a:lnTo>
                    <a:pt x="92162" y="62089"/>
                  </a:lnTo>
                  <a:lnTo>
                    <a:pt x="92543" y="61353"/>
                  </a:lnTo>
                  <a:cubicBezTo>
                    <a:pt x="93471" y="68261"/>
                    <a:pt x="93890" y="75221"/>
                    <a:pt x="93788" y="82193"/>
                  </a:cubicBezTo>
                  <a:cubicBezTo>
                    <a:pt x="93813" y="84035"/>
                    <a:pt x="93356" y="85838"/>
                    <a:pt x="92455" y="87438"/>
                  </a:cubicBezTo>
                  <a:cubicBezTo>
                    <a:pt x="91515" y="88987"/>
                    <a:pt x="90296" y="90334"/>
                    <a:pt x="88848" y="91413"/>
                  </a:cubicBezTo>
                  <a:cubicBezTo>
                    <a:pt x="86028" y="93483"/>
                    <a:pt x="82866" y="95045"/>
                    <a:pt x="79501" y="96023"/>
                  </a:cubicBezTo>
                  <a:lnTo>
                    <a:pt x="80072" y="95312"/>
                  </a:lnTo>
                  <a:cubicBezTo>
                    <a:pt x="79920" y="97001"/>
                    <a:pt x="79399" y="98627"/>
                    <a:pt x="78574" y="100100"/>
                  </a:cubicBezTo>
                  <a:cubicBezTo>
                    <a:pt x="77824" y="101510"/>
                    <a:pt x="76999" y="102881"/>
                    <a:pt x="76097" y="104189"/>
                  </a:cubicBezTo>
                  <a:cubicBezTo>
                    <a:pt x="75195" y="105497"/>
                    <a:pt x="74306" y="106755"/>
                    <a:pt x="73265" y="108025"/>
                  </a:cubicBezTo>
                  <a:cubicBezTo>
                    <a:pt x="70839" y="110768"/>
                    <a:pt x="66686" y="111085"/>
                    <a:pt x="63867" y="108761"/>
                  </a:cubicBezTo>
                  <a:cubicBezTo>
                    <a:pt x="62648" y="107631"/>
                    <a:pt x="61645" y="106577"/>
                    <a:pt x="60540" y="105472"/>
                  </a:cubicBezTo>
                  <a:cubicBezTo>
                    <a:pt x="58330" y="103338"/>
                    <a:pt x="56222" y="101129"/>
                    <a:pt x="54215" y="98855"/>
                  </a:cubicBezTo>
                  <a:lnTo>
                    <a:pt x="30073" y="72630"/>
                  </a:lnTo>
                  <a:lnTo>
                    <a:pt x="29857" y="72363"/>
                  </a:lnTo>
                  <a:lnTo>
                    <a:pt x="29857" y="72033"/>
                  </a:lnTo>
                  <a:lnTo>
                    <a:pt x="35813" y="36397"/>
                  </a:lnTo>
                  <a:lnTo>
                    <a:pt x="37032" y="36880"/>
                  </a:lnTo>
                  <a:cubicBezTo>
                    <a:pt x="34086" y="41020"/>
                    <a:pt x="31076" y="45046"/>
                    <a:pt x="28003" y="48945"/>
                  </a:cubicBezTo>
                  <a:cubicBezTo>
                    <a:pt x="26479" y="50875"/>
                    <a:pt x="24904" y="52780"/>
                    <a:pt x="23291" y="54622"/>
                  </a:cubicBezTo>
                  <a:cubicBezTo>
                    <a:pt x="21754" y="56577"/>
                    <a:pt x="19913" y="58279"/>
                    <a:pt x="17843" y="59651"/>
                  </a:cubicBezTo>
                  <a:cubicBezTo>
                    <a:pt x="15646" y="60756"/>
                    <a:pt x="13258" y="61441"/>
                    <a:pt x="10794" y="61632"/>
                  </a:cubicBezTo>
                  <a:cubicBezTo>
                    <a:pt x="9613" y="61784"/>
                    <a:pt x="8420" y="61835"/>
                    <a:pt x="7251" y="61861"/>
                  </a:cubicBezTo>
                  <a:cubicBezTo>
                    <a:pt x="5981" y="61988"/>
                    <a:pt x="4698" y="61746"/>
                    <a:pt x="3555" y="61187"/>
                  </a:cubicBezTo>
                  <a:cubicBezTo>
                    <a:pt x="1231" y="59943"/>
                    <a:pt x="0" y="57327"/>
                    <a:pt x="520" y="54736"/>
                  </a:cubicBezTo>
                  <a:cubicBezTo>
                    <a:pt x="838" y="53593"/>
                    <a:pt x="1320" y="52501"/>
                    <a:pt x="1968" y="51497"/>
                  </a:cubicBezTo>
                  <a:lnTo>
                    <a:pt x="3594" y="48665"/>
                  </a:lnTo>
                  <a:lnTo>
                    <a:pt x="27292" y="5333"/>
                  </a:lnTo>
                  <a:lnTo>
                    <a:pt x="27431" y="5079"/>
                  </a:lnTo>
                  <a:lnTo>
                    <a:pt x="27723" y="5079"/>
                  </a:lnTo>
                  <a:lnTo>
                    <a:pt x="98703" y="1511"/>
                  </a:lnTo>
                  <a:lnTo>
                    <a:pt x="117803" y="622"/>
                  </a:lnTo>
                  <a:lnTo>
                    <a:pt x="122769" y="431"/>
                  </a:lnTo>
                  <a:lnTo>
                    <a:pt x="124445" y="431"/>
                  </a:lnTo>
                  <a:lnTo>
                    <a:pt x="122744" y="596"/>
                  </a:lnTo>
                  <a:lnTo>
                    <a:pt x="117803" y="939"/>
                  </a:lnTo>
                  <a:lnTo>
                    <a:pt x="98665" y="2095"/>
                  </a:lnTo>
                  <a:lnTo>
                    <a:pt x="27838" y="6134"/>
                  </a:lnTo>
                  <a:lnTo>
                    <a:pt x="28231" y="5854"/>
                  </a:lnTo>
                  <a:lnTo>
                    <a:pt x="4698" y="49262"/>
                  </a:lnTo>
                  <a:lnTo>
                    <a:pt x="3111" y="52094"/>
                  </a:lnTo>
                  <a:cubicBezTo>
                    <a:pt x="2514" y="52971"/>
                    <a:pt x="2070" y="53923"/>
                    <a:pt x="1777" y="54939"/>
                  </a:cubicBezTo>
                  <a:cubicBezTo>
                    <a:pt x="1346" y="56996"/>
                    <a:pt x="2324" y="59092"/>
                    <a:pt x="4190" y="60070"/>
                  </a:cubicBezTo>
                  <a:cubicBezTo>
                    <a:pt x="5143" y="60527"/>
                    <a:pt x="6222" y="60705"/>
                    <a:pt x="7277" y="60591"/>
                  </a:cubicBezTo>
                  <a:cubicBezTo>
                    <a:pt x="8420" y="60591"/>
                    <a:pt x="9575" y="60591"/>
                    <a:pt x="10718" y="60362"/>
                  </a:cubicBezTo>
                  <a:cubicBezTo>
                    <a:pt x="13004" y="60171"/>
                    <a:pt x="15239" y="59536"/>
                    <a:pt x="17297" y="58508"/>
                  </a:cubicBezTo>
                  <a:cubicBezTo>
                    <a:pt x="19227" y="57187"/>
                    <a:pt x="20942" y="55587"/>
                    <a:pt x="22389" y="53745"/>
                  </a:cubicBezTo>
                  <a:cubicBezTo>
                    <a:pt x="23977" y="51955"/>
                    <a:pt x="25501" y="50050"/>
                    <a:pt x="27038" y="48068"/>
                  </a:cubicBezTo>
                  <a:cubicBezTo>
                    <a:pt x="30073" y="44208"/>
                    <a:pt x="33057" y="40169"/>
                    <a:pt x="35978" y="36054"/>
                  </a:cubicBezTo>
                  <a:lnTo>
                    <a:pt x="37655" y="33705"/>
                  </a:lnTo>
                  <a:lnTo>
                    <a:pt x="37197" y="36537"/>
                  </a:lnTo>
                  <a:cubicBezTo>
                    <a:pt x="35305" y="48068"/>
                    <a:pt x="33337" y="59943"/>
                    <a:pt x="31267" y="72173"/>
                  </a:cubicBezTo>
                  <a:lnTo>
                    <a:pt x="31101" y="71576"/>
                  </a:lnTo>
                  <a:lnTo>
                    <a:pt x="55231" y="97776"/>
                  </a:lnTo>
                  <a:cubicBezTo>
                    <a:pt x="57276" y="100049"/>
                    <a:pt x="59371" y="102259"/>
                    <a:pt x="61568" y="104392"/>
                  </a:cubicBezTo>
                  <a:cubicBezTo>
                    <a:pt x="62648" y="105446"/>
                    <a:pt x="63778" y="106602"/>
                    <a:pt x="64794" y="107567"/>
                  </a:cubicBezTo>
                  <a:cubicBezTo>
                    <a:pt x="65861" y="108444"/>
                    <a:pt x="67207" y="108863"/>
                    <a:pt x="68579" y="108761"/>
                  </a:cubicBezTo>
                  <a:cubicBezTo>
                    <a:pt x="69963" y="108672"/>
                    <a:pt x="71246" y="108025"/>
                    <a:pt x="72147" y="106970"/>
                  </a:cubicBezTo>
                  <a:cubicBezTo>
                    <a:pt x="73062" y="105866"/>
                    <a:pt x="74002" y="104532"/>
                    <a:pt x="74992" y="103287"/>
                  </a:cubicBezTo>
                  <a:cubicBezTo>
                    <a:pt x="75868" y="102018"/>
                    <a:pt x="76669" y="100697"/>
                    <a:pt x="77380" y="99338"/>
                  </a:cubicBezTo>
                  <a:cubicBezTo>
                    <a:pt x="78116" y="98081"/>
                    <a:pt x="78561" y="96671"/>
                    <a:pt x="78713" y="95223"/>
                  </a:cubicBezTo>
                  <a:lnTo>
                    <a:pt x="78713" y="94677"/>
                  </a:lnTo>
                  <a:lnTo>
                    <a:pt x="79247" y="94512"/>
                  </a:lnTo>
                  <a:cubicBezTo>
                    <a:pt x="82422" y="93585"/>
                    <a:pt x="85406" y="92112"/>
                    <a:pt x="88073" y="90169"/>
                  </a:cubicBezTo>
                  <a:cubicBezTo>
                    <a:pt x="90778" y="88340"/>
                    <a:pt x="92404" y="85292"/>
                    <a:pt x="92429" y="82015"/>
                  </a:cubicBezTo>
                  <a:cubicBezTo>
                    <a:pt x="92531" y="75145"/>
                    <a:pt x="92112" y="68274"/>
                    <a:pt x="91172" y="61467"/>
                  </a:cubicBezTo>
                  <a:lnTo>
                    <a:pt x="91172" y="60984"/>
                  </a:lnTo>
                  <a:lnTo>
                    <a:pt x="91604" y="60730"/>
                  </a:lnTo>
                  <a:lnTo>
                    <a:pt x="93280" y="59625"/>
                  </a:lnTo>
                  <a:cubicBezTo>
                    <a:pt x="95058" y="58406"/>
                    <a:pt x="96709" y="57022"/>
                    <a:pt x="98220" y="55473"/>
                  </a:cubicBezTo>
                  <a:cubicBezTo>
                    <a:pt x="99668" y="54114"/>
                    <a:pt x="100735" y="52399"/>
                    <a:pt x="101344" y="50507"/>
                  </a:cubicBezTo>
                  <a:lnTo>
                    <a:pt x="101675" y="49199"/>
                  </a:lnTo>
                  <a:lnTo>
                    <a:pt x="102589" y="50164"/>
                  </a:lnTo>
                  <a:cubicBezTo>
                    <a:pt x="107504" y="55244"/>
                    <a:pt x="112355" y="60298"/>
                    <a:pt x="116787" y="65010"/>
                  </a:cubicBezTo>
                  <a:lnTo>
                    <a:pt x="116521" y="64820"/>
                  </a:lnTo>
                  <a:lnTo>
                    <a:pt x="180211" y="87527"/>
                  </a:lnTo>
                  <a:lnTo>
                    <a:pt x="179753" y="87527"/>
                  </a:lnTo>
                  <a:lnTo>
                    <a:pt x="203794" y="80263"/>
                  </a:lnTo>
                  <a:lnTo>
                    <a:pt x="215491" y="76707"/>
                  </a:lnTo>
                  <a:cubicBezTo>
                    <a:pt x="219352" y="75576"/>
                    <a:pt x="223047" y="74014"/>
                    <a:pt x="226857" y="72732"/>
                  </a:cubicBezTo>
                  <a:lnTo>
                    <a:pt x="269440" y="57212"/>
                  </a:lnTo>
                  <a:lnTo>
                    <a:pt x="269237" y="58254"/>
                  </a:lnTo>
                  <a:cubicBezTo>
                    <a:pt x="260156" y="50342"/>
                    <a:pt x="251406" y="42760"/>
                    <a:pt x="243062" y="35546"/>
                  </a:cubicBezTo>
                  <a:lnTo>
                    <a:pt x="236852" y="30352"/>
                  </a:lnTo>
                  <a:cubicBezTo>
                    <a:pt x="234896" y="28612"/>
                    <a:pt x="232826" y="27025"/>
                    <a:pt x="230629" y="25602"/>
                  </a:cubicBezTo>
                  <a:cubicBezTo>
                    <a:pt x="226006" y="23774"/>
                    <a:pt x="221269" y="22275"/>
                    <a:pt x="216431" y="21119"/>
                  </a:cubicBezTo>
                  <a:cubicBezTo>
                    <a:pt x="197584" y="16179"/>
                    <a:pt x="180998" y="12610"/>
                    <a:pt x="167409" y="9461"/>
                  </a:cubicBezTo>
                  <a:lnTo>
                    <a:pt x="135863" y="2476"/>
                  </a:lnTo>
                  <a:lnTo>
                    <a:pt x="127570" y="660"/>
                  </a:lnTo>
                  <a:cubicBezTo>
                    <a:pt x="125246" y="279"/>
                    <a:pt x="124306" y="0"/>
                    <a:pt x="124306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9" name="Free Form 3545">
              <a:extLst>
                <a:ext uri="{FF2B5EF4-FFF2-40B4-BE49-F238E27FC236}">
                  <a16:creationId xmlns:a16="http://schemas.microsoft.com/office/drawing/2014/main" id="{A96DF7B4-CAAD-C8CD-97CB-62FFE5444528}"/>
                </a:ext>
              </a:extLst>
            </p:cNvPr>
            <p:cNvSpPr/>
            <p:nvPr/>
          </p:nvSpPr>
          <p:spPr>
            <a:xfrm>
              <a:off x="25236602" y="30324872"/>
              <a:ext cx="53645" cy="101180"/>
            </a:xfrm>
            <a:custGeom>
              <a:avLst/>
              <a:gdLst/>
              <a:ahLst/>
              <a:cxnLst/>
              <a:rect l="0" t="0" r="0" b="0"/>
              <a:pathLst>
                <a:path w="53644" h="101179">
                  <a:moveTo>
                    <a:pt x="53644" y="0"/>
                  </a:moveTo>
                  <a:cubicBezTo>
                    <a:pt x="53237" y="241"/>
                    <a:pt x="52793" y="431"/>
                    <a:pt x="52336" y="571"/>
                  </a:cubicBezTo>
                  <a:lnTo>
                    <a:pt x="48564" y="1955"/>
                  </a:lnTo>
                  <a:lnTo>
                    <a:pt x="34505" y="6730"/>
                  </a:lnTo>
                  <a:lnTo>
                    <a:pt x="13665" y="13690"/>
                  </a:lnTo>
                  <a:cubicBezTo>
                    <a:pt x="11760" y="14300"/>
                    <a:pt x="10045" y="15417"/>
                    <a:pt x="8699" y="16916"/>
                  </a:cubicBezTo>
                  <a:cubicBezTo>
                    <a:pt x="7416" y="18605"/>
                    <a:pt x="6502" y="20535"/>
                    <a:pt x="6032" y="22593"/>
                  </a:cubicBezTo>
                  <a:cubicBezTo>
                    <a:pt x="4838" y="27063"/>
                    <a:pt x="3898" y="31584"/>
                    <a:pt x="3187" y="36143"/>
                  </a:cubicBezTo>
                  <a:cubicBezTo>
                    <a:pt x="1714" y="44944"/>
                    <a:pt x="1447" y="53898"/>
                    <a:pt x="2425" y="62775"/>
                  </a:cubicBezTo>
                  <a:cubicBezTo>
                    <a:pt x="3517" y="69976"/>
                    <a:pt x="5562" y="76999"/>
                    <a:pt x="8508" y="83666"/>
                  </a:cubicBezTo>
                  <a:cubicBezTo>
                    <a:pt x="10426" y="88200"/>
                    <a:pt x="12737" y="92556"/>
                    <a:pt x="15404" y="96696"/>
                  </a:cubicBezTo>
                  <a:cubicBezTo>
                    <a:pt x="17335" y="99541"/>
                    <a:pt x="18579" y="101103"/>
                    <a:pt x="18465" y="101179"/>
                  </a:cubicBezTo>
                  <a:cubicBezTo>
                    <a:pt x="18097" y="100887"/>
                    <a:pt x="17767" y="100544"/>
                    <a:pt x="17475" y="100163"/>
                  </a:cubicBezTo>
                  <a:cubicBezTo>
                    <a:pt x="16560" y="99173"/>
                    <a:pt x="15709" y="98119"/>
                    <a:pt x="14947" y="97014"/>
                  </a:cubicBezTo>
                  <a:cubicBezTo>
                    <a:pt x="12052" y="92963"/>
                    <a:pt x="9575" y="88632"/>
                    <a:pt x="7569" y="84098"/>
                  </a:cubicBezTo>
                  <a:cubicBezTo>
                    <a:pt x="4419" y="77392"/>
                    <a:pt x="2235" y="70281"/>
                    <a:pt x="1092" y="62965"/>
                  </a:cubicBezTo>
                  <a:cubicBezTo>
                    <a:pt x="0" y="53974"/>
                    <a:pt x="215" y="44855"/>
                    <a:pt x="1714" y="35915"/>
                  </a:cubicBezTo>
                  <a:cubicBezTo>
                    <a:pt x="2451" y="31292"/>
                    <a:pt x="3454" y="26720"/>
                    <a:pt x="4698" y="22199"/>
                  </a:cubicBezTo>
                  <a:cubicBezTo>
                    <a:pt x="5232" y="19951"/>
                    <a:pt x="6248" y="17830"/>
                    <a:pt x="7683" y="16014"/>
                  </a:cubicBezTo>
                  <a:cubicBezTo>
                    <a:pt x="9207" y="14325"/>
                    <a:pt x="11175" y="13080"/>
                    <a:pt x="13360" y="12407"/>
                  </a:cubicBezTo>
                  <a:cubicBezTo>
                    <a:pt x="21272" y="9816"/>
                    <a:pt x="28371" y="7632"/>
                    <a:pt x="34365" y="5740"/>
                  </a:cubicBezTo>
                  <a:lnTo>
                    <a:pt x="48564" y="1384"/>
                  </a:lnTo>
                  <a:lnTo>
                    <a:pt x="52450" y="279"/>
                  </a:lnTo>
                  <a:cubicBezTo>
                    <a:pt x="52831" y="139"/>
                    <a:pt x="53237" y="38"/>
                    <a:pt x="53644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0" name="Free Form 3546">
              <a:extLst>
                <a:ext uri="{FF2B5EF4-FFF2-40B4-BE49-F238E27FC236}">
                  <a16:creationId xmlns:a16="http://schemas.microsoft.com/office/drawing/2014/main" id="{C2A0FDB0-B52B-1F98-316D-BA510EF94E01}"/>
                </a:ext>
              </a:extLst>
            </p:cNvPr>
            <p:cNvSpPr/>
            <p:nvPr/>
          </p:nvSpPr>
          <p:spPr>
            <a:xfrm>
              <a:off x="25256462" y="30333758"/>
              <a:ext cx="59080" cy="75463"/>
            </a:xfrm>
            <a:custGeom>
              <a:avLst/>
              <a:gdLst/>
              <a:ahLst/>
              <a:cxnLst/>
              <a:rect l="0" t="0" r="0" b="0"/>
              <a:pathLst>
                <a:path w="59079" h="75462">
                  <a:moveTo>
                    <a:pt x="59079" y="0"/>
                  </a:moveTo>
                  <a:cubicBezTo>
                    <a:pt x="57771" y="660"/>
                    <a:pt x="56412" y="1206"/>
                    <a:pt x="55015" y="1650"/>
                  </a:cubicBezTo>
                  <a:lnTo>
                    <a:pt x="43662" y="5626"/>
                  </a:lnTo>
                  <a:lnTo>
                    <a:pt x="26885" y="11302"/>
                  </a:lnTo>
                  <a:cubicBezTo>
                    <a:pt x="23570" y="12255"/>
                    <a:pt x="20332" y="13461"/>
                    <a:pt x="17208" y="14909"/>
                  </a:cubicBezTo>
                  <a:cubicBezTo>
                    <a:pt x="14084" y="16751"/>
                    <a:pt x="11645" y="19545"/>
                    <a:pt x="10223" y="22885"/>
                  </a:cubicBezTo>
                  <a:cubicBezTo>
                    <a:pt x="7086" y="29349"/>
                    <a:pt x="4648" y="36118"/>
                    <a:pt x="2920" y="43090"/>
                  </a:cubicBezTo>
                  <a:cubicBezTo>
                    <a:pt x="1549" y="48780"/>
                    <a:pt x="1244" y="54672"/>
                    <a:pt x="2019" y="60476"/>
                  </a:cubicBezTo>
                  <a:cubicBezTo>
                    <a:pt x="2806" y="65823"/>
                    <a:pt x="4749" y="70928"/>
                    <a:pt x="7696" y="75462"/>
                  </a:cubicBezTo>
                  <a:cubicBezTo>
                    <a:pt x="7696" y="75462"/>
                    <a:pt x="7378" y="75208"/>
                    <a:pt x="6896" y="74637"/>
                  </a:cubicBezTo>
                  <a:cubicBezTo>
                    <a:pt x="6210" y="73798"/>
                    <a:pt x="5575" y="72909"/>
                    <a:pt x="5029" y="71970"/>
                  </a:cubicBezTo>
                  <a:cubicBezTo>
                    <a:pt x="2971" y="68464"/>
                    <a:pt x="1600" y="64616"/>
                    <a:pt x="965" y="60616"/>
                  </a:cubicBezTo>
                  <a:cubicBezTo>
                    <a:pt x="0" y="54685"/>
                    <a:pt x="203" y="48627"/>
                    <a:pt x="1562" y="42785"/>
                  </a:cubicBezTo>
                  <a:cubicBezTo>
                    <a:pt x="3225" y="35673"/>
                    <a:pt x="5676" y="28777"/>
                    <a:pt x="8851" y="22199"/>
                  </a:cubicBezTo>
                  <a:cubicBezTo>
                    <a:pt x="10426" y="18618"/>
                    <a:pt x="13106" y="15633"/>
                    <a:pt x="16497" y="13690"/>
                  </a:cubicBezTo>
                  <a:cubicBezTo>
                    <a:pt x="19722" y="12191"/>
                    <a:pt x="23062" y="10947"/>
                    <a:pt x="26491" y="9931"/>
                  </a:cubicBezTo>
                  <a:lnTo>
                    <a:pt x="43344" y="4546"/>
                  </a:lnTo>
                  <a:lnTo>
                    <a:pt x="54711" y="990"/>
                  </a:lnTo>
                  <a:cubicBezTo>
                    <a:pt x="56133" y="520"/>
                    <a:pt x="57593" y="190"/>
                    <a:pt x="59079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1" name="Free Form 3547">
              <a:extLst>
                <a:ext uri="{FF2B5EF4-FFF2-40B4-BE49-F238E27FC236}">
                  <a16:creationId xmlns:a16="http://schemas.microsoft.com/office/drawing/2014/main" id="{331638C3-43DC-2A58-F51E-6B6B3D860B99}"/>
                </a:ext>
              </a:extLst>
            </p:cNvPr>
            <p:cNvSpPr/>
            <p:nvPr/>
          </p:nvSpPr>
          <p:spPr>
            <a:xfrm>
              <a:off x="25288002" y="30354426"/>
              <a:ext cx="24105" cy="10071"/>
            </a:xfrm>
            <a:custGeom>
              <a:avLst/>
              <a:gdLst/>
              <a:ahLst/>
              <a:cxnLst/>
              <a:rect l="0" t="0" r="0" b="0"/>
              <a:pathLst>
                <a:path w="24104" h="10070">
                  <a:moveTo>
                    <a:pt x="24104" y="0"/>
                  </a:moveTo>
                  <a:cubicBezTo>
                    <a:pt x="21373" y="3644"/>
                    <a:pt x="17576" y="6349"/>
                    <a:pt x="13233" y="7721"/>
                  </a:cubicBezTo>
                  <a:cubicBezTo>
                    <a:pt x="9080" y="9562"/>
                    <a:pt x="4457" y="10070"/>
                    <a:pt x="0" y="9194"/>
                  </a:cubicBezTo>
                  <a:cubicBezTo>
                    <a:pt x="4317" y="8610"/>
                    <a:pt x="8572" y="7670"/>
                    <a:pt x="12725" y="6362"/>
                  </a:cubicBezTo>
                  <a:cubicBezTo>
                    <a:pt x="16687" y="4571"/>
                    <a:pt x="20497" y="2438"/>
                    <a:pt x="24104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2" name="Free Form 3548">
              <a:extLst>
                <a:ext uri="{FF2B5EF4-FFF2-40B4-BE49-F238E27FC236}">
                  <a16:creationId xmlns:a16="http://schemas.microsoft.com/office/drawing/2014/main" id="{4402EA8B-124F-C929-F7BB-0D7B9E03330B}"/>
                </a:ext>
              </a:extLst>
            </p:cNvPr>
            <p:cNvSpPr/>
            <p:nvPr/>
          </p:nvSpPr>
          <p:spPr>
            <a:xfrm>
              <a:off x="25330280" y="30374038"/>
              <a:ext cx="42951" cy="18657"/>
            </a:xfrm>
            <a:custGeom>
              <a:avLst/>
              <a:gdLst/>
              <a:ahLst/>
              <a:cxnLst/>
              <a:rect l="0" t="0" r="0" b="0"/>
              <a:pathLst>
                <a:path w="42950" h="18656">
                  <a:moveTo>
                    <a:pt x="42950" y="17551"/>
                  </a:moveTo>
                  <a:cubicBezTo>
                    <a:pt x="40664" y="18313"/>
                    <a:pt x="38264" y="18656"/>
                    <a:pt x="35851" y="18567"/>
                  </a:cubicBezTo>
                  <a:cubicBezTo>
                    <a:pt x="30022" y="18630"/>
                    <a:pt x="24231" y="17538"/>
                    <a:pt x="18821" y="15341"/>
                  </a:cubicBezTo>
                  <a:cubicBezTo>
                    <a:pt x="13411" y="13169"/>
                    <a:pt x="8496" y="9931"/>
                    <a:pt x="4368" y="5829"/>
                  </a:cubicBezTo>
                  <a:cubicBezTo>
                    <a:pt x="2590" y="4203"/>
                    <a:pt x="1117" y="2273"/>
                    <a:pt x="0" y="152"/>
                  </a:cubicBezTo>
                  <a:cubicBezTo>
                    <a:pt x="190" y="0"/>
                    <a:pt x="1866" y="2133"/>
                    <a:pt x="5105" y="5054"/>
                  </a:cubicBezTo>
                  <a:cubicBezTo>
                    <a:pt x="13576" y="12674"/>
                    <a:pt x="24447" y="17081"/>
                    <a:pt x="35826" y="17525"/>
                  </a:cubicBezTo>
                  <a:cubicBezTo>
                    <a:pt x="40195" y="17665"/>
                    <a:pt x="42900" y="17297"/>
                    <a:pt x="42950" y="17551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3" name="Free Form 3549">
              <a:extLst>
                <a:ext uri="{FF2B5EF4-FFF2-40B4-BE49-F238E27FC236}">
                  <a16:creationId xmlns:a16="http://schemas.microsoft.com/office/drawing/2014/main" id="{1F75A447-6AC3-9E34-F748-C97B7445B87C}"/>
                </a:ext>
              </a:extLst>
            </p:cNvPr>
            <p:cNvSpPr/>
            <p:nvPr/>
          </p:nvSpPr>
          <p:spPr>
            <a:xfrm>
              <a:off x="25222516" y="30319468"/>
              <a:ext cx="41439" cy="31382"/>
            </a:xfrm>
            <a:custGeom>
              <a:avLst/>
              <a:gdLst/>
              <a:ahLst/>
              <a:cxnLst/>
              <a:rect l="0" t="0" r="0" b="0"/>
              <a:pathLst>
                <a:path w="41439" h="31381">
                  <a:moveTo>
                    <a:pt x="41439" y="292"/>
                  </a:moveTo>
                  <a:cubicBezTo>
                    <a:pt x="41439" y="457"/>
                    <a:pt x="38175" y="723"/>
                    <a:pt x="32918" y="1739"/>
                  </a:cubicBezTo>
                  <a:cubicBezTo>
                    <a:pt x="30314" y="2222"/>
                    <a:pt x="27241" y="2844"/>
                    <a:pt x="23786" y="3619"/>
                  </a:cubicBezTo>
                  <a:cubicBezTo>
                    <a:pt x="20078" y="4216"/>
                    <a:pt x="16471" y="5346"/>
                    <a:pt x="13080" y="6959"/>
                  </a:cubicBezTo>
                  <a:cubicBezTo>
                    <a:pt x="9753" y="8610"/>
                    <a:pt x="6972" y="11163"/>
                    <a:pt x="5067" y="14350"/>
                  </a:cubicBezTo>
                  <a:cubicBezTo>
                    <a:pt x="3555" y="16992"/>
                    <a:pt x="2476" y="19875"/>
                    <a:pt x="1866" y="22859"/>
                  </a:cubicBezTo>
                  <a:cubicBezTo>
                    <a:pt x="723" y="28003"/>
                    <a:pt x="380" y="31381"/>
                    <a:pt x="126" y="31381"/>
                  </a:cubicBezTo>
                  <a:cubicBezTo>
                    <a:pt x="0" y="30606"/>
                    <a:pt x="0" y="29819"/>
                    <a:pt x="126" y="29057"/>
                  </a:cubicBezTo>
                  <a:cubicBezTo>
                    <a:pt x="241" y="26936"/>
                    <a:pt x="482" y="24828"/>
                    <a:pt x="838" y="22745"/>
                  </a:cubicBezTo>
                  <a:cubicBezTo>
                    <a:pt x="1358" y="19595"/>
                    <a:pt x="2412" y="16560"/>
                    <a:pt x="3936" y="13753"/>
                  </a:cubicBezTo>
                  <a:cubicBezTo>
                    <a:pt x="5918" y="10286"/>
                    <a:pt x="8877" y="7492"/>
                    <a:pt x="12458" y="5714"/>
                  </a:cubicBezTo>
                  <a:cubicBezTo>
                    <a:pt x="15976" y="4063"/>
                    <a:pt x="19710" y="2933"/>
                    <a:pt x="23558" y="2362"/>
                  </a:cubicBezTo>
                  <a:cubicBezTo>
                    <a:pt x="27012" y="1689"/>
                    <a:pt x="30174" y="1142"/>
                    <a:pt x="32803" y="800"/>
                  </a:cubicBezTo>
                  <a:cubicBezTo>
                    <a:pt x="35635" y="177"/>
                    <a:pt x="38556" y="0"/>
                    <a:pt x="41439" y="292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4" name="Free Form 3550">
              <a:extLst>
                <a:ext uri="{FF2B5EF4-FFF2-40B4-BE49-F238E27FC236}">
                  <a16:creationId xmlns:a16="http://schemas.microsoft.com/office/drawing/2014/main" id="{B141CE6C-D48D-4355-4F3D-61D2648EA4F1}"/>
                </a:ext>
              </a:extLst>
            </p:cNvPr>
            <p:cNvSpPr/>
            <p:nvPr/>
          </p:nvSpPr>
          <p:spPr>
            <a:xfrm>
              <a:off x="24862819" y="30579988"/>
              <a:ext cx="82625" cy="119722"/>
            </a:xfrm>
            <a:custGeom>
              <a:avLst/>
              <a:gdLst/>
              <a:ahLst/>
              <a:cxnLst/>
              <a:rect l="0" t="0" r="0" b="0"/>
              <a:pathLst>
                <a:path w="82625" h="119721">
                  <a:moveTo>
                    <a:pt x="82282" y="228"/>
                  </a:moveTo>
                  <a:cubicBezTo>
                    <a:pt x="82625" y="457"/>
                    <a:pt x="64540" y="27368"/>
                    <a:pt x="41934" y="60273"/>
                  </a:cubicBezTo>
                  <a:cubicBezTo>
                    <a:pt x="19341" y="93178"/>
                    <a:pt x="685" y="119721"/>
                    <a:pt x="342" y="119493"/>
                  </a:cubicBezTo>
                  <a:cubicBezTo>
                    <a:pt x="0" y="119277"/>
                    <a:pt x="18097" y="92378"/>
                    <a:pt x="40715" y="59448"/>
                  </a:cubicBezTo>
                  <a:cubicBezTo>
                    <a:pt x="63346" y="26517"/>
                    <a:pt x="81888" y="0"/>
                    <a:pt x="82282" y="22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</p:grpSp>
      <p:sp>
        <p:nvSpPr>
          <p:cNvPr id="1595" name="Rounded Rectangle 1594">
            <a:extLst>
              <a:ext uri="{FF2B5EF4-FFF2-40B4-BE49-F238E27FC236}">
                <a16:creationId xmlns:a16="http://schemas.microsoft.com/office/drawing/2014/main" id="{D5B0EF73-A89B-939E-A040-E79601D5FF22}"/>
              </a:ext>
            </a:extLst>
          </p:cNvPr>
          <p:cNvSpPr/>
          <p:nvPr/>
        </p:nvSpPr>
        <p:spPr>
          <a:xfrm>
            <a:off x="2814693" y="868154"/>
            <a:ext cx="4770106" cy="1189301"/>
          </a:xfrm>
          <a:prstGeom prst="roundRect">
            <a:avLst>
              <a:gd name="adj" fmla="val 0"/>
            </a:avLst>
          </a:prstGeom>
          <a:solidFill>
            <a:srgbClr val="93CB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0000"/>
              </a:lnSpc>
            </a:pPr>
            <a:endParaRPr lang="en-CH" sz="1819">
              <a:solidFill>
                <a:srgbClr val="202934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596" name="Rounded Rectangle 1595">
            <a:extLst>
              <a:ext uri="{FF2B5EF4-FFF2-40B4-BE49-F238E27FC236}">
                <a16:creationId xmlns:a16="http://schemas.microsoft.com/office/drawing/2014/main" id="{8050EE77-BA1A-A8A1-BBFC-634D671C585F}"/>
              </a:ext>
            </a:extLst>
          </p:cNvPr>
          <p:cNvSpPr/>
          <p:nvPr/>
        </p:nvSpPr>
        <p:spPr>
          <a:xfrm>
            <a:off x="3896178" y="3215009"/>
            <a:ext cx="2607133" cy="1206303"/>
          </a:xfrm>
          <a:prstGeom prst="roundRect">
            <a:avLst>
              <a:gd name="adj" fmla="val 0"/>
            </a:avLst>
          </a:prstGeom>
          <a:solidFill>
            <a:srgbClr val="4EA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0000"/>
              </a:lnSpc>
            </a:pPr>
            <a:endParaRPr lang="en-CH" sz="1819">
              <a:solidFill>
                <a:srgbClr val="202934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597" name="Rounded Rectangle 1596">
            <a:extLst>
              <a:ext uri="{FF2B5EF4-FFF2-40B4-BE49-F238E27FC236}">
                <a16:creationId xmlns:a16="http://schemas.microsoft.com/office/drawing/2014/main" id="{414497AE-32DD-4310-8E14-00DEE44B9F02}"/>
              </a:ext>
            </a:extLst>
          </p:cNvPr>
          <p:cNvSpPr/>
          <p:nvPr/>
        </p:nvSpPr>
        <p:spPr>
          <a:xfrm>
            <a:off x="3084362" y="1049595"/>
            <a:ext cx="4230764" cy="963248"/>
          </a:xfrm>
          <a:prstGeom prst="roundRect">
            <a:avLst>
              <a:gd name="adj" fmla="val 706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CH" sz="1819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Free self-paced courses</a:t>
            </a:r>
          </a:p>
          <a:p>
            <a:pPr algn="ctr">
              <a:lnSpc>
                <a:spcPct val="90000"/>
              </a:lnSpc>
            </a:pPr>
            <a:r>
              <a:rPr lang="en-CH" sz="1559" b="1" dirty="0">
                <a:solidFill>
                  <a:srgbClr val="202934"/>
                </a:solidFill>
                <a:latin typeface="Avenir Next LT Pro" panose="020B0504020202020204" pitchFamily="34" charset="77"/>
              </a:rPr>
              <a:t>O</a:t>
            </a:r>
            <a:r>
              <a:rPr lang="en-GB" sz="1559" b="1" dirty="0">
                <a:solidFill>
                  <a:srgbClr val="202934"/>
                </a:solidFill>
                <a:latin typeface="Avenir Next LT Pro" panose="020B0504020202020204" pitchFamily="34" charset="77"/>
              </a:rPr>
              <a:t>p</a:t>
            </a:r>
            <a:r>
              <a:rPr lang="en-CH" sz="1559" b="1" dirty="0">
                <a:solidFill>
                  <a:srgbClr val="202934"/>
                </a:solidFill>
                <a:latin typeface="Avenir Next LT Pro" panose="020B0504020202020204" pitchFamily="34" charset="77"/>
              </a:rPr>
              <a:t>en enrollment</a:t>
            </a:r>
          </a:p>
        </p:txBody>
      </p:sp>
      <p:grpSp>
        <p:nvGrpSpPr>
          <p:cNvPr id="1598" name="Group 1597">
            <a:extLst>
              <a:ext uri="{FF2B5EF4-FFF2-40B4-BE49-F238E27FC236}">
                <a16:creationId xmlns:a16="http://schemas.microsoft.com/office/drawing/2014/main" id="{76BA1C62-AA3E-1D9E-E79C-98FE2241FDCB}"/>
              </a:ext>
            </a:extLst>
          </p:cNvPr>
          <p:cNvGrpSpPr/>
          <p:nvPr/>
        </p:nvGrpSpPr>
        <p:grpSpPr>
          <a:xfrm>
            <a:off x="2342674" y="2057455"/>
            <a:ext cx="4750126" cy="1172342"/>
            <a:chOff x="4171367" y="2606732"/>
            <a:chExt cx="7312280" cy="1804687"/>
          </a:xfrm>
        </p:grpSpPr>
        <p:pic>
          <p:nvPicPr>
            <p:cNvPr id="1599" name="Picture 1598">
              <a:extLst>
                <a:ext uri="{FF2B5EF4-FFF2-40B4-BE49-F238E27FC236}">
                  <a16:creationId xmlns:a16="http://schemas.microsoft.com/office/drawing/2014/main" id="{66E8AED6-4CCB-5451-2E99-7A1191845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71367" y="2923559"/>
              <a:ext cx="1465753" cy="958174"/>
            </a:xfrm>
            <a:prstGeom prst="rect">
              <a:avLst/>
            </a:prstGeom>
          </p:spPr>
        </p:pic>
        <p:sp>
          <p:nvSpPr>
            <p:cNvPr id="1600" name="Rounded Rectangle 1599">
              <a:extLst>
                <a:ext uri="{FF2B5EF4-FFF2-40B4-BE49-F238E27FC236}">
                  <a16:creationId xmlns:a16="http://schemas.microsoft.com/office/drawing/2014/main" id="{58606EDB-2E14-B5CF-4DFE-18BBDC8BF7DD}"/>
                </a:ext>
              </a:extLst>
            </p:cNvPr>
            <p:cNvSpPr/>
            <p:nvPr/>
          </p:nvSpPr>
          <p:spPr>
            <a:xfrm>
              <a:off x="5655362" y="2606732"/>
              <a:ext cx="5828285" cy="1781923"/>
            </a:xfrm>
            <a:prstGeom prst="roundRect">
              <a:avLst>
                <a:gd name="adj" fmla="val 0"/>
              </a:avLst>
            </a:prstGeom>
            <a:solidFill>
              <a:srgbClr val="72B6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80000"/>
                </a:lnSpc>
              </a:pPr>
              <a:endParaRPr lang="en-CH" sz="1819" b="1">
                <a:solidFill>
                  <a:srgbClr val="202934"/>
                </a:solidFill>
                <a:latin typeface="Avenir Next LT Pro" panose="020B0504020202020204" pitchFamily="34" charset="77"/>
              </a:endParaRPr>
            </a:p>
          </p:txBody>
        </p:sp>
        <p:sp>
          <p:nvSpPr>
            <p:cNvPr id="1601" name="Rounded Rectangle 1600">
              <a:extLst>
                <a:ext uri="{FF2B5EF4-FFF2-40B4-BE49-F238E27FC236}">
                  <a16:creationId xmlns:a16="http://schemas.microsoft.com/office/drawing/2014/main" id="{8AB7AA0E-BAA9-C76B-169A-5603DAEF9F2C}"/>
                </a:ext>
              </a:extLst>
            </p:cNvPr>
            <p:cNvSpPr/>
            <p:nvPr/>
          </p:nvSpPr>
          <p:spPr>
            <a:xfrm>
              <a:off x="6306496" y="2926280"/>
              <a:ext cx="4526013" cy="1485139"/>
            </a:xfrm>
            <a:prstGeom prst="roundRect">
              <a:avLst>
                <a:gd name="adj" fmla="val 7066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80000"/>
                </a:lnSpc>
              </a:pPr>
              <a:r>
                <a:rPr lang="en-CH" sz="1819" b="1" dirty="0">
                  <a:solidFill>
                    <a:schemeClr val="bg1"/>
                  </a:solidFill>
                  <a:latin typeface="Avenir Next LT Pro" panose="020B0504020202020204" pitchFamily="34" charset="77"/>
                </a:rPr>
                <a:t>Guided</a:t>
              </a:r>
              <a:r>
                <a:rPr lang="en-GB" sz="1819" b="1" dirty="0">
                  <a:solidFill>
                    <a:schemeClr val="bg1"/>
                  </a:solidFill>
                  <a:latin typeface="Avenir Next LT Pro" panose="020B0504020202020204" pitchFamily="34" charset="77"/>
                </a:rPr>
                <a:t> live</a:t>
              </a:r>
              <a:r>
                <a:rPr lang="en-CH" sz="1819" b="1" dirty="0">
                  <a:solidFill>
                    <a:schemeClr val="bg1"/>
                  </a:solidFill>
                  <a:latin typeface="Avenir Next LT Pro" panose="020B0504020202020204" pitchFamily="34" charset="77"/>
                </a:rPr>
                <a:t> cohorts</a:t>
              </a:r>
            </a:p>
            <a:p>
              <a:pPr algn="ctr">
                <a:lnSpc>
                  <a:spcPct val="80000"/>
                </a:lnSpc>
              </a:pPr>
              <a:r>
                <a:rPr lang="en-CH" sz="1559" b="1" dirty="0">
                  <a:solidFill>
                    <a:srgbClr val="202934"/>
                  </a:solidFill>
                  <a:latin typeface="Avenir Next LT Pro" panose="020B0504020202020204" pitchFamily="34" charset="77"/>
                </a:rPr>
                <a:t>30-40 per cohort</a:t>
              </a:r>
            </a:p>
            <a:p>
              <a:pPr algn="ctr">
                <a:lnSpc>
                  <a:spcPct val="80000"/>
                </a:lnSpc>
              </a:pPr>
              <a:endParaRPr lang="en-CH" sz="1819" b="1" dirty="0">
                <a:solidFill>
                  <a:srgbClr val="202934"/>
                </a:solidFill>
                <a:latin typeface="Avenir Next LT Pro" panose="020B0504020202020204" pitchFamily="34" charset="77"/>
              </a:endParaRPr>
            </a:p>
          </p:txBody>
        </p:sp>
      </p:grpSp>
      <p:sp>
        <p:nvSpPr>
          <p:cNvPr id="1602" name="Rounded Rectangle 1601">
            <a:extLst>
              <a:ext uri="{FF2B5EF4-FFF2-40B4-BE49-F238E27FC236}">
                <a16:creationId xmlns:a16="http://schemas.microsoft.com/office/drawing/2014/main" id="{52F2749C-139B-8D7A-02EC-28D834E5BA96}"/>
              </a:ext>
            </a:extLst>
          </p:cNvPr>
          <p:cNvSpPr/>
          <p:nvPr/>
        </p:nvSpPr>
        <p:spPr>
          <a:xfrm>
            <a:off x="3896178" y="3402965"/>
            <a:ext cx="2607133" cy="1305758"/>
          </a:xfrm>
          <a:prstGeom prst="roundRect">
            <a:avLst>
              <a:gd name="adj" fmla="val 706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0000"/>
              </a:lnSpc>
            </a:pPr>
            <a:r>
              <a:rPr lang="en-CH" sz="1689" b="1">
                <a:solidFill>
                  <a:schemeClr val="bg1"/>
                </a:solidFill>
                <a:latin typeface="Avenir Next LT Pro" panose="020B0504020202020204" pitchFamily="34" charset="77"/>
              </a:rPr>
              <a:t>Custom group training</a:t>
            </a:r>
          </a:p>
          <a:p>
            <a:pPr algn="ctr">
              <a:lnSpc>
                <a:spcPct val="90000"/>
              </a:lnSpc>
            </a:pPr>
            <a:r>
              <a:rPr lang="en-CH" sz="1559" b="1">
                <a:solidFill>
                  <a:srgbClr val="202934"/>
                </a:solidFill>
                <a:latin typeface="Avenir Next LT Pro" panose="020B0504020202020204" pitchFamily="34" charset="77"/>
              </a:rPr>
              <a:t>Bespoke, long-term </a:t>
            </a:r>
          </a:p>
          <a:p>
            <a:pPr algn="ctr">
              <a:lnSpc>
                <a:spcPct val="90000"/>
              </a:lnSpc>
            </a:pPr>
            <a:r>
              <a:rPr lang="en-CH" sz="1559" b="1">
                <a:solidFill>
                  <a:srgbClr val="202934"/>
                </a:solidFill>
                <a:latin typeface="Avenir Next LT Pro" panose="020B0504020202020204" pitchFamily="34" charset="77"/>
              </a:rPr>
              <a:t>For govt, companies &amp; NGOs</a:t>
            </a:r>
          </a:p>
        </p:txBody>
      </p:sp>
      <p:sp>
        <p:nvSpPr>
          <p:cNvPr id="1603" name="TextBox 1602">
            <a:extLst>
              <a:ext uri="{FF2B5EF4-FFF2-40B4-BE49-F238E27FC236}">
                <a16:creationId xmlns:a16="http://schemas.microsoft.com/office/drawing/2014/main" id="{546368CE-4DE4-F877-3CA2-C7E1FA7EC140}"/>
              </a:ext>
            </a:extLst>
          </p:cNvPr>
          <p:cNvSpPr txBox="1"/>
          <p:nvPr/>
        </p:nvSpPr>
        <p:spPr>
          <a:xfrm>
            <a:off x="2284802" y="2829687"/>
            <a:ext cx="5934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2000" b="1" dirty="0"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3912689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5" grpId="0" animBg="1"/>
      <p:bldP spid="1596" grpId="0" animBg="1"/>
      <p:bldP spid="1597" grpId="0"/>
      <p:bldP spid="1602" grpId="0"/>
      <p:bldP spid="160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1271752" y="1685202"/>
            <a:ext cx="7067528" cy="1187474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kumimoji="0" lang="en" sz="4400" b="0" i="0" u="none" strike="noStrike" kern="0" cap="none" spc="0" normalizeH="0" baseline="0" noProof="0" dirty="0">
                <a:ln>
                  <a:noFill/>
                </a:ln>
                <a:solidFill>
                  <a:srgbClr val="20293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👩🏽‍💻</a:t>
            </a:r>
            <a:r>
              <a:rPr lang="en" sz="4400" b="1" dirty="0"/>
              <a:t> Cosmos </a:t>
            </a:r>
            <a:r>
              <a:rPr lang="en" sz="4400" b="1" dirty="0" err="1"/>
              <a:t>pract</a:t>
            </a:r>
            <a:r>
              <a:rPr lang="en-GB" sz="4400" b="1" dirty="0" err="1"/>
              <a:t>i</a:t>
            </a:r>
            <a:r>
              <a:rPr lang="en" sz="4400" b="1" dirty="0" err="1"/>
              <a:t>ce</a:t>
            </a:r>
            <a:r>
              <a:rPr lang="en" sz="4400" b="1" dirty="0"/>
              <a:t> </a:t>
            </a:r>
            <a:r>
              <a:rPr lang="en" sz="4000" b="1" dirty="0">
                <a:solidFill>
                  <a:schemeClr val="bg1">
                    <a:lumMod val="65000"/>
                  </a:schemeClr>
                </a:solidFill>
              </a:rPr>
              <a:t>(10 mins)</a:t>
            </a:r>
          </a:p>
        </p:txBody>
      </p:sp>
    </p:spTree>
    <p:extLst>
      <p:ext uri="{BB962C8B-B14F-4D97-AF65-F5344CB8AC3E}">
        <p14:creationId xmlns:p14="http://schemas.microsoft.com/office/powerpoint/2010/main" val="29381036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458330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Recommended browser: Chrome</a:t>
            </a:r>
          </a:p>
        </p:txBody>
      </p:sp>
      <p:sp>
        <p:nvSpPr>
          <p:cNvPr id="2" name="Google Shape;43;p8">
            <a:extLst>
              <a:ext uri="{FF2B5EF4-FFF2-40B4-BE49-F238E27FC236}">
                <a16:creationId xmlns:a16="http://schemas.microsoft.com/office/drawing/2014/main" id="{9FDEB8FD-BCC2-31EA-6E1E-05F561178F6E}"/>
              </a:ext>
            </a:extLst>
          </p:cNvPr>
          <p:cNvSpPr txBox="1">
            <a:spLocks/>
          </p:cNvSpPr>
          <p:nvPr/>
        </p:nvSpPr>
        <p:spPr>
          <a:xfrm>
            <a:off x="-3011614" y="5486455"/>
            <a:ext cx="8635800" cy="6204232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Use the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Change to double-click navigation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Rooms vs open space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Explain all the toolbar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(simultaneous screenshare. Picture in picture vs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Ignore app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Quest 1: Talk to a partner. Screenshare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Quest 2: Form a larger pod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Quest 3: Ping an instructor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Instructors have underscore prefi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9D56E8-4C73-7A9C-E189-B9E334133134}"/>
              </a:ext>
            </a:extLst>
          </p:cNvPr>
          <p:cNvSpPr txBox="1"/>
          <p:nvPr/>
        </p:nvSpPr>
        <p:spPr>
          <a:xfrm>
            <a:off x="266608" y="583447"/>
            <a:ext cx="29963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How to accept permis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2EC309-A93B-A27D-010B-2F782CF9638F}"/>
              </a:ext>
            </a:extLst>
          </p:cNvPr>
          <p:cNvSpPr txBox="1"/>
          <p:nvPr/>
        </p:nvSpPr>
        <p:spPr>
          <a:xfrm>
            <a:off x="4064633" y="512234"/>
            <a:ext cx="43797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In case you did not accept the first time:</a:t>
            </a: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B59D1A2-32DA-B14B-D0F6-967F741460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696" y="1059187"/>
            <a:ext cx="2440156" cy="2045863"/>
          </a:xfrm>
          <a:prstGeom prst="roundRect">
            <a:avLst>
              <a:gd name="adj" fmla="val 7888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Picture 1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885241E-26C2-7243-2B76-666F37E843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6446" y="983557"/>
            <a:ext cx="2736098" cy="176307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Picture 1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77C97050-39E7-D2F9-1FDF-E22DD0FEB1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4207" y="2939070"/>
            <a:ext cx="5614667" cy="9775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E21C9FA-A43A-64AF-BFA6-1F29794FE446}"/>
              </a:ext>
            </a:extLst>
          </p:cNvPr>
          <p:cNvSpPr txBox="1"/>
          <p:nvPr/>
        </p:nvSpPr>
        <p:spPr>
          <a:xfrm>
            <a:off x="5330952" y="4160520"/>
            <a:ext cx="12089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dirty="0">
                <a:latin typeface="Calibri" panose="020F0502020204030204" pitchFamily="34" charset="0"/>
                <a:cs typeface="Calibri" panose="020F0502020204030204" pitchFamily="34" charset="0"/>
              </a:rPr>
              <a:t>Then “reload”</a:t>
            </a:r>
          </a:p>
        </p:txBody>
      </p:sp>
    </p:spTree>
    <p:extLst>
      <p:ext uri="{BB962C8B-B14F-4D97-AF65-F5344CB8AC3E}">
        <p14:creationId xmlns:p14="http://schemas.microsoft.com/office/powerpoint/2010/main" val="375070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4927952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Maximize and minimize screenshare</a:t>
            </a:r>
          </a:p>
        </p:txBody>
      </p:sp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90C0955D-9005-9B25-64D4-9D0E64D8B6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2227" r="32260"/>
          <a:stretch/>
        </p:blipFill>
        <p:spPr>
          <a:xfrm>
            <a:off x="557377" y="2752947"/>
            <a:ext cx="2029783" cy="1537722"/>
          </a:xfrm>
          <a:prstGeom prst="rect">
            <a:avLst/>
          </a:prstGeom>
        </p:spPr>
      </p:pic>
      <p:sp>
        <p:nvSpPr>
          <p:cNvPr id="6" name="Google Shape;96;p15">
            <a:extLst>
              <a:ext uri="{FF2B5EF4-FFF2-40B4-BE49-F238E27FC236}">
                <a16:creationId xmlns:a16="http://schemas.microsoft.com/office/drawing/2014/main" id="{40025EED-7CBF-91B6-3FB8-318A62A468A7}"/>
              </a:ext>
            </a:extLst>
          </p:cNvPr>
          <p:cNvSpPr/>
          <p:nvPr/>
        </p:nvSpPr>
        <p:spPr>
          <a:xfrm>
            <a:off x="1222424" y="3304940"/>
            <a:ext cx="581593" cy="433735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7" name="Google Shape;97;p15">
            <a:extLst>
              <a:ext uri="{FF2B5EF4-FFF2-40B4-BE49-F238E27FC236}">
                <a16:creationId xmlns:a16="http://schemas.microsoft.com/office/drawing/2014/main" id="{516A2927-3859-470E-20A2-CD9428328CB7}"/>
              </a:ext>
            </a:extLst>
          </p:cNvPr>
          <p:cNvCxnSpPr>
            <a:cxnSpLocks/>
          </p:cNvCxnSpPr>
          <p:nvPr/>
        </p:nvCxnSpPr>
        <p:spPr>
          <a:xfrm flipH="1">
            <a:off x="1724891" y="2097648"/>
            <a:ext cx="305949" cy="1207292"/>
          </a:xfrm>
          <a:prstGeom prst="straightConnector1">
            <a:avLst/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" name="Google Shape;98;p15">
            <a:extLst>
              <a:ext uri="{FF2B5EF4-FFF2-40B4-BE49-F238E27FC236}">
                <a16:creationId xmlns:a16="http://schemas.microsoft.com/office/drawing/2014/main" id="{5FBAA27C-7A1C-D7F3-B304-487C07C61721}"/>
              </a:ext>
            </a:extLst>
          </p:cNvPr>
          <p:cNvSpPr txBox="1"/>
          <p:nvPr/>
        </p:nvSpPr>
        <p:spPr>
          <a:xfrm>
            <a:off x="557377" y="1472600"/>
            <a:ext cx="3577310" cy="800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 dirty="0">
                <a:solidFill>
                  <a:srgbClr val="EE764B"/>
                </a:solidFill>
              </a:rPr>
              <a:t>Maximize screenshar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 dirty="0">
                <a:solidFill>
                  <a:srgbClr val="EE764B"/>
                </a:solidFill>
              </a:rPr>
              <a:t>(left side of your screen)</a:t>
            </a:r>
            <a:endParaRPr sz="2000" b="1" dirty="0">
              <a:solidFill>
                <a:srgbClr val="EE764B"/>
              </a:solidFill>
            </a:endParaRP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26E2E20C-CBB1-AB1B-3C8F-07CC518EAD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2103968"/>
            <a:ext cx="3486150" cy="2752224"/>
          </a:xfrm>
          <a:prstGeom prst="rect">
            <a:avLst/>
          </a:prstGeom>
        </p:spPr>
      </p:pic>
      <p:sp>
        <p:nvSpPr>
          <p:cNvPr id="16" name="Google Shape;98;p15">
            <a:extLst>
              <a:ext uri="{FF2B5EF4-FFF2-40B4-BE49-F238E27FC236}">
                <a16:creationId xmlns:a16="http://schemas.microsoft.com/office/drawing/2014/main" id="{733B5E6A-60B9-C172-C67F-5C6A0EB80191}"/>
              </a:ext>
            </a:extLst>
          </p:cNvPr>
          <p:cNvSpPr txBox="1"/>
          <p:nvPr/>
        </p:nvSpPr>
        <p:spPr>
          <a:xfrm>
            <a:off x="3971925" y="1223665"/>
            <a:ext cx="4686300" cy="800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 dirty="0">
                <a:solidFill>
                  <a:srgbClr val="EE764B"/>
                </a:solidFill>
              </a:rPr>
              <a:t>Minimize screenshar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 dirty="0">
                <a:solidFill>
                  <a:srgbClr val="EE764B"/>
                </a:solidFill>
              </a:rPr>
              <a:t>(bottom right side of your screen)</a:t>
            </a:r>
            <a:endParaRPr sz="2000" b="1" dirty="0">
              <a:solidFill>
                <a:srgbClr val="EE764B"/>
              </a:solidFill>
            </a:endParaRPr>
          </a:p>
        </p:txBody>
      </p:sp>
      <p:sp>
        <p:nvSpPr>
          <p:cNvPr id="19" name="Google Shape;96;p15">
            <a:extLst>
              <a:ext uri="{FF2B5EF4-FFF2-40B4-BE49-F238E27FC236}">
                <a16:creationId xmlns:a16="http://schemas.microsoft.com/office/drawing/2014/main" id="{270A0774-555A-98C4-F76F-C6929E3DFDD0}"/>
              </a:ext>
            </a:extLst>
          </p:cNvPr>
          <p:cNvSpPr/>
          <p:nvPr/>
        </p:nvSpPr>
        <p:spPr>
          <a:xfrm>
            <a:off x="7181610" y="4354916"/>
            <a:ext cx="581593" cy="433735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0" name="Google Shape;97;p15">
            <a:extLst>
              <a:ext uri="{FF2B5EF4-FFF2-40B4-BE49-F238E27FC236}">
                <a16:creationId xmlns:a16="http://schemas.microsoft.com/office/drawing/2014/main" id="{F3C17507-AFA0-CC4B-EA8D-08EE94D0B79B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6315075" y="2023854"/>
            <a:ext cx="1345455" cy="2434366"/>
          </a:xfrm>
          <a:prstGeom prst="straightConnector1">
            <a:avLst/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med" len="med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24724428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24319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Navigation &amp; Proxim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9D56E8-4C73-7A9C-E189-B9E334133134}"/>
              </a:ext>
            </a:extLst>
          </p:cNvPr>
          <p:cNvSpPr txBox="1"/>
          <p:nvPr/>
        </p:nvSpPr>
        <p:spPr>
          <a:xfrm>
            <a:off x="359564" y="592332"/>
            <a:ext cx="70947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Pinch your trackpad or scroll your scroll-wheel to zoom in or o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Or use the icons at the bottom right of the screen</a:t>
            </a:r>
          </a:p>
        </p:txBody>
      </p:sp>
      <p:pic>
        <p:nvPicPr>
          <p:cNvPr id="6" name="Picture 5" descr="A picture containing text, electronics, purple&#10;&#10;Description automatically generated">
            <a:extLst>
              <a:ext uri="{FF2B5EF4-FFF2-40B4-BE49-F238E27FC236}">
                <a16:creationId xmlns:a16="http://schemas.microsoft.com/office/drawing/2014/main" id="{60ECFCBE-D405-1F34-4AF5-4F31C62E4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9632" y="2027332"/>
            <a:ext cx="4229100" cy="2451100"/>
          </a:xfrm>
          <a:prstGeom prst="rect">
            <a:avLst/>
          </a:prstGeom>
        </p:spPr>
      </p:pic>
      <p:sp>
        <p:nvSpPr>
          <p:cNvPr id="7" name="Google Shape;96;p15">
            <a:extLst>
              <a:ext uri="{FF2B5EF4-FFF2-40B4-BE49-F238E27FC236}">
                <a16:creationId xmlns:a16="http://schemas.microsoft.com/office/drawing/2014/main" id="{F3344F1E-D68C-830F-B67A-BEAF58DE2B8C}"/>
              </a:ext>
            </a:extLst>
          </p:cNvPr>
          <p:cNvSpPr/>
          <p:nvPr/>
        </p:nvSpPr>
        <p:spPr>
          <a:xfrm>
            <a:off x="3705852" y="3419240"/>
            <a:ext cx="581593" cy="433735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96;p15">
            <a:extLst>
              <a:ext uri="{FF2B5EF4-FFF2-40B4-BE49-F238E27FC236}">
                <a16:creationId xmlns:a16="http://schemas.microsoft.com/office/drawing/2014/main" id="{041552FE-A7C2-F480-47A7-AFCE3ADDF4CC}"/>
              </a:ext>
            </a:extLst>
          </p:cNvPr>
          <p:cNvSpPr/>
          <p:nvPr/>
        </p:nvSpPr>
        <p:spPr>
          <a:xfrm>
            <a:off x="5203636" y="3428919"/>
            <a:ext cx="581593" cy="433735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0672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24319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Navigation &amp; Proxim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9D56E8-4C73-7A9C-E189-B9E334133134}"/>
              </a:ext>
            </a:extLst>
          </p:cNvPr>
          <p:cNvSpPr txBox="1"/>
          <p:nvPr/>
        </p:nvSpPr>
        <p:spPr>
          <a:xfrm>
            <a:off x="359564" y="592332"/>
            <a:ext cx="70947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Use the arrow keys to wal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Click anywhere on the floor to jet there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(You cannot click on desks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13A879-E9A6-DCA5-138B-BBF4E0B85B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4100" y="1872759"/>
            <a:ext cx="3321346" cy="201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472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24319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Navigation &amp; Proxim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9D56E8-4C73-7A9C-E189-B9E334133134}"/>
              </a:ext>
            </a:extLst>
          </p:cNvPr>
          <p:cNvSpPr txBox="1"/>
          <p:nvPr/>
        </p:nvSpPr>
        <p:spPr>
          <a:xfrm>
            <a:off x="359564" y="592332"/>
            <a:ext cx="70947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Click on a person to go to them or invite them to talk</a:t>
            </a:r>
          </a:p>
        </p:txBody>
      </p:sp>
      <p:pic>
        <p:nvPicPr>
          <p:cNvPr id="13" name="Picture 12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C489091D-D0C0-066F-D15C-909507B52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5257" y="1496292"/>
            <a:ext cx="4309298" cy="2910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891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237839" y="593822"/>
            <a:ext cx="6344030" cy="3146985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indent="0">
              <a:lnSpc>
                <a:spcPct val="150000"/>
              </a:lnSpc>
              <a:buNone/>
              <a:defRPr/>
            </a:pPr>
            <a:r>
              <a:rPr lang="en" sz="2400" dirty="0"/>
              <a:t>1</a:t>
            </a: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20293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. 👋🏽 Welcome presentation </a:t>
            </a: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(</a:t>
            </a:r>
            <a:r>
              <a:rPr lang="en" sz="2000" dirty="0">
                <a:solidFill>
                  <a:srgbClr val="FFFFFF">
                    <a:lumMod val="65000"/>
                  </a:srgbClr>
                </a:solidFill>
              </a:rPr>
              <a:t>7</a:t>
            </a: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mins)</a:t>
            </a:r>
            <a:endParaRPr lang="en" sz="2400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202934"/>
              </a:buClr>
              <a:buSzPts val="2100"/>
              <a:buFont typeface="Arial"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20293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2. 👩🏽‍💻 Cosmos practice </a:t>
            </a: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(10 mins)</a:t>
            </a:r>
            <a:b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</a:br>
            <a:r>
              <a:rPr lang="en" sz="2400" dirty="0"/>
              <a:t>3</a:t>
            </a:r>
            <a:r>
              <a:rPr kumimoji="0" lang="en" sz="2400" b="0" i="0" u="none" strike="noStrike" kern="0" cap="none" spc="0" normalizeH="0" baseline="0" noProof="0" dirty="0">
                <a:ln>
                  <a:noFill/>
                </a:ln>
                <a:solidFill>
                  <a:srgbClr val="202934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. 📝 Course details </a:t>
            </a:r>
            <a:r>
              <a:rPr kumimoji="0" lang="en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(7 mins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202934"/>
              </a:buClr>
              <a:buSzPts val="2100"/>
              <a:buFont typeface="Arial"/>
              <a:buNone/>
              <a:tabLst/>
              <a:defRPr/>
            </a:pPr>
            <a:r>
              <a:rPr lang="en" sz="2400" dirty="0"/>
              <a:t>4. 🏫 </a:t>
            </a:r>
            <a:r>
              <a:rPr lang="en-GB" sz="2400" dirty="0"/>
              <a:t>Sign up to GRAPH Courses website </a:t>
            </a:r>
            <a:r>
              <a:rPr lang="en-GB" sz="2000" dirty="0">
                <a:solidFill>
                  <a:schemeClr val="bg1">
                    <a:lumMod val="65000"/>
                  </a:schemeClr>
                </a:solidFill>
              </a:rPr>
              <a:t>(10 mins)</a:t>
            </a:r>
            <a:br>
              <a:rPr lang="en-GB" sz="2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" sz="2400" dirty="0"/>
              <a:t>5. ⏰ Study hall poll </a:t>
            </a:r>
            <a:r>
              <a:rPr lang="en-GB" sz="2000" dirty="0">
                <a:solidFill>
                  <a:schemeClr val="bg1">
                    <a:lumMod val="65000"/>
                  </a:schemeClr>
                </a:solidFill>
              </a:rPr>
              <a:t>(5 mins)</a:t>
            </a:r>
            <a:endParaRPr lang="en-GB" sz="2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237839" y="192122"/>
            <a:ext cx="4334100" cy="4017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eeting outlin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89599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1077539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Room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9D56E8-4C73-7A9C-E189-B9E334133134}"/>
              </a:ext>
            </a:extLst>
          </p:cNvPr>
          <p:cNvSpPr txBox="1"/>
          <p:nvPr/>
        </p:nvSpPr>
        <p:spPr>
          <a:xfrm>
            <a:off x="359564" y="592332"/>
            <a:ext cx="70947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When you are in the same room as someone else, you automatically join a video call with the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We have one central conference room, and 6 meeting rooms (this is likely to change)</a:t>
            </a:r>
          </a:p>
        </p:txBody>
      </p:sp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8DD08374-75AB-23F2-2BE1-A36EB92E67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666" b="10556"/>
          <a:stretch/>
        </p:blipFill>
        <p:spPr>
          <a:xfrm>
            <a:off x="804684" y="1761056"/>
            <a:ext cx="7534631" cy="317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06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648482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Left toolbar: Home</a:t>
            </a:r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4223F72-ECF0-8A94-87CB-B0E79E7DE6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649432"/>
            <a:ext cx="3112325" cy="384463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F114AF1-8FC1-C62E-2C49-6CD9AF93ED73}"/>
              </a:ext>
            </a:extLst>
          </p:cNvPr>
          <p:cNvSpPr txBox="1"/>
          <p:nvPr/>
        </p:nvSpPr>
        <p:spPr>
          <a:xfrm>
            <a:off x="359564" y="592332"/>
            <a:ext cx="31123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See online and offline gues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Click on their icon to go to them or invite them to talk </a:t>
            </a:r>
          </a:p>
        </p:txBody>
      </p:sp>
    </p:spTree>
    <p:extLst>
      <p:ext uri="{BB962C8B-B14F-4D97-AF65-F5344CB8AC3E}">
        <p14:creationId xmlns:p14="http://schemas.microsoft.com/office/powerpoint/2010/main" val="33502839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470548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Left toolbar: Cha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114AF1-8FC1-C62E-2C49-6CD9AF93ED73}"/>
              </a:ext>
            </a:extLst>
          </p:cNvPr>
          <p:cNvSpPr txBox="1"/>
          <p:nvPr/>
        </p:nvSpPr>
        <p:spPr>
          <a:xfrm>
            <a:off x="359564" y="592332"/>
            <a:ext cx="31123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Use the @symbol to ping a particular person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Everyone can see the message, but only the tagged person will get a ping noise.</a:t>
            </a: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5C580B0-9287-128B-E8BA-A7E9260FB4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0405" y="436368"/>
            <a:ext cx="4056137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0226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5599610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Left toolbar: Edit map (Please do not use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114AF1-8FC1-C62E-2C49-6CD9AF93ED73}"/>
              </a:ext>
            </a:extLst>
          </p:cNvPr>
          <p:cNvSpPr txBox="1"/>
          <p:nvPr/>
        </p:nvSpPr>
        <p:spPr>
          <a:xfrm>
            <a:off x="359564" y="592332"/>
            <a:ext cx="31123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Avoid any map edit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If you want any customizations, reach out to an instructor</a:t>
            </a: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9AF705F-8929-E1F8-A1CA-E8BEE28B7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5128" y="663758"/>
            <a:ext cx="3614220" cy="381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0589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5931432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Settings &gt; Profile : customize your character</a:t>
            </a:r>
          </a:p>
        </p:txBody>
      </p:sp>
      <p:pic>
        <p:nvPicPr>
          <p:cNvPr id="2" name="Picture 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68A804D-0B34-12A0-828B-C795821BD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608" y="654738"/>
            <a:ext cx="8635800" cy="4094986"/>
          </a:xfrm>
          <a:prstGeom prst="roundRect">
            <a:avLst>
              <a:gd name="adj" fmla="val 593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B998791-B23E-DCDC-923F-21180241F705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428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814357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Settings &gt; Navigation : Double-click to move (recommended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B998791-B23E-DCDC-923F-21180241F705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EA0D325-07EC-B85D-CC3B-F030D2139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784" y="1095490"/>
            <a:ext cx="7772400" cy="250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3962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17559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Bottom toolbar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B998791-B23E-DCDC-923F-21180241F705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CleanShot 2022-09-27 at 17.36.58" descr="CleanShot 2022-09-27 at 17.36.58">
            <a:hlinkClick r:id="" action="ppaction://media"/>
            <a:extLst>
              <a:ext uri="{FF2B5EF4-FFF2-40B4-BE49-F238E27FC236}">
                <a16:creationId xmlns:a16="http://schemas.microsoft.com/office/drawing/2014/main" id="{A2C1C60E-914B-A96B-3291-C38497E175B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38725" y="1718592"/>
            <a:ext cx="7980218" cy="29967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05EA5BA-1CC3-584E-2D12-7A5C4480CD06}"/>
              </a:ext>
            </a:extLst>
          </p:cNvPr>
          <p:cNvSpPr txBox="1"/>
          <p:nvPr/>
        </p:nvSpPr>
        <p:spPr>
          <a:xfrm>
            <a:off x="359565" y="592332"/>
            <a:ext cx="27473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Rea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Set avail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Screenshare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C501D7-B775-2140-32CD-D0EF80AFC750}"/>
              </a:ext>
            </a:extLst>
          </p:cNvPr>
          <p:cNvSpPr txBox="1"/>
          <p:nvPr/>
        </p:nvSpPr>
        <p:spPr>
          <a:xfrm>
            <a:off x="3120083" y="428169"/>
            <a:ext cx="53588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Broadcast (You should generally avoid using thi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Hand rai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Camera setting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Microphone settings</a:t>
            </a:r>
          </a:p>
        </p:txBody>
      </p:sp>
    </p:spTree>
    <p:extLst>
      <p:ext uri="{BB962C8B-B14F-4D97-AF65-F5344CB8AC3E}">
        <p14:creationId xmlns:p14="http://schemas.microsoft.com/office/powerpoint/2010/main" val="2501481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8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4137671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Top right: Gallery and </a:t>
            </a:r>
            <a:r>
              <a:rPr lang="en-US" sz="2100" b="1" dirty="0" err="1">
                <a:latin typeface="Avenir Next" panose="020B0503020202020204" pitchFamily="34" charset="0"/>
              </a:rPr>
              <a:t>popout</a:t>
            </a:r>
            <a:endParaRPr lang="en-US" sz="2100" b="1" dirty="0">
              <a:latin typeface="Avenir Next" panose="020B0503020202020204" pitchFamily="34" charset="0"/>
            </a:endParaRPr>
          </a:p>
        </p:txBody>
      </p:sp>
      <p:sp>
        <p:nvSpPr>
          <p:cNvPr id="2" name="Google Shape;43;p8">
            <a:extLst>
              <a:ext uri="{FF2B5EF4-FFF2-40B4-BE49-F238E27FC236}">
                <a16:creationId xmlns:a16="http://schemas.microsoft.com/office/drawing/2014/main" id="{9FDEB8FD-BCC2-31EA-6E1E-05F561178F6E}"/>
              </a:ext>
            </a:extLst>
          </p:cNvPr>
          <p:cNvSpPr txBox="1">
            <a:spLocks/>
          </p:cNvSpPr>
          <p:nvPr/>
        </p:nvSpPr>
        <p:spPr>
          <a:xfrm>
            <a:off x="-3011614" y="5486455"/>
            <a:ext cx="8635800" cy="6204232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Use the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Change to double-click navigation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Rooms vs open space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Explain all the toolbar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(simultaneous screenshare. Picture in picture vs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Ignore app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Quest 1: Talk to a partner. Screenshare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Quest 2: Form a larger pod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Quest 3: Ping an instructor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Instructors have underscore prefix</a:t>
            </a:r>
          </a:p>
        </p:txBody>
      </p:sp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03BD540-48C8-5C32-035E-53FC228870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600" y="770979"/>
            <a:ext cx="2933754" cy="4009891"/>
          </a:xfrm>
          <a:prstGeom prst="rect">
            <a:avLst/>
          </a:prstGeom>
        </p:spPr>
      </p:pic>
      <p:pic>
        <p:nvPicPr>
          <p:cNvPr id="12" name="Picture 11" descr="A group of people&#10;&#10;Description automatically generated with low confidence">
            <a:extLst>
              <a:ext uri="{FF2B5EF4-FFF2-40B4-BE49-F238E27FC236}">
                <a16:creationId xmlns:a16="http://schemas.microsoft.com/office/drawing/2014/main" id="{8208E391-B2CE-E164-8225-E26FA29102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0199" y="585109"/>
            <a:ext cx="4287201" cy="2611075"/>
          </a:xfrm>
          <a:prstGeom prst="rect">
            <a:avLst/>
          </a:prstGeom>
        </p:spPr>
      </p:pic>
      <p:cxnSp>
        <p:nvCxnSpPr>
          <p:cNvPr id="13" name="Google Shape;97;p15">
            <a:extLst>
              <a:ext uri="{FF2B5EF4-FFF2-40B4-BE49-F238E27FC236}">
                <a16:creationId xmlns:a16="http://schemas.microsoft.com/office/drawing/2014/main" id="{3D26200A-93B5-149A-8715-29A4D9165335}"/>
              </a:ext>
            </a:extLst>
          </p:cNvPr>
          <p:cNvCxnSpPr>
            <a:cxnSpLocks/>
          </p:cNvCxnSpPr>
          <p:nvPr/>
        </p:nvCxnSpPr>
        <p:spPr>
          <a:xfrm flipV="1">
            <a:off x="2810158" y="1434623"/>
            <a:ext cx="1500041" cy="361689"/>
          </a:xfrm>
          <a:prstGeom prst="straightConnector1">
            <a:avLst/>
          </a:prstGeom>
          <a:noFill/>
          <a:ln w="76200" cap="flat" cmpd="sng">
            <a:solidFill>
              <a:srgbClr val="EE764B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6" name="Google Shape;97;p15">
            <a:extLst>
              <a:ext uri="{FF2B5EF4-FFF2-40B4-BE49-F238E27FC236}">
                <a16:creationId xmlns:a16="http://schemas.microsoft.com/office/drawing/2014/main" id="{F62CCC79-D771-70C7-6CDA-6042A33352FE}"/>
              </a:ext>
            </a:extLst>
          </p:cNvPr>
          <p:cNvCxnSpPr>
            <a:cxnSpLocks/>
          </p:cNvCxnSpPr>
          <p:nvPr/>
        </p:nvCxnSpPr>
        <p:spPr>
          <a:xfrm>
            <a:off x="2630049" y="2752594"/>
            <a:ext cx="1680150" cy="873833"/>
          </a:xfrm>
          <a:prstGeom prst="straightConnector1">
            <a:avLst/>
          </a:prstGeom>
          <a:noFill/>
          <a:ln w="76200" cap="flat" cmpd="sng">
            <a:solidFill>
              <a:srgbClr val="EE764B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19" name="Picture 18" descr="A picture containing text, electronics, computer, screenshot&#10;&#10;Description automatically generated">
            <a:extLst>
              <a:ext uri="{FF2B5EF4-FFF2-40B4-BE49-F238E27FC236}">
                <a16:creationId xmlns:a16="http://schemas.microsoft.com/office/drawing/2014/main" id="{3B07D0E1-95DB-1847-C2B1-0A68B45B24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0199" y="3353046"/>
            <a:ext cx="2162803" cy="169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259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3"/>
          <p:cNvSpPr txBox="1">
            <a:spLocks noGrp="1"/>
          </p:cNvSpPr>
          <p:nvPr>
            <p:ph type="title"/>
          </p:nvPr>
        </p:nvSpPr>
        <p:spPr>
          <a:xfrm>
            <a:off x="237853" y="157925"/>
            <a:ext cx="6372300" cy="4017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100" b="0"/>
              <a:t>📷 </a:t>
            </a:r>
            <a:r>
              <a:rPr lang="en"/>
              <a:t>Practice using cosmos.video</a:t>
            </a:r>
            <a:endParaRPr/>
          </a:p>
        </p:txBody>
      </p:sp>
      <p:sp>
        <p:nvSpPr>
          <p:cNvPr id="76" name="Google Shape;76;p13"/>
          <p:cNvSpPr txBox="1"/>
          <p:nvPr/>
        </p:nvSpPr>
        <p:spPr>
          <a:xfrm>
            <a:off x="237839" y="593822"/>
            <a:ext cx="8635800" cy="1497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2300" b="1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QUEST 1: TALK TO A PARTNER</a:t>
            </a:r>
            <a:endParaRPr sz="2300" b="1" dirty="0">
              <a:solidFill>
                <a:srgbClr val="20293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746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2300"/>
              <a:buFont typeface="Calibri"/>
              <a:buAutoNum type="arabicPeriod"/>
            </a:pPr>
            <a:r>
              <a:rPr lang="en-US" sz="2300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With a partner, go to a desk </a:t>
            </a:r>
          </a:p>
          <a:p>
            <a:pPr marL="457200" lvl="0" indent="-3746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2300"/>
              <a:buFont typeface="Calibri"/>
              <a:buAutoNum type="arabicPeriod"/>
            </a:pPr>
            <a:r>
              <a:rPr lang="en" sz="2300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Introduce yourselves (name, background, why you are here)</a:t>
            </a:r>
            <a:endParaRPr sz="2300" dirty="0">
              <a:solidFill>
                <a:srgbClr val="20293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746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2300"/>
              <a:buFont typeface="Calibri"/>
              <a:buAutoNum type="arabicPeriod"/>
            </a:pPr>
            <a:r>
              <a:rPr lang="en" sz="2300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Practice sharing your screens with each other</a:t>
            </a:r>
            <a:endParaRPr sz="2300" dirty="0">
              <a:solidFill>
                <a:srgbClr val="20293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" name="Google Shape;77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4450" y="2636447"/>
            <a:ext cx="5886450" cy="2257425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13"/>
          <p:cNvSpPr txBox="1"/>
          <p:nvPr/>
        </p:nvSpPr>
        <p:spPr>
          <a:xfrm>
            <a:off x="5020350" y="3260850"/>
            <a:ext cx="17664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EE764B"/>
                </a:solidFill>
              </a:rPr>
              <a:t>Screenshare</a:t>
            </a:r>
            <a:endParaRPr sz="2000" b="1">
              <a:solidFill>
                <a:srgbClr val="EE7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9791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4"/>
          <p:cNvSpPr txBox="1">
            <a:spLocks noGrp="1"/>
          </p:cNvSpPr>
          <p:nvPr>
            <p:ph type="title"/>
          </p:nvPr>
        </p:nvSpPr>
        <p:spPr>
          <a:xfrm>
            <a:off x="237853" y="157925"/>
            <a:ext cx="6372300" cy="4017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100" b="0"/>
              <a:t>📷 </a:t>
            </a:r>
            <a:r>
              <a:rPr lang="en"/>
              <a:t>Practice using cosmos.video</a:t>
            </a:r>
            <a:endParaRPr/>
          </a:p>
        </p:txBody>
      </p:sp>
      <p:sp>
        <p:nvSpPr>
          <p:cNvPr id="84" name="Google Shape;84;p14"/>
          <p:cNvSpPr txBox="1"/>
          <p:nvPr/>
        </p:nvSpPr>
        <p:spPr>
          <a:xfrm>
            <a:off x="237839" y="593822"/>
            <a:ext cx="8635800" cy="1446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2300" b="1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QUEST 2: FORM A POD and PRACTICE WHISPERING</a:t>
            </a:r>
            <a:endParaRPr sz="2300" b="1" dirty="0">
              <a:solidFill>
                <a:srgbClr val="202934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746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2300"/>
              <a:buFont typeface="Calibri"/>
              <a:buAutoNum type="arabicPeriod"/>
            </a:pPr>
            <a:r>
              <a:rPr lang="en-GB" sz="2300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With another </a:t>
            </a:r>
            <a:r>
              <a:rPr lang="en" sz="2300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pair, go into one of the meeting rooms</a:t>
            </a:r>
          </a:p>
          <a:p>
            <a:pPr marL="457200" lvl="0" indent="-3746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2300"/>
              <a:buFont typeface="Calibri"/>
              <a:buAutoNum type="arabicPeriod"/>
            </a:pPr>
            <a:r>
              <a:rPr lang="en" sz="2300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Practice whispering with someone you have not yet talked to. Introduce yourself.</a:t>
            </a:r>
            <a:endParaRPr sz="2300" dirty="0">
              <a:solidFill>
                <a:srgbClr val="20293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" name="Google Shape;85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259720" y="2633516"/>
            <a:ext cx="3924300" cy="1819275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14"/>
          <p:cNvSpPr/>
          <p:nvPr/>
        </p:nvSpPr>
        <p:spPr>
          <a:xfrm>
            <a:off x="5300264" y="2694766"/>
            <a:ext cx="1895400" cy="489000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87" name="Google Shape;87;p14"/>
          <p:cNvCxnSpPr>
            <a:cxnSpLocks/>
            <a:endCxn id="86" idx="3"/>
          </p:cNvCxnSpPr>
          <p:nvPr/>
        </p:nvCxnSpPr>
        <p:spPr>
          <a:xfrm flipH="1">
            <a:off x="7195664" y="2321781"/>
            <a:ext cx="342173" cy="617485"/>
          </a:xfrm>
          <a:prstGeom prst="straightConnector1">
            <a:avLst/>
          </a:prstGeom>
          <a:noFill/>
          <a:ln w="38100" cap="flat" cmpd="sng">
            <a:solidFill>
              <a:srgbClr val="EE764B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8" name="Google Shape;88;p14"/>
          <p:cNvSpPr txBox="1"/>
          <p:nvPr/>
        </p:nvSpPr>
        <p:spPr>
          <a:xfrm>
            <a:off x="6964721" y="1827726"/>
            <a:ext cx="17664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EE764B"/>
                </a:solidFill>
              </a:rPr>
              <a:t>Whisper</a:t>
            </a:r>
            <a:endParaRPr sz="2000" b="1">
              <a:solidFill>
                <a:srgbClr val="EE764B"/>
              </a:solidFill>
            </a:endParaRPr>
          </a:p>
        </p:txBody>
      </p:sp>
      <p:pic>
        <p:nvPicPr>
          <p:cNvPr id="2" name="Picture 1" descr="Graphical user interface&#10;&#10;Description automatically generated">
            <a:extLst>
              <a:ext uri="{FF2B5EF4-FFF2-40B4-BE49-F238E27FC236}">
                <a16:creationId xmlns:a16="http://schemas.microsoft.com/office/drawing/2014/main" id="{887CAD9E-5A12-6B49-351A-D3A5394517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666" r="69445" b="10556"/>
          <a:stretch/>
        </p:blipFill>
        <p:spPr>
          <a:xfrm>
            <a:off x="322013" y="2074026"/>
            <a:ext cx="2001237" cy="2763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525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1461897" y="1685202"/>
            <a:ext cx="8541328" cy="1187474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lang="en" sz="4400" b="1" dirty="0"/>
              <a:t>👋🏽 Welcome presentation</a:t>
            </a:r>
            <a:endParaRPr lang="en" sz="4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Google Shape;35;p7">
            <a:extLst>
              <a:ext uri="{FF2B5EF4-FFF2-40B4-BE49-F238E27FC236}">
                <a16:creationId xmlns:a16="http://schemas.microsoft.com/office/drawing/2014/main" id="{9E4ACC07-91D2-9C04-6C99-EB1125D622EA}"/>
              </a:ext>
            </a:extLst>
          </p:cNvPr>
          <p:cNvSpPr txBox="1">
            <a:spLocks/>
          </p:cNvSpPr>
          <p:nvPr/>
        </p:nvSpPr>
        <p:spPr>
          <a:xfrm>
            <a:off x="1365636" y="3268427"/>
            <a:ext cx="6858000" cy="401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Calibri"/>
              <a:buNone/>
              <a:defRPr sz="2400" b="1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dirty="0"/>
              <a:t>Why are we building the GRAPH Courses? </a:t>
            </a:r>
          </a:p>
        </p:txBody>
      </p:sp>
    </p:spTree>
    <p:extLst>
      <p:ext uri="{BB962C8B-B14F-4D97-AF65-F5344CB8AC3E}">
        <p14:creationId xmlns:p14="http://schemas.microsoft.com/office/powerpoint/2010/main" val="37014417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4"/>
          <p:cNvSpPr txBox="1">
            <a:spLocks noGrp="1"/>
          </p:cNvSpPr>
          <p:nvPr>
            <p:ph type="title"/>
          </p:nvPr>
        </p:nvSpPr>
        <p:spPr>
          <a:xfrm>
            <a:off x="237853" y="157925"/>
            <a:ext cx="6372300" cy="4017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100" b="0"/>
              <a:t>📷 </a:t>
            </a:r>
            <a:r>
              <a:rPr lang="en"/>
              <a:t>Practice using cosmos.video</a:t>
            </a:r>
            <a:endParaRPr/>
          </a:p>
        </p:txBody>
      </p:sp>
      <p:sp>
        <p:nvSpPr>
          <p:cNvPr id="84" name="Google Shape;84;p14"/>
          <p:cNvSpPr txBox="1"/>
          <p:nvPr/>
        </p:nvSpPr>
        <p:spPr>
          <a:xfrm>
            <a:off x="237839" y="593822"/>
            <a:ext cx="8635800" cy="439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2300" b="1" dirty="0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rPr>
              <a:t>QUEST 3: GO TO ONE OF OUR MEETING ROOMS</a:t>
            </a:r>
            <a:endParaRPr sz="2300" b="1" dirty="0">
              <a:solidFill>
                <a:srgbClr val="20293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1" descr="Graphical user interface&#10;&#10;Description automatically generated">
            <a:extLst>
              <a:ext uri="{FF2B5EF4-FFF2-40B4-BE49-F238E27FC236}">
                <a16:creationId xmlns:a16="http://schemas.microsoft.com/office/drawing/2014/main" id="{31664594-B767-9B05-6519-B9A91D89F7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666" r="69445" b="10556"/>
          <a:stretch/>
        </p:blipFill>
        <p:spPr>
          <a:xfrm>
            <a:off x="1115290" y="1624891"/>
            <a:ext cx="2117721" cy="2924787"/>
          </a:xfrm>
          <a:prstGeom prst="rect">
            <a:avLst/>
          </a:prstGeom>
        </p:spPr>
      </p:pic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30924571-09A6-3A0C-7935-0DD012144A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3506" t="13004" r="-4061" b="5218"/>
          <a:stretch/>
        </p:blipFill>
        <p:spPr>
          <a:xfrm>
            <a:off x="4759892" y="1497500"/>
            <a:ext cx="2302198" cy="317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4272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2618937" y="852404"/>
            <a:ext cx="3906127" cy="1187474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lang="en" sz="4400" b="1" dirty="0"/>
              <a:t>Course details</a:t>
            </a:r>
            <a:endParaRPr lang="en" sz="4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Google Shape;35;p7">
            <a:extLst>
              <a:ext uri="{FF2B5EF4-FFF2-40B4-BE49-F238E27FC236}">
                <a16:creationId xmlns:a16="http://schemas.microsoft.com/office/drawing/2014/main" id="{F5593FCD-F1A3-9C87-90C0-02EEC63FB2F6}"/>
              </a:ext>
            </a:extLst>
          </p:cNvPr>
          <p:cNvSpPr txBox="1">
            <a:spLocks/>
          </p:cNvSpPr>
          <p:nvPr/>
        </p:nvSpPr>
        <p:spPr>
          <a:xfrm>
            <a:off x="1143000" y="2892282"/>
            <a:ext cx="6858000" cy="1398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Calibri"/>
              <a:buNone/>
              <a:defRPr sz="2400" b="1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dirty="0"/>
              <a:t>R for Busy People: a 3-month crash course</a:t>
            </a:r>
          </a:p>
          <a:p>
            <a:pPr algn="ctr"/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Goal, Timeline &amp; Format</a:t>
            </a:r>
          </a:p>
          <a:p>
            <a:pPr algn="ctr"/>
            <a:endParaRPr lang="en-GB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(hold onto your questions)</a:t>
            </a:r>
          </a:p>
        </p:txBody>
      </p:sp>
    </p:spTree>
    <p:extLst>
      <p:ext uri="{BB962C8B-B14F-4D97-AF65-F5344CB8AC3E}">
        <p14:creationId xmlns:p14="http://schemas.microsoft.com/office/powerpoint/2010/main" val="29526514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38398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Delivery models</a:t>
            </a:r>
          </a:p>
        </p:txBody>
      </p:sp>
      <p:grpSp>
        <p:nvGrpSpPr>
          <p:cNvPr id="1090" name="Group 1089">
            <a:extLst>
              <a:ext uri="{FF2B5EF4-FFF2-40B4-BE49-F238E27FC236}">
                <a16:creationId xmlns:a16="http://schemas.microsoft.com/office/drawing/2014/main" id="{98A029EC-7791-30C9-7F66-4CCB82D0889A}"/>
              </a:ext>
            </a:extLst>
          </p:cNvPr>
          <p:cNvGrpSpPr/>
          <p:nvPr/>
        </p:nvGrpSpPr>
        <p:grpSpPr>
          <a:xfrm>
            <a:off x="3176304" y="3553625"/>
            <a:ext cx="684140" cy="717555"/>
            <a:chOff x="3737134" y="4462704"/>
            <a:chExt cx="987302" cy="1026714"/>
          </a:xfrm>
        </p:grpSpPr>
        <p:sp>
          <p:nvSpPr>
            <p:cNvPr id="1091" name="Free Form 1362">
              <a:extLst>
                <a:ext uri="{FF2B5EF4-FFF2-40B4-BE49-F238E27FC236}">
                  <a16:creationId xmlns:a16="http://schemas.microsoft.com/office/drawing/2014/main" id="{532AAE92-0603-1982-229B-80E0AD54C3A5}"/>
                </a:ext>
              </a:extLst>
            </p:cNvPr>
            <p:cNvSpPr/>
            <p:nvPr/>
          </p:nvSpPr>
          <p:spPr>
            <a:xfrm>
              <a:off x="3762538" y="4462704"/>
              <a:ext cx="935169" cy="342211"/>
            </a:xfrm>
            <a:custGeom>
              <a:avLst/>
              <a:gdLst/>
              <a:ahLst/>
              <a:cxnLst/>
              <a:rect l="0" t="0" r="0" b="0"/>
              <a:pathLst>
                <a:path w="741684" h="248968">
                  <a:moveTo>
                    <a:pt x="121271" y="188326"/>
                  </a:moveTo>
                  <a:cubicBezTo>
                    <a:pt x="102246" y="188300"/>
                    <a:pt x="83196" y="189380"/>
                    <a:pt x="64782" y="182370"/>
                  </a:cubicBezTo>
                  <a:cubicBezTo>
                    <a:pt x="25260" y="167333"/>
                    <a:pt x="0" y="128649"/>
                    <a:pt x="3835" y="86193"/>
                  </a:cubicBezTo>
                  <a:cubicBezTo>
                    <a:pt x="7848" y="41846"/>
                    <a:pt x="40842" y="7518"/>
                    <a:pt x="83273" y="1346"/>
                  </a:cubicBezTo>
                  <a:cubicBezTo>
                    <a:pt x="88467" y="584"/>
                    <a:pt x="93598" y="12"/>
                    <a:pt x="98843" y="12"/>
                  </a:cubicBezTo>
                  <a:cubicBezTo>
                    <a:pt x="277987" y="25"/>
                    <a:pt x="457144" y="0"/>
                    <a:pt x="636288" y="50"/>
                  </a:cubicBezTo>
                  <a:cubicBezTo>
                    <a:pt x="681525" y="63"/>
                    <a:pt x="718621" y="29400"/>
                    <a:pt x="729086" y="73138"/>
                  </a:cubicBezTo>
                  <a:cubicBezTo>
                    <a:pt x="741684" y="125741"/>
                    <a:pt x="705223" y="179461"/>
                    <a:pt x="652099" y="186992"/>
                  </a:cubicBezTo>
                  <a:cubicBezTo>
                    <a:pt x="634878" y="189443"/>
                    <a:pt x="617657" y="187932"/>
                    <a:pt x="600436" y="188199"/>
                  </a:cubicBezTo>
                  <a:cubicBezTo>
                    <a:pt x="594975" y="188275"/>
                    <a:pt x="593286" y="189723"/>
                    <a:pt x="593388" y="195247"/>
                  </a:cubicBezTo>
                  <a:cubicBezTo>
                    <a:pt x="593718" y="212900"/>
                    <a:pt x="593515" y="230553"/>
                    <a:pt x="592029" y="248637"/>
                  </a:cubicBezTo>
                  <a:cubicBezTo>
                    <a:pt x="583609" y="234655"/>
                    <a:pt x="574008" y="221244"/>
                    <a:pt x="567112" y="206563"/>
                  </a:cubicBezTo>
                  <a:cubicBezTo>
                    <a:pt x="560140" y="191704"/>
                    <a:pt x="550551" y="187259"/>
                    <a:pt x="534334" y="187907"/>
                  </a:cubicBezTo>
                  <a:cubicBezTo>
                    <a:pt x="498558" y="189329"/>
                    <a:pt x="462694" y="188605"/>
                    <a:pt x="426867" y="188135"/>
                  </a:cubicBezTo>
                  <a:cubicBezTo>
                    <a:pt x="418981" y="188034"/>
                    <a:pt x="417342" y="190459"/>
                    <a:pt x="417584" y="197787"/>
                  </a:cubicBezTo>
                  <a:cubicBezTo>
                    <a:pt x="418130" y="214500"/>
                    <a:pt x="417762" y="231251"/>
                    <a:pt x="417762" y="248968"/>
                  </a:cubicBezTo>
                  <a:cubicBezTo>
                    <a:pt x="413405" y="245920"/>
                    <a:pt x="412097" y="241627"/>
                    <a:pt x="409951" y="238122"/>
                  </a:cubicBezTo>
                  <a:cubicBezTo>
                    <a:pt x="401214" y="223860"/>
                    <a:pt x="392514" y="209573"/>
                    <a:pt x="384272" y="195031"/>
                  </a:cubicBezTo>
                  <a:cubicBezTo>
                    <a:pt x="381288" y="189774"/>
                    <a:pt x="377732" y="187945"/>
                    <a:pt x="371750" y="188199"/>
                  </a:cubicBezTo>
                  <a:cubicBezTo>
                    <a:pt x="360536" y="188656"/>
                    <a:pt x="349271" y="188224"/>
                    <a:pt x="338032" y="188161"/>
                  </a:cubicBezTo>
                  <a:cubicBezTo>
                    <a:pt x="335873" y="183132"/>
                    <a:pt x="338248" y="178433"/>
                    <a:pt x="339403" y="173759"/>
                  </a:cubicBezTo>
                  <a:cubicBezTo>
                    <a:pt x="340877" y="167803"/>
                    <a:pt x="339251" y="164247"/>
                    <a:pt x="333180" y="162609"/>
                  </a:cubicBezTo>
                  <a:cubicBezTo>
                    <a:pt x="324379" y="160234"/>
                    <a:pt x="315591" y="157821"/>
                    <a:pt x="306765" y="155547"/>
                  </a:cubicBezTo>
                  <a:cubicBezTo>
                    <a:pt x="301177" y="154100"/>
                    <a:pt x="297900" y="155674"/>
                    <a:pt x="296059" y="161313"/>
                  </a:cubicBezTo>
                  <a:cubicBezTo>
                    <a:pt x="293392" y="169517"/>
                    <a:pt x="293150" y="169505"/>
                    <a:pt x="285188" y="166330"/>
                  </a:cubicBezTo>
                  <a:cubicBezTo>
                    <a:pt x="281835" y="164996"/>
                    <a:pt x="278431" y="163967"/>
                    <a:pt x="276031" y="167435"/>
                  </a:cubicBezTo>
                  <a:cubicBezTo>
                    <a:pt x="273402" y="171244"/>
                    <a:pt x="276641" y="173657"/>
                    <a:pt x="278990" y="176032"/>
                  </a:cubicBezTo>
                  <a:cubicBezTo>
                    <a:pt x="281378" y="178420"/>
                    <a:pt x="284527" y="180007"/>
                    <a:pt x="286572" y="182751"/>
                  </a:cubicBezTo>
                  <a:cubicBezTo>
                    <a:pt x="288706" y="185633"/>
                    <a:pt x="289569" y="188453"/>
                    <a:pt x="285086" y="190116"/>
                  </a:cubicBezTo>
                  <a:cubicBezTo>
                    <a:pt x="282000" y="190942"/>
                    <a:pt x="278876" y="190866"/>
                    <a:pt x="275752" y="190866"/>
                  </a:cubicBezTo>
                  <a:cubicBezTo>
                    <a:pt x="240116" y="190891"/>
                    <a:pt x="204480" y="190891"/>
                    <a:pt x="168844" y="190853"/>
                  </a:cubicBezTo>
                  <a:cubicBezTo>
                    <a:pt x="164983" y="190853"/>
                    <a:pt x="161008" y="191247"/>
                    <a:pt x="157440" y="189088"/>
                  </a:cubicBezTo>
                  <a:cubicBezTo>
                    <a:pt x="152906" y="181163"/>
                    <a:pt x="154849" y="172807"/>
                    <a:pt x="155814" y="164526"/>
                  </a:cubicBezTo>
                  <a:cubicBezTo>
                    <a:pt x="157021" y="161618"/>
                    <a:pt x="159853" y="160665"/>
                    <a:pt x="162291" y="159243"/>
                  </a:cubicBezTo>
                  <a:cubicBezTo>
                    <a:pt x="165060" y="157618"/>
                    <a:pt x="167244" y="155509"/>
                    <a:pt x="168362" y="152411"/>
                  </a:cubicBezTo>
                  <a:cubicBezTo>
                    <a:pt x="171765" y="143013"/>
                    <a:pt x="168895" y="138758"/>
                    <a:pt x="159040" y="138733"/>
                  </a:cubicBezTo>
                  <a:cubicBezTo>
                    <a:pt x="151776" y="138720"/>
                    <a:pt x="144486" y="138492"/>
                    <a:pt x="137234" y="138822"/>
                  </a:cubicBezTo>
                  <a:cubicBezTo>
                    <a:pt x="124191" y="139419"/>
                    <a:pt x="117791" y="145832"/>
                    <a:pt x="117156" y="158799"/>
                  </a:cubicBezTo>
                  <a:cubicBezTo>
                    <a:pt x="116927" y="163472"/>
                    <a:pt x="116978" y="168146"/>
                    <a:pt x="117334" y="172807"/>
                  </a:cubicBezTo>
                  <a:cubicBezTo>
                    <a:pt x="115632" y="178737"/>
                    <a:pt x="120902" y="182916"/>
                    <a:pt x="121271" y="188326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2" name="Free Form 1363">
              <a:extLst>
                <a:ext uri="{FF2B5EF4-FFF2-40B4-BE49-F238E27FC236}">
                  <a16:creationId xmlns:a16="http://schemas.microsoft.com/office/drawing/2014/main" id="{D34778DD-BADC-E36C-56FB-D10ADE39AD2E}"/>
                </a:ext>
              </a:extLst>
            </p:cNvPr>
            <p:cNvSpPr/>
            <p:nvPr/>
          </p:nvSpPr>
          <p:spPr>
            <a:xfrm>
              <a:off x="3766950" y="5010398"/>
              <a:ext cx="269705" cy="471753"/>
            </a:xfrm>
            <a:custGeom>
              <a:avLst/>
              <a:gdLst/>
              <a:ahLst/>
              <a:cxnLst/>
              <a:rect l="0" t="0" r="0" b="0"/>
              <a:pathLst>
                <a:path w="213903" h="343213">
                  <a:moveTo>
                    <a:pt x="188046" y="3314"/>
                  </a:moveTo>
                  <a:cubicBezTo>
                    <a:pt x="188135" y="17690"/>
                    <a:pt x="188275" y="32067"/>
                    <a:pt x="188288" y="46443"/>
                  </a:cubicBezTo>
                  <a:cubicBezTo>
                    <a:pt x="188313" y="134034"/>
                    <a:pt x="188351" y="221625"/>
                    <a:pt x="188161" y="309216"/>
                  </a:cubicBezTo>
                  <a:cubicBezTo>
                    <a:pt x="188148" y="314969"/>
                    <a:pt x="189697" y="319045"/>
                    <a:pt x="193939" y="322830"/>
                  </a:cubicBezTo>
                  <a:cubicBezTo>
                    <a:pt x="200314" y="328532"/>
                    <a:pt x="206233" y="334755"/>
                    <a:pt x="213903" y="342286"/>
                  </a:cubicBezTo>
                  <a:lnTo>
                    <a:pt x="205306" y="342286"/>
                  </a:lnTo>
                  <a:cubicBezTo>
                    <a:pt x="181252" y="342286"/>
                    <a:pt x="157198" y="342083"/>
                    <a:pt x="133145" y="342439"/>
                  </a:cubicBezTo>
                  <a:cubicBezTo>
                    <a:pt x="127049" y="342528"/>
                    <a:pt x="125360" y="340965"/>
                    <a:pt x="125385" y="334730"/>
                  </a:cubicBezTo>
                  <a:cubicBezTo>
                    <a:pt x="125601" y="252371"/>
                    <a:pt x="125398" y="170013"/>
                    <a:pt x="125728" y="87654"/>
                  </a:cubicBezTo>
                  <a:cubicBezTo>
                    <a:pt x="125766" y="79844"/>
                    <a:pt x="123595" y="77926"/>
                    <a:pt x="116229" y="78408"/>
                  </a:cubicBezTo>
                  <a:cubicBezTo>
                    <a:pt x="111428" y="78726"/>
                    <a:pt x="110679" y="80885"/>
                    <a:pt x="110425" y="84593"/>
                  </a:cubicBezTo>
                  <a:cubicBezTo>
                    <a:pt x="109447" y="98931"/>
                    <a:pt x="107669" y="113257"/>
                    <a:pt x="107580" y="127595"/>
                  </a:cubicBezTo>
                  <a:cubicBezTo>
                    <a:pt x="107364" y="165212"/>
                    <a:pt x="95871" y="200607"/>
                    <a:pt x="87184" y="236560"/>
                  </a:cubicBezTo>
                  <a:cubicBezTo>
                    <a:pt x="81164" y="261426"/>
                    <a:pt x="75030" y="286254"/>
                    <a:pt x="68515" y="310981"/>
                  </a:cubicBezTo>
                  <a:cubicBezTo>
                    <a:pt x="67245" y="315794"/>
                    <a:pt x="68096" y="318741"/>
                    <a:pt x="71576" y="321916"/>
                  </a:cubicBezTo>
                  <a:cubicBezTo>
                    <a:pt x="78129" y="327897"/>
                    <a:pt x="84390" y="334222"/>
                    <a:pt x="90486" y="340140"/>
                  </a:cubicBezTo>
                  <a:cubicBezTo>
                    <a:pt x="89686" y="343213"/>
                    <a:pt x="87768" y="342235"/>
                    <a:pt x="86473" y="342235"/>
                  </a:cubicBezTo>
                  <a:cubicBezTo>
                    <a:pt x="59803" y="342299"/>
                    <a:pt x="33133" y="342185"/>
                    <a:pt x="6476" y="342375"/>
                  </a:cubicBezTo>
                  <a:cubicBezTo>
                    <a:pt x="1396" y="342413"/>
                    <a:pt x="0" y="341689"/>
                    <a:pt x="1168" y="335987"/>
                  </a:cubicBezTo>
                  <a:cubicBezTo>
                    <a:pt x="13258" y="276666"/>
                    <a:pt x="25247" y="217320"/>
                    <a:pt x="36613" y="157859"/>
                  </a:cubicBezTo>
                  <a:cubicBezTo>
                    <a:pt x="39153" y="144587"/>
                    <a:pt x="39369" y="130859"/>
                    <a:pt x="40309" y="117321"/>
                  </a:cubicBezTo>
                  <a:cubicBezTo>
                    <a:pt x="42303" y="88645"/>
                    <a:pt x="44055" y="59956"/>
                    <a:pt x="45910" y="31267"/>
                  </a:cubicBezTo>
                  <a:cubicBezTo>
                    <a:pt x="46837" y="26657"/>
                    <a:pt x="48945" y="28447"/>
                    <a:pt x="51218" y="30200"/>
                  </a:cubicBezTo>
                  <a:cubicBezTo>
                    <a:pt x="59117" y="36283"/>
                    <a:pt x="65670" y="43763"/>
                    <a:pt x="72732" y="50710"/>
                  </a:cubicBezTo>
                  <a:cubicBezTo>
                    <a:pt x="85444" y="63207"/>
                    <a:pt x="83387" y="63766"/>
                    <a:pt x="96760" y="50774"/>
                  </a:cubicBezTo>
                  <a:cubicBezTo>
                    <a:pt x="104367" y="43370"/>
                    <a:pt x="110819" y="34670"/>
                    <a:pt x="120102" y="29044"/>
                  </a:cubicBezTo>
                  <a:cubicBezTo>
                    <a:pt x="125106" y="29019"/>
                    <a:pt x="126160" y="34200"/>
                    <a:pt x="129678" y="36588"/>
                  </a:cubicBezTo>
                  <a:cubicBezTo>
                    <a:pt x="136625" y="28714"/>
                    <a:pt x="142390" y="20738"/>
                    <a:pt x="140930" y="9512"/>
                  </a:cubicBezTo>
                  <a:cubicBezTo>
                    <a:pt x="140536" y="6515"/>
                    <a:pt x="140917" y="3124"/>
                    <a:pt x="144676" y="1714"/>
                  </a:cubicBezTo>
                  <a:cubicBezTo>
                    <a:pt x="157249" y="0"/>
                    <a:pt x="169860" y="1015"/>
                    <a:pt x="182458" y="1079"/>
                  </a:cubicBezTo>
                  <a:cubicBezTo>
                    <a:pt x="184529" y="1092"/>
                    <a:pt x="186522" y="1714"/>
                    <a:pt x="188046" y="3314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3" name="Free Form 1364">
              <a:extLst>
                <a:ext uri="{FF2B5EF4-FFF2-40B4-BE49-F238E27FC236}">
                  <a16:creationId xmlns:a16="http://schemas.microsoft.com/office/drawing/2014/main" id="{B3D27AE9-87C4-17F0-71CC-6A539DA2C630}"/>
                </a:ext>
              </a:extLst>
            </p:cNvPr>
            <p:cNvSpPr/>
            <p:nvPr/>
          </p:nvSpPr>
          <p:spPr>
            <a:xfrm>
              <a:off x="3931835" y="4737768"/>
              <a:ext cx="250072" cy="277291"/>
            </a:xfrm>
            <a:custGeom>
              <a:avLst/>
              <a:gdLst/>
              <a:ahLst/>
              <a:cxnLst/>
              <a:rect l="0" t="0" r="0" b="0"/>
              <a:pathLst>
                <a:path w="198333" h="201737">
                  <a:moveTo>
                    <a:pt x="57276" y="201661"/>
                  </a:moveTo>
                  <a:cubicBezTo>
                    <a:pt x="42176" y="201686"/>
                    <a:pt x="27088" y="201711"/>
                    <a:pt x="11988" y="201737"/>
                  </a:cubicBezTo>
                  <a:cubicBezTo>
                    <a:pt x="6946" y="200314"/>
                    <a:pt x="8318" y="195946"/>
                    <a:pt x="8216" y="192656"/>
                  </a:cubicBezTo>
                  <a:cubicBezTo>
                    <a:pt x="7797" y="177785"/>
                    <a:pt x="7251" y="162888"/>
                    <a:pt x="6972" y="148042"/>
                  </a:cubicBezTo>
                  <a:cubicBezTo>
                    <a:pt x="6527" y="124268"/>
                    <a:pt x="4254" y="100557"/>
                    <a:pt x="4952" y="76770"/>
                  </a:cubicBezTo>
                  <a:cubicBezTo>
                    <a:pt x="5118" y="71525"/>
                    <a:pt x="4584" y="66331"/>
                    <a:pt x="3835" y="61149"/>
                  </a:cubicBezTo>
                  <a:cubicBezTo>
                    <a:pt x="3098" y="56158"/>
                    <a:pt x="3251" y="51116"/>
                    <a:pt x="5587" y="46557"/>
                  </a:cubicBezTo>
                  <a:cubicBezTo>
                    <a:pt x="8280" y="41287"/>
                    <a:pt x="8140" y="36702"/>
                    <a:pt x="3873" y="32270"/>
                  </a:cubicBezTo>
                  <a:cubicBezTo>
                    <a:pt x="1892" y="30225"/>
                    <a:pt x="368" y="27698"/>
                    <a:pt x="0" y="24713"/>
                  </a:cubicBezTo>
                  <a:cubicBezTo>
                    <a:pt x="1562" y="17906"/>
                    <a:pt x="6819" y="14731"/>
                    <a:pt x="12522" y="11975"/>
                  </a:cubicBezTo>
                  <a:cubicBezTo>
                    <a:pt x="34137" y="10477"/>
                    <a:pt x="55803" y="10642"/>
                    <a:pt x="77405" y="11798"/>
                  </a:cubicBezTo>
                  <a:cubicBezTo>
                    <a:pt x="89419" y="12445"/>
                    <a:pt x="98233" y="19329"/>
                    <a:pt x="103681" y="30263"/>
                  </a:cubicBezTo>
                  <a:cubicBezTo>
                    <a:pt x="112063" y="47052"/>
                    <a:pt x="120420" y="63854"/>
                    <a:pt x="128929" y="80682"/>
                  </a:cubicBezTo>
                  <a:cubicBezTo>
                    <a:pt x="131710" y="79374"/>
                    <a:pt x="131202" y="76961"/>
                    <a:pt x="131621" y="75132"/>
                  </a:cubicBezTo>
                  <a:cubicBezTo>
                    <a:pt x="136675" y="53263"/>
                    <a:pt x="141616" y="31381"/>
                    <a:pt x="146658" y="9499"/>
                  </a:cubicBezTo>
                  <a:cubicBezTo>
                    <a:pt x="147458" y="6045"/>
                    <a:pt x="147420" y="2082"/>
                    <a:pt x="151204" y="0"/>
                  </a:cubicBezTo>
                  <a:cubicBezTo>
                    <a:pt x="167257" y="3340"/>
                    <a:pt x="183678" y="5422"/>
                    <a:pt x="198333" y="13588"/>
                  </a:cubicBezTo>
                  <a:cubicBezTo>
                    <a:pt x="193723" y="35572"/>
                    <a:pt x="189100" y="57555"/>
                    <a:pt x="184490" y="79539"/>
                  </a:cubicBezTo>
                  <a:cubicBezTo>
                    <a:pt x="181569" y="84923"/>
                    <a:pt x="175867" y="84822"/>
                    <a:pt x="171016" y="86117"/>
                  </a:cubicBezTo>
                  <a:cubicBezTo>
                    <a:pt x="155395" y="90308"/>
                    <a:pt x="153985" y="91959"/>
                    <a:pt x="153947" y="107999"/>
                  </a:cubicBezTo>
                  <a:cubicBezTo>
                    <a:pt x="153922" y="117346"/>
                    <a:pt x="154023" y="126681"/>
                    <a:pt x="153896" y="136028"/>
                  </a:cubicBezTo>
                  <a:cubicBezTo>
                    <a:pt x="153858" y="139330"/>
                    <a:pt x="154417" y="142860"/>
                    <a:pt x="151598" y="145527"/>
                  </a:cubicBezTo>
                  <a:cubicBezTo>
                    <a:pt x="122261" y="159091"/>
                    <a:pt x="93674" y="148182"/>
                    <a:pt x="80948" y="118553"/>
                  </a:cubicBezTo>
                  <a:cubicBezTo>
                    <a:pt x="77164" y="109739"/>
                    <a:pt x="73519" y="100862"/>
                    <a:pt x="69798" y="92023"/>
                  </a:cubicBezTo>
                  <a:cubicBezTo>
                    <a:pt x="67537" y="89978"/>
                    <a:pt x="67893" y="92747"/>
                    <a:pt x="67144" y="93471"/>
                  </a:cubicBezTo>
                  <a:cubicBezTo>
                    <a:pt x="63854" y="129525"/>
                    <a:pt x="60565" y="165593"/>
                    <a:pt x="57276" y="201661"/>
                  </a:cubicBezTo>
                  <a:close/>
                </a:path>
              </a:pathLst>
            </a:custGeom>
            <a:solidFill>
              <a:srgbClr val="2FAAA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4" name="Free Form 1365">
              <a:extLst>
                <a:ext uri="{FF2B5EF4-FFF2-40B4-BE49-F238E27FC236}">
                  <a16:creationId xmlns:a16="http://schemas.microsoft.com/office/drawing/2014/main" id="{59522BB1-5716-F367-B93B-77D5DC6CD33B}"/>
                </a:ext>
              </a:extLst>
            </p:cNvPr>
            <p:cNvSpPr/>
            <p:nvPr/>
          </p:nvSpPr>
          <p:spPr>
            <a:xfrm>
              <a:off x="4401815" y="5121882"/>
              <a:ext cx="252395" cy="359179"/>
            </a:xfrm>
            <a:custGeom>
              <a:avLst/>
              <a:gdLst/>
              <a:ahLst/>
              <a:cxnLst/>
              <a:rect l="0" t="0" r="0" b="0"/>
              <a:pathLst>
                <a:path w="200175" h="261312">
                  <a:moveTo>
                    <a:pt x="198956" y="19875"/>
                  </a:moveTo>
                  <a:cubicBezTo>
                    <a:pt x="199095" y="30301"/>
                    <a:pt x="200175" y="40817"/>
                    <a:pt x="199159" y="51116"/>
                  </a:cubicBezTo>
                  <a:cubicBezTo>
                    <a:pt x="197343" y="69557"/>
                    <a:pt x="185989" y="80352"/>
                    <a:pt x="168489" y="85152"/>
                  </a:cubicBezTo>
                  <a:cubicBezTo>
                    <a:pt x="165466" y="88543"/>
                    <a:pt x="161351" y="87819"/>
                    <a:pt x="157554" y="87844"/>
                  </a:cubicBezTo>
                  <a:cubicBezTo>
                    <a:pt x="138072" y="87959"/>
                    <a:pt x="118591" y="87819"/>
                    <a:pt x="99109" y="87921"/>
                  </a:cubicBezTo>
                  <a:cubicBezTo>
                    <a:pt x="89686" y="87971"/>
                    <a:pt x="89114" y="88683"/>
                    <a:pt x="88987" y="98258"/>
                  </a:cubicBezTo>
                  <a:cubicBezTo>
                    <a:pt x="88924" y="102411"/>
                    <a:pt x="89089" y="106564"/>
                    <a:pt x="88822" y="110717"/>
                  </a:cubicBezTo>
                  <a:cubicBezTo>
                    <a:pt x="89127" y="141819"/>
                    <a:pt x="89216" y="172908"/>
                    <a:pt x="88810" y="203997"/>
                  </a:cubicBezTo>
                  <a:cubicBezTo>
                    <a:pt x="88708" y="208506"/>
                    <a:pt x="89775" y="213205"/>
                    <a:pt x="86740" y="217256"/>
                  </a:cubicBezTo>
                  <a:cubicBezTo>
                    <a:pt x="86663" y="230032"/>
                    <a:pt x="86486" y="242821"/>
                    <a:pt x="86549" y="255610"/>
                  </a:cubicBezTo>
                  <a:cubicBezTo>
                    <a:pt x="86574" y="259242"/>
                    <a:pt x="86168" y="261312"/>
                    <a:pt x="81609" y="261274"/>
                  </a:cubicBezTo>
                  <a:cubicBezTo>
                    <a:pt x="54482" y="260982"/>
                    <a:pt x="27342" y="260982"/>
                    <a:pt x="203" y="260880"/>
                  </a:cubicBezTo>
                  <a:cubicBezTo>
                    <a:pt x="0" y="255648"/>
                    <a:pt x="3975" y="252778"/>
                    <a:pt x="7289" y="250250"/>
                  </a:cubicBezTo>
                  <a:cubicBezTo>
                    <a:pt x="18998" y="241310"/>
                    <a:pt x="22008" y="229905"/>
                    <a:pt x="21742" y="215402"/>
                  </a:cubicBezTo>
                  <a:cubicBezTo>
                    <a:pt x="20891" y="168628"/>
                    <a:pt x="21399" y="121829"/>
                    <a:pt x="21437" y="75043"/>
                  </a:cubicBezTo>
                  <a:cubicBezTo>
                    <a:pt x="21450" y="45465"/>
                    <a:pt x="34149" y="28917"/>
                    <a:pt x="62673" y="21132"/>
                  </a:cubicBezTo>
                  <a:cubicBezTo>
                    <a:pt x="64502" y="20599"/>
                    <a:pt x="66369" y="20535"/>
                    <a:pt x="68249" y="20446"/>
                  </a:cubicBezTo>
                  <a:cubicBezTo>
                    <a:pt x="80250" y="20027"/>
                    <a:pt x="92251" y="20408"/>
                    <a:pt x="104253" y="20243"/>
                  </a:cubicBezTo>
                  <a:cubicBezTo>
                    <a:pt x="113143" y="20116"/>
                    <a:pt x="113282" y="19964"/>
                    <a:pt x="113968" y="11074"/>
                  </a:cubicBezTo>
                  <a:cubicBezTo>
                    <a:pt x="114171" y="8470"/>
                    <a:pt x="114184" y="5829"/>
                    <a:pt x="115848" y="3594"/>
                  </a:cubicBezTo>
                  <a:cubicBezTo>
                    <a:pt x="121232" y="0"/>
                    <a:pt x="127227" y="2044"/>
                    <a:pt x="132980" y="1752"/>
                  </a:cubicBezTo>
                  <a:cubicBezTo>
                    <a:pt x="136510" y="2184"/>
                    <a:pt x="139558" y="3403"/>
                    <a:pt x="141222" y="6845"/>
                  </a:cubicBezTo>
                  <a:cubicBezTo>
                    <a:pt x="143622" y="20319"/>
                    <a:pt x="143622" y="20332"/>
                    <a:pt x="158189" y="20319"/>
                  </a:cubicBezTo>
                  <a:cubicBezTo>
                    <a:pt x="163891" y="20307"/>
                    <a:pt x="169593" y="20586"/>
                    <a:pt x="175308" y="20408"/>
                  </a:cubicBezTo>
                  <a:cubicBezTo>
                    <a:pt x="183208" y="21246"/>
                    <a:pt x="191056" y="19049"/>
                    <a:pt x="198956" y="19875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5" name="Free Form 1366">
              <a:extLst>
                <a:ext uri="{FF2B5EF4-FFF2-40B4-BE49-F238E27FC236}">
                  <a16:creationId xmlns:a16="http://schemas.microsoft.com/office/drawing/2014/main" id="{DBC15A63-3E3C-D133-41E1-0F1743A0AD2D}"/>
                </a:ext>
              </a:extLst>
            </p:cNvPr>
            <p:cNvSpPr/>
            <p:nvPr/>
          </p:nvSpPr>
          <p:spPr>
            <a:xfrm>
              <a:off x="3737134" y="4755892"/>
              <a:ext cx="195598" cy="288516"/>
            </a:xfrm>
            <a:custGeom>
              <a:avLst/>
              <a:gdLst/>
              <a:ahLst/>
              <a:cxnLst/>
              <a:rect l="0" t="0" r="0" b="0"/>
              <a:pathLst>
                <a:path w="155128" h="209903">
                  <a:moveTo>
                    <a:pt x="67461" y="209331"/>
                  </a:moveTo>
                  <a:cubicBezTo>
                    <a:pt x="48284" y="192009"/>
                    <a:pt x="29730" y="173988"/>
                    <a:pt x="12737" y="154570"/>
                  </a:cubicBezTo>
                  <a:cubicBezTo>
                    <a:pt x="1866" y="142136"/>
                    <a:pt x="0" y="126554"/>
                    <a:pt x="5410" y="110996"/>
                  </a:cubicBezTo>
                  <a:cubicBezTo>
                    <a:pt x="15417" y="82193"/>
                    <a:pt x="25818" y="53517"/>
                    <a:pt x="36664" y="25018"/>
                  </a:cubicBezTo>
                  <a:cubicBezTo>
                    <a:pt x="42862" y="8750"/>
                    <a:pt x="55460" y="368"/>
                    <a:pt x="72948" y="215"/>
                  </a:cubicBezTo>
                  <a:cubicBezTo>
                    <a:pt x="96188" y="0"/>
                    <a:pt x="119442" y="152"/>
                    <a:pt x="142682" y="139"/>
                  </a:cubicBezTo>
                  <a:cubicBezTo>
                    <a:pt x="148105" y="2514"/>
                    <a:pt x="153642" y="4762"/>
                    <a:pt x="154570" y="11760"/>
                  </a:cubicBezTo>
                  <a:cubicBezTo>
                    <a:pt x="154150" y="12712"/>
                    <a:pt x="155128" y="11798"/>
                    <a:pt x="154430" y="12509"/>
                  </a:cubicBezTo>
                  <a:cubicBezTo>
                    <a:pt x="146137" y="20967"/>
                    <a:pt x="147166" y="30682"/>
                    <a:pt x="147801" y="41769"/>
                  </a:cubicBezTo>
                  <a:cubicBezTo>
                    <a:pt x="149248" y="67029"/>
                    <a:pt x="147039" y="92391"/>
                    <a:pt x="145553" y="117689"/>
                  </a:cubicBezTo>
                  <a:cubicBezTo>
                    <a:pt x="145007" y="127100"/>
                    <a:pt x="145286" y="136510"/>
                    <a:pt x="145261" y="145921"/>
                  </a:cubicBezTo>
                  <a:cubicBezTo>
                    <a:pt x="145210" y="157427"/>
                    <a:pt x="143533" y="168819"/>
                    <a:pt x="142886" y="180274"/>
                  </a:cubicBezTo>
                  <a:cubicBezTo>
                    <a:pt x="137526" y="185481"/>
                    <a:pt x="130541" y="187564"/>
                    <a:pt x="123722" y="189786"/>
                  </a:cubicBezTo>
                  <a:cubicBezTo>
                    <a:pt x="120496" y="190840"/>
                    <a:pt x="117651" y="188719"/>
                    <a:pt x="115403" y="186395"/>
                  </a:cubicBezTo>
                  <a:cubicBezTo>
                    <a:pt x="112000" y="182865"/>
                    <a:pt x="107694" y="180058"/>
                    <a:pt x="105904" y="175156"/>
                  </a:cubicBezTo>
                  <a:cubicBezTo>
                    <a:pt x="108012" y="169632"/>
                    <a:pt x="106081" y="165568"/>
                    <a:pt x="101852" y="161720"/>
                  </a:cubicBezTo>
                  <a:cubicBezTo>
                    <a:pt x="93686" y="154277"/>
                    <a:pt x="86524" y="145616"/>
                    <a:pt x="75729" y="141578"/>
                  </a:cubicBezTo>
                  <a:cubicBezTo>
                    <a:pt x="74802" y="141235"/>
                    <a:pt x="74383" y="140054"/>
                    <a:pt x="73887" y="139114"/>
                  </a:cubicBezTo>
                  <a:cubicBezTo>
                    <a:pt x="71766" y="126604"/>
                    <a:pt x="75081" y="114286"/>
                    <a:pt x="75208" y="101852"/>
                  </a:cubicBezTo>
                  <a:cubicBezTo>
                    <a:pt x="75272" y="95439"/>
                    <a:pt x="75945" y="88899"/>
                    <a:pt x="76656" y="82460"/>
                  </a:cubicBezTo>
                  <a:cubicBezTo>
                    <a:pt x="77469" y="79107"/>
                    <a:pt x="78332" y="75754"/>
                    <a:pt x="78574" y="72274"/>
                  </a:cubicBezTo>
                  <a:cubicBezTo>
                    <a:pt x="78612" y="71779"/>
                    <a:pt x="78650" y="71284"/>
                    <a:pt x="78764" y="70814"/>
                  </a:cubicBezTo>
                  <a:cubicBezTo>
                    <a:pt x="78358" y="71093"/>
                    <a:pt x="78637" y="71525"/>
                    <a:pt x="78497" y="71932"/>
                  </a:cubicBezTo>
                  <a:cubicBezTo>
                    <a:pt x="74814" y="86879"/>
                    <a:pt x="68757" y="100989"/>
                    <a:pt x="63677" y="115403"/>
                  </a:cubicBezTo>
                  <a:cubicBezTo>
                    <a:pt x="60959" y="123112"/>
                    <a:pt x="61429" y="128763"/>
                    <a:pt x="68109" y="133754"/>
                  </a:cubicBezTo>
                  <a:cubicBezTo>
                    <a:pt x="70789" y="135748"/>
                    <a:pt x="73049" y="138339"/>
                    <a:pt x="75068" y="141057"/>
                  </a:cubicBezTo>
                  <a:cubicBezTo>
                    <a:pt x="75526" y="152322"/>
                    <a:pt x="84314" y="157795"/>
                    <a:pt x="91439" y="164336"/>
                  </a:cubicBezTo>
                  <a:cubicBezTo>
                    <a:pt x="95642" y="168197"/>
                    <a:pt x="100544" y="171283"/>
                    <a:pt x="104100" y="175855"/>
                  </a:cubicBezTo>
                  <a:cubicBezTo>
                    <a:pt x="103072" y="180630"/>
                    <a:pt x="98512" y="182420"/>
                    <a:pt x="95693" y="185684"/>
                  </a:cubicBezTo>
                  <a:cubicBezTo>
                    <a:pt x="88860" y="193571"/>
                    <a:pt x="79945" y="199248"/>
                    <a:pt x="72859" y="206893"/>
                  </a:cubicBezTo>
                  <a:cubicBezTo>
                    <a:pt x="71474" y="208379"/>
                    <a:pt x="69887" y="209903"/>
                    <a:pt x="67461" y="209331"/>
                  </a:cubicBezTo>
                  <a:close/>
                </a:path>
              </a:pathLst>
            </a:custGeom>
            <a:solidFill>
              <a:srgbClr val="2FAAA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6" name="Free Form 1367">
              <a:extLst>
                <a:ext uri="{FF2B5EF4-FFF2-40B4-BE49-F238E27FC236}">
                  <a16:creationId xmlns:a16="http://schemas.microsoft.com/office/drawing/2014/main" id="{BC2D80FB-38D7-909B-8018-97DA33F62A4C}"/>
                </a:ext>
              </a:extLst>
            </p:cNvPr>
            <p:cNvSpPr/>
            <p:nvPr/>
          </p:nvSpPr>
          <p:spPr>
            <a:xfrm>
              <a:off x="4163821" y="5148567"/>
              <a:ext cx="233516" cy="332418"/>
            </a:xfrm>
            <a:custGeom>
              <a:avLst/>
              <a:gdLst/>
              <a:ahLst/>
              <a:cxnLst/>
              <a:rect l="0" t="0" r="0" b="0"/>
              <a:pathLst>
                <a:path w="185202" h="241843">
                  <a:moveTo>
                    <a:pt x="87171" y="197838"/>
                  </a:moveTo>
                  <a:cubicBezTo>
                    <a:pt x="87095" y="210639"/>
                    <a:pt x="86994" y="223428"/>
                    <a:pt x="86968" y="236230"/>
                  </a:cubicBezTo>
                  <a:cubicBezTo>
                    <a:pt x="86955" y="239240"/>
                    <a:pt x="87159" y="241843"/>
                    <a:pt x="82714" y="241818"/>
                  </a:cubicBezTo>
                  <a:cubicBezTo>
                    <a:pt x="55650" y="241691"/>
                    <a:pt x="28574" y="241754"/>
                    <a:pt x="1511" y="241754"/>
                  </a:cubicBezTo>
                  <a:cubicBezTo>
                    <a:pt x="1015" y="241043"/>
                    <a:pt x="507" y="240319"/>
                    <a:pt x="0" y="239608"/>
                  </a:cubicBezTo>
                  <a:cubicBezTo>
                    <a:pt x="6769" y="233309"/>
                    <a:pt x="13474" y="226959"/>
                    <a:pt x="20307" y="220736"/>
                  </a:cubicBezTo>
                  <a:cubicBezTo>
                    <a:pt x="22974" y="218310"/>
                    <a:pt x="24269" y="215681"/>
                    <a:pt x="24256" y="211897"/>
                  </a:cubicBezTo>
                  <a:cubicBezTo>
                    <a:pt x="24142" y="165669"/>
                    <a:pt x="24180" y="119429"/>
                    <a:pt x="24167" y="73189"/>
                  </a:cubicBezTo>
                  <a:cubicBezTo>
                    <a:pt x="24167" y="71411"/>
                    <a:pt x="24586" y="69480"/>
                    <a:pt x="22872" y="68109"/>
                  </a:cubicBezTo>
                  <a:cubicBezTo>
                    <a:pt x="18160" y="36893"/>
                    <a:pt x="29362" y="8508"/>
                    <a:pt x="64248" y="1574"/>
                  </a:cubicBezTo>
                  <a:cubicBezTo>
                    <a:pt x="67956" y="800"/>
                    <a:pt x="71703" y="927"/>
                    <a:pt x="75462" y="952"/>
                  </a:cubicBezTo>
                  <a:cubicBezTo>
                    <a:pt x="110082" y="876"/>
                    <a:pt x="144702" y="0"/>
                    <a:pt x="179309" y="1371"/>
                  </a:cubicBezTo>
                  <a:cubicBezTo>
                    <a:pt x="181188" y="1828"/>
                    <a:pt x="182852" y="2654"/>
                    <a:pt x="184135" y="4140"/>
                  </a:cubicBezTo>
                  <a:cubicBezTo>
                    <a:pt x="185202" y="7658"/>
                    <a:pt x="182128" y="7861"/>
                    <a:pt x="180223" y="8661"/>
                  </a:cubicBezTo>
                  <a:cubicBezTo>
                    <a:pt x="160310" y="17081"/>
                    <a:pt x="152207" y="32841"/>
                    <a:pt x="151763" y="53618"/>
                  </a:cubicBezTo>
                  <a:cubicBezTo>
                    <a:pt x="151661" y="58305"/>
                    <a:pt x="153401" y="63626"/>
                    <a:pt x="148588" y="67309"/>
                  </a:cubicBezTo>
                  <a:cubicBezTo>
                    <a:pt x="134821" y="69671"/>
                    <a:pt x="120966" y="68109"/>
                    <a:pt x="107148" y="68363"/>
                  </a:cubicBezTo>
                  <a:cubicBezTo>
                    <a:pt x="87349" y="68731"/>
                    <a:pt x="89508" y="66813"/>
                    <a:pt x="89407" y="86066"/>
                  </a:cubicBezTo>
                  <a:cubicBezTo>
                    <a:pt x="89394" y="87895"/>
                    <a:pt x="89229" y="89724"/>
                    <a:pt x="89267" y="91553"/>
                  </a:cubicBezTo>
                  <a:cubicBezTo>
                    <a:pt x="89584" y="122579"/>
                    <a:pt x="89648" y="153592"/>
                    <a:pt x="89254" y="184592"/>
                  </a:cubicBezTo>
                  <a:cubicBezTo>
                    <a:pt x="89165" y="189100"/>
                    <a:pt x="90219" y="193799"/>
                    <a:pt x="87171" y="197838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7" name="Free Form 1368">
              <a:extLst>
                <a:ext uri="{FF2B5EF4-FFF2-40B4-BE49-F238E27FC236}">
                  <a16:creationId xmlns:a16="http://schemas.microsoft.com/office/drawing/2014/main" id="{159423ED-4B41-D768-6B6D-0B676D91F9CB}"/>
                </a:ext>
              </a:extLst>
            </p:cNvPr>
            <p:cNvSpPr/>
            <p:nvPr/>
          </p:nvSpPr>
          <p:spPr>
            <a:xfrm>
              <a:off x="4199546" y="4941228"/>
              <a:ext cx="259841" cy="172171"/>
            </a:xfrm>
            <a:custGeom>
              <a:avLst/>
              <a:gdLst/>
              <a:ahLst/>
              <a:cxnLst/>
              <a:rect l="0" t="0" r="0" b="0"/>
              <a:pathLst>
                <a:path w="206080" h="125258">
                  <a:moveTo>
                    <a:pt x="0" y="58406"/>
                  </a:moveTo>
                  <a:cubicBezTo>
                    <a:pt x="5067" y="48132"/>
                    <a:pt x="9613" y="37566"/>
                    <a:pt x="15316" y="27660"/>
                  </a:cubicBezTo>
                  <a:cubicBezTo>
                    <a:pt x="24129" y="12331"/>
                    <a:pt x="37782" y="4190"/>
                    <a:pt x="55574" y="3454"/>
                  </a:cubicBezTo>
                  <a:cubicBezTo>
                    <a:pt x="61302" y="3213"/>
                    <a:pt x="67042" y="3276"/>
                    <a:pt x="72770" y="3200"/>
                  </a:cubicBezTo>
                  <a:cubicBezTo>
                    <a:pt x="76084" y="787"/>
                    <a:pt x="79590" y="939"/>
                    <a:pt x="83184" y="2438"/>
                  </a:cubicBezTo>
                  <a:cubicBezTo>
                    <a:pt x="87451" y="6769"/>
                    <a:pt x="85368" y="12318"/>
                    <a:pt x="85952" y="17335"/>
                  </a:cubicBezTo>
                  <a:cubicBezTo>
                    <a:pt x="87171" y="27749"/>
                    <a:pt x="93699" y="35750"/>
                    <a:pt x="103364" y="38175"/>
                  </a:cubicBezTo>
                  <a:cubicBezTo>
                    <a:pt x="112431" y="40449"/>
                    <a:pt x="121905" y="36867"/>
                    <a:pt x="127519" y="29057"/>
                  </a:cubicBezTo>
                  <a:cubicBezTo>
                    <a:pt x="130884" y="24396"/>
                    <a:pt x="131697" y="19062"/>
                    <a:pt x="131862" y="13474"/>
                  </a:cubicBezTo>
                  <a:cubicBezTo>
                    <a:pt x="131964" y="9677"/>
                    <a:pt x="130961" y="5511"/>
                    <a:pt x="134440" y="2451"/>
                  </a:cubicBezTo>
                  <a:cubicBezTo>
                    <a:pt x="150988" y="0"/>
                    <a:pt x="167663" y="38"/>
                    <a:pt x="184084" y="2273"/>
                  </a:cubicBezTo>
                  <a:cubicBezTo>
                    <a:pt x="195374" y="3797"/>
                    <a:pt x="201864" y="12268"/>
                    <a:pt x="204772" y="23228"/>
                  </a:cubicBezTo>
                  <a:cubicBezTo>
                    <a:pt x="206080" y="44220"/>
                    <a:pt x="205598" y="65239"/>
                    <a:pt x="205039" y="86244"/>
                  </a:cubicBezTo>
                  <a:cubicBezTo>
                    <a:pt x="204988" y="88086"/>
                    <a:pt x="204544" y="89838"/>
                    <a:pt x="203337" y="91324"/>
                  </a:cubicBezTo>
                  <a:cubicBezTo>
                    <a:pt x="202372" y="92239"/>
                    <a:pt x="201229" y="93026"/>
                    <a:pt x="199921" y="93102"/>
                  </a:cubicBezTo>
                  <a:cubicBezTo>
                    <a:pt x="185608" y="93864"/>
                    <a:pt x="171283" y="94969"/>
                    <a:pt x="157033" y="92480"/>
                  </a:cubicBezTo>
                  <a:cubicBezTo>
                    <a:pt x="155293" y="91604"/>
                    <a:pt x="155344" y="90054"/>
                    <a:pt x="155636" y="88467"/>
                  </a:cubicBezTo>
                  <a:cubicBezTo>
                    <a:pt x="157910" y="75780"/>
                    <a:pt x="156309" y="62978"/>
                    <a:pt x="156729" y="50240"/>
                  </a:cubicBezTo>
                  <a:cubicBezTo>
                    <a:pt x="156779" y="48678"/>
                    <a:pt x="156652" y="47116"/>
                    <a:pt x="156284" y="45579"/>
                  </a:cubicBezTo>
                  <a:cubicBezTo>
                    <a:pt x="155852" y="43725"/>
                    <a:pt x="155128" y="41871"/>
                    <a:pt x="153007" y="41731"/>
                  </a:cubicBezTo>
                  <a:cubicBezTo>
                    <a:pt x="150328" y="41541"/>
                    <a:pt x="149350" y="43738"/>
                    <a:pt x="149223" y="45846"/>
                  </a:cubicBezTo>
                  <a:cubicBezTo>
                    <a:pt x="148486" y="58584"/>
                    <a:pt x="148334" y="71347"/>
                    <a:pt x="149312" y="84085"/>
                  </a:cubicBezTo>
                  <a:cubicBezTo>
                    <a:pt x="149553" y="87375"/>
                    <a:pt x="152741" y="89229"/>
                    <a:pt x="154074" y="92061"/>
                  </a:cubicBezTo>
                  <a:cubicBezTo>
                    <a:pt x="155370" y="102500"/>
                    <a:pt x="157071" y="112952"/>
                    <a:pt x="152969" y="123201"/>
                  </a:cubicBezTo>
                  <a:cubicBezTo>
                    <a:pt x="150264" y="125144"/>
                    <a:pt x="147102" y="125169"/>
                    <a:pt x="143991" y="125182"/>
                  </a:cubicBezTo>
                  <a:cubicBezTo>
                    <a:pt x="114362" y="125258"/>
                    <a:pt x="84733" y="125258"/>
                    <a:pt x="55117" y="125182"/>
                  </a:cubicBezTo>
                  <a:cubicBezTo>
                    <a:pt x="52513" y="125182"/>
                    <a:pt x="49910" y="125080"/>
                    <a:pt x="47459" y="124115"/>
                  </a:cubicBezTo>
                  <a:cubicBezTo>
                    <a:pt x="43179" y="121728"/>
                    <a:pt x="43941" y="117473"/>
                    <a:pt x="43903" y="113689"/>
                  </a:cubicBezTo>
                  <a:cubicBezTo>
                    <a:pt x="43763" y="101560"/>
                    <a:pt x="43789" y="89419"/>
                    <a:pt x="43903" y="76046"/>
                  </a:cubicBezTo>
                  <a:cubicBezTo>
                    <a:pt x="42836" y="78510"/>
                    <a:pt x="42023" y="79513"/>
                    <a:pt x="41033" y="80390"/>
                  </a:cubicBezTo>
                  <a:cubicBezTo>
                    <a:pt x="38302" y="82371"/>
                    <a:pt x="35635" y="81596"/>
                    <a:pt x="33019" y="80186"/>
                  </a:cubicBezTo>
                  <a:cubicBezTo>
                    <a:pt x="23228" y="74903"/>
                    <a:pt x="13690" y="69150"/>
                    <a:pt x="3975" y="63715"/>
                  </a:cubicBezTo>
                  <a:cubicBezTo>
                    <a:pt x="1892" y="62546"/>
                    <a:pt x="76" y="61111"/>
                    <a:pt x="0" y="58406"/>
                  </a:cubicBezTo>
                  <a:close/>
                </a:path>
              </a:pathLst>
            </a:custGeom>
            <a:solidFill>
              <a:srgbClr val="E78C4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8" name="Free Form 1369">
              <a:extLst>
                <a:ext uri="{FF2B5EF4-FFF2-40B4-BE49-F238E27FC236}">
                  <a16:creationId xmlns:a16="http://schemas.microsoft.com/office/drawing/2014/main" id="{11FC60AE-01E7-CE0F-A88A-FDA374CD31CD}"/>
                </a:ext>
              </a:extLst>
            </p:cNvPr>
            <p:cNvSpPr/>
            <p:nvPr/>
          </p:nvSpPr>
          <p:spPr>
            <a:xfrm>
              <a:off x="4320210" y="5146691"/>
              <a:ext cx="160945" cy="333779"/>
            </a:xfrm>
            <a:custGeom>
              <a:avLst/>
              <a:gdLst/>
              <a:ahLst/>
              <a:cxnLst/>
              <a:rect l="0" t="0" r="0" b="0"/>
              <a:pathLst>
                <a:path w="127646" h="242834">
                  <a:moveTo>
                    <a:pt x="25552" y="67461"/>
                  </a:moveTo>
                  <a:cubicBezTo>
                    <a:pt x="25742" y="59930"/>
                    <a:pt x="25056" y="52247"/>
                    <a:pt x="26301" y="44881"/>
                  </a:cubicBezTo>
                  <a:cubicBezTo>
                    <a:pt x="29603" y="25285"/>
                    <a:pt x="40957" y="12217"/>
                    <a:pt x="60222" y="6388"/>
                  </a:cubicBezTo>
                  <a:cubicBezTo>
                    <a:pt x="63258" y="2273"/>
                    <a:pt x="67842" y="2298"/>
                    <a:pt x="72198" y="2235"/>
                  </a:cubicBezTo>
                  <a:cubicBezTo>
                    <a:pt x="83857" y="2070"/>
                    <a:pt x="95528" y="1955"/>
                    <a:pt x="107186" y="2285"/>
                  </a:cubicBezTo>
                  <a:cubicBezTo>
                    <a:pt x="114044" y="2870"/>
                    <a:pt x="121334" y="0"/>
                    <a:pt x="127646" y="4864"/>
                  </a:cubicBezTo>
                  <a:cubicBezTo>
                    <a:pt x="106945" y="10172"/>
                    <a:pt x="93229" y="22389"/>
                    <a:pt x="89216" y="44030"/>
                  </a:cubicBezTo>
                  <a:cubicBezTo>
                    <a:pt x="88645" y="47078"/>
                    <a:pt x="88479" y="50227"/>
                    <a:pt x="88479" y="53326"/>
                  </a:cubicBezTo>
                  <a:cubicBezTo>
                    <a:pt x="88441" y="106043"/>
                    <a:pt x="88391" y="158761"/>
                    <a:pt x="88543" y="211465"/>
                  </a:cubicBezTo>
                  <a:cubicBezTo>
                    <a:pt x="88568" y="216558"/>
                    <a:pt x="87298" y="220329"/>
                    <a:pt x="83527" y="223860"/>
                  </a:cubicBezTo>
                  <a:cubicBezTo>
                    <a:pt x="77075" y="229918"/>
                    <a:pt x="71093" y="236484"/>
                    <a:pt x="64921" y="242834"/>
                  </a:cubicBezTo>
                  <a:lnTo>
                    <a:pt x="0" y="242834"/>
                  </a:lnTo>
                  <a:cubicBezTo>
                    <a:pt x="6197" y="236954"/>
                    <a:pt x="10718" y="231582"/>
                    <a:pt x="16255" y="227645"/>
                  </a:cubicBezTo>
                  <a:cubicBezTo>
                    <a:pt x="26682" y="220241"/>
                    <a:pt x="26580" y="210030"/>
                    <a:pt x="25437" y="199210"/>
                  </a:cubicBezTo>
                  <a:cubicBezTo>
                    <a:pt x="22440" y="195171"/>
                    <a:pt x="23507" y="190510"/>
                    <a:pt x="23393" y="186014"/>
                  </a:cubicBezTo>
                  <a:cubicBezTo>
                    <a:pt x="23012" y="154963"/>
                    <a:pt x="23012" y="123912"/>
                    <a:pt x="23367" y="92848"/>
                  </a:cubicBezTo>
                  <a:cubicBezTo>
                    <a:pt x="23913" y="84377"/>
                    <a:pt x="21157" y="75614"/>
                    <a:pt x="25552" y="67461"/>
                  </a:cubicBezTo>
                  <a:close/>
                </a:path>
              </a:pathLst>
            </a:custGeom>
            <a:solidFill>
              <a:srgbClr val="314486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099" name="Free Form 1370">
              <a:extLst>
                <a:ext uri="{FF2B5EF4-FFF2-40B4-BE49-F238E27FC236}">
                  <a16:creationId xmlns:a16="http://schemas.microsoft.com/office/drawing/2014/main" id="{95603A65-887B-813D-06EB-5E0586581A52}"/>
                </a:ext>
              </a:extLst>
            </p:cNvPr>
            <p:cNvSpPr/>
            <p:nvPr/>
          </p:nvSpPr>
          <p:spPr>
            <a:xfrm>
              <a:off x="4121788" y="4846528"/>
              <a:ext cx="127798" cy="267534"/>
            </a:xfrm>
            <a:custGeom>
              <a:avLst/>
              <a:gdLst/>
              <a:ahLst/>
              <a:cxnLst/>
              <a:rect l="0" t="0" r="0" b="0"/>
              <a:pathLst>
                <a:path w="101357" h="194638">
                  <a:moveTo>
                    <a:pt x="61670" y="127303"/>
                  </a:moveTo>
                  <a:cubicBezTo>
                    <a:pt x="74433" y="135494"/>
                    <a:pt x="87159" y="143787"/>
                    <a:pt x="101357" y="149401"/>
                  </a:cubicBezTo>
                  <a:cubicBezTo>
                    <a:pt x="100582" y="159599"/>
                    <a:pt x="94461" y="167498"/>
                    <a:pt x="89559" y="175804"/>
                  </a:cubicBezTo>
                  <a:cubicBezTo>
                    <a:pt x="85089" y="183386"/>
                    <a:pt x="79513" y="190269"/>
                    <a:pt x="70700" y="193457"/>
                  </a:cubicBezTo>
                  <a:cubicBezTo>
                    <a:pt x="57136" y="194638"/>
                    <a:pt x="43573" y="193914"/>
                    <a:pt x="30022" y="193914"/>
                  </a:cubicBezTo>
                  <a:cubicBezTo>
                    <a:pt x="27431" y="193914"/>
                    <a:pt x="24752" y="193685"/>
                    <a:pt x="22923" y="191361"/>
                  </a:cubicBezTo>
                  <a:cubicBezTo>
                    <a:pt x="5829" y="178775"/>
                    <a:pt x="0" y="161732"/>
                    <a:pt x="800" y="140866"/>
                  </a:cubicBezTo>
                  <a:cubicBezTo>
                    <a:pt x="1739" y="116076"/>
                    <a:pt x="977" y="91223"/>
                    <a:pt x="939" y="66407"/>
                  </a:cubicBezTo>
                  <a:cubicBezTo>
                    <a:pt x="965" y="51599"/>
                    <a:pt x="952" y="36804"/>
                    <a:pt x="1041" y="21996"/>
                  </a:cubicBezTo>
                  <a:cubicBezTo>
                    <a:pt x="1104" y="12649"/>
                    <a:pt x="4127" y="8940"/>
                    <a:pt x="13042" y="6476"/>
                  </a:cubicBezTo>
                  <a:cubicBezTo>
                    <a:pt x="20002" y="4546"/>
                    <a:pt x="27355" y="3975"/>
                    <a:pt x="33832" y="406"/>
                  </a:cubicBezTo>
                  <a:cubicBezTo>
                    <a:pt x="46202" y="0"/>
                    <a:pt x="50583" y="3911"/>
                    <a:pt x="51142" y="16649"/>
                  </a:cubicBezTo>
                  <a:cubicBezTo>
                    <a:pt x="51332" y="21043"/>
                    <a:pt x="52450" y="22339"/>
                    <a:pt x="56628" y="20548"/>
                  </a:cubicBezTo>
                  <a:cubicBezTo>
                    <a:pt x="58508" y="19735"/>
                    <a:pt x="60591" y="19278"/>
                    <a:pt x="62635" y="18986"/>
                  </a:cubicBezTo>
                  <a:cubicBezTo>
                    <a:pt x="65518" y="18554"/>
                    <a:pt x="67753" y="19900"/>
                    <a:pt x="69176" y="22351"/>
                  </a:cubicBezTo>
                  <a:cubicBezTo>
                    <a:pt x="70662" y="24917"/>
                    <a:pt x="70179" y="27368"/>
                    <a:pt x="68185" y="29514"/>
                  </a:cubicBezTo>
                  <a:cubicBezTo>
                    <a:pt x="67296" y="30466"/>
                    <a:pt x="66483" y="31571"/>
                    <a:pt x="65417" y="32283"/>
                  </a:cubicBezTo>
                  <a:cubicBezTo>
                    <a:pt x="52729" y="40652"/>
                    <a:pt x="50266" y="52488"/>
                    <a:pt x="50913" y="67093"/>
                  </a:cubicBezTo>
                  <a:cubicBezTo>
                    <a:pt x="52069" y="92810"/>
                    <a:pt x="51243" y="118616"/>
                    <a:pt x="52399" y="144803"/>
                  </a:cubicBezTo>
                  <a:cubicBezTo>
                    <a:pt x="55485" y="138961"/>
                    <a:pt x="58584" y="133132"/>
                    <a:pt x="61670" y="127303"/>
                  </a:cubicBezTo>
                  <a:close/>
                </a:path>
              </a:pathLst>
            </a:custGeom>
            <a:solidFill>
              <a:srgbClr val="FBB197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0" name="Free Form 1371">
              <a:extLst>
                <a:ext uri="{FF2B5EF4-FFF2-40B4-BE49-F238E27FC236}">
                  <a16:creationId xmlns:a16="http://schemas.microsoft.com/office/drawing/2014/main" id="{0D98A84D-A8E2-F79E-8BFF-E525439C891A}"/>
                </a:ext>
              </a:extLst>
            </p:cNvPr>
            <p:cNvSpPr/>
            <p:nvPr/>
          </p:nvSpPr>
          <p:spPr>
            <a:xfrm>
              <a:off x="4087435" y="5148733"/>
              <a:ext cx="156270" cy="296248"/>
            </a:xfrm>
            <a:custGeom>
              <a:avLst/>
              <a:gdLst/>
              <a:ahLst/>
              <a:cxnLst/>
              <a:rect l="0" t="0" r="0" b="0"/>
              <a:pathLst>
                <a:path w="123937" h="215529">
                  <a:moveTo>
                    <a:pt x="123937" y="3378"/>
                  </a:moveTo>
                  <a:cubicBezTo>
                    <a:pt x="102843" y="8686"/>
                    <a:pt x="89381" y="21424"/>
                    <a:pt x="85241" y="43217"/>
                  </a:cubicBezTo>
                  <a:cubicBezTo>
                    <a:pt x="83692" y="51409"/>
                    <a:pt x="86244" y="59892"/>
                    <a:pt x="83463" y="67995"/>
                  </a:cubicBezTo>
                  <a:cubicBezTo>
                    <a:pt x="69061" y="102665"/>
                    <a:pt x="54685" y="137336"/>
                    <a:pt x="40271" y="172006"/>
                  </a:cubicBezTo>
                  <a:cubicBezTo>
                    <a:pt x="34962" y="184757"/>
                    <a:pt x="29400" y="197419"/>
                    <a:pt x="24282" y="210258"/>
                  </a:cubicBezTo>
                  <a:cubicBezTo>
                    <a:pt x="22656" y="214335"/>
                    <a:pt x="21018" y="215529"/>
                    <a:pt x="16916" y="213268"/>
                  </a:cubicBezTo>
                  <a:cubicBezTo>
                    <a:pt x="12598" y="210893"/>
                    <a:pt x="7937" y="209154"/>
                    <a:pt x="3428" y="207134"/>
                  </a:cubicBezTo>
                  <a:cubicBezTo>
                    <a:pt x="1079" y="205344"/>
                    <a:pt x="787" y="202677"/>
                    <a:pt x="787" y="200086"/>
                  </a:cubicBezTo>
                  <a:cubicBezTo>
                    <a:pt x="812" y="168120"/>
                    <a:pt x="0" y="136129"/>
                    <a:pt x="1168" y="104176"/>
                  </a:cubicBezTo>
                  <a:cubicBezTo>
                    <a:pt x="10299" y="79780"/>
                    <a:pt x="19760" y="55409"/>
                    <a:pt x="32016" y="32410"/>
                  </a:cubicBezTo>
                  <a:cubicBezTo>
                    <a:pt x="42341" y="13030"/>
                    <a:pt x="60311" y="3581"/>
                    <a:pt x="81660" y="1282"/>
                  </a:cubicBezTo>
                  <a:cubicBezTo>
                    <a:pt x="93534" y="0"/>
                    <a:pt x="105624" y="914"/>
                    <a:pt x="117613" y="1066"/>
                  </a:cubicBezTo>
                  <a:cubicBezTo>
                    <a:pt x="119937" y="1092"/>
                    <a:pt x="122363" y="1142"/>
                    <a:pt x="123937" y="3378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1" name="Free Form 1372">
              <a:extLst>
                <a:ext uri="{FF2B5EF4-FFF2-40B4-BE49-F238E27FC236}">
                  <a16:creationId xmlns:a16="http://schemas.microsoft.com/office/drawing/2014/main" id="{D2684F10-5728-04C7-E1C7-F0950B816B62}"/>
                </a:ext>
              </a:extLst>
            </p:cNvPr>
            <p:cNvSpPr/>
            <p:nvPr/>
          </p:nvSpPr>
          <p:spPr>
            <a:xfrm>
              <a:off x="4455739" y="5001796"/>
              <a:ext cx="231066" cy="152724"/>
            </a:xfrm>
            <a:custGeom>
              <a:avLst/>
              <a:gdLst/>
              <a:ahLst/>
              <a:cxnLst/>
              <a:rect l="0" t="0" r="0" b="0"/>
              <a:pathLst>
                <a:path w="183259" h="111111">
                  <a:moveTo>
                    <a:pt x="97204" y="94131"/>
                  </a:moveTo>
                  <a:cubicBezTo>
                    <a:pt x="95337" y="92328"/>
                    <a:pt x="92975" y="91540"/>
                    <a:pt x="90550" y="90905"/>
                  </a:cubicBezTo>
                  <a:cubicBezTo>
                    <a:pt x="80847" y="88924"/>
                    <a:pt x="72389" y="83920"/>
                    <a:pt x="63575" y="79793"/>
                  </a:cubicBezTo>
                  <a:cubicBezTo>
                    <a:pt x="50367" y="72909"/>
                    <a:pt x="36715" y="66991"/>
                    <a:pt x="23151" y="60857"/>
                  </a:cubicBezTo>
                  <a:cubicBezTo>
                    <a:pt x="18579" y="57797"/>
                    <a:pt x="13499" y="55752"/>
                    <a:pt x="8470" y="53618"/>
                  </a:cubicBezTo>
                  <a:cubicBezTo>
                    <a:pt x="5575" y="52399"/>
                    <a:pt x="2832" y="50837"/>
                    <a:pt x="1460" y="47726"/>
                  </a:cubicBezTo>
                  <a:cubicBezTo>
                    <a:pt x="0" y="44005"/>
                    <a:pt x="1079" y="40499"/>
                    <a:pt x="2641" y="37185"/>
                  </a:cubicBezTo>
                  <a:cubicBezTo>
                    <a:pt x="5880" y="30352"/>
                    <a:pt x="9131" y="23520"/>
                    <a:pt x="12839" y="16928"/>
                  </a:cubicBezTo>
                  <a:cubicBezTo>
                    <a:pt x="16725" y="10007"/>
                    <a:pt x="20294" y="8699"/>
                    <a:pt x="27660" y="12026"/>
                  </a:cubicBezTo>
                  <a:cubicBezTo>
                    <a:pt x="32460" y="14198"/>
                    <a:pt x="35127" y="14427"/>
                    <a:pt x="36156" y="8178"/>
                  </a:cubicBezTo>
                  <a:cubicBezTo>
                    <a:pt x="36918" y="3670"/>
                    <a:pt x="40626" y="1117"/>
                    <a:pt x="45097" y="584"/>
                  </a:cubicBezTo>
                  <a:cubicBezTo>
                    <a:pt x="50075" y="0"/>
                    <a:pt x="53529" y="2768"/>
                    <a:pt x="55854" y="6921"/>
                  </a:cubicBezTo>
                  <a:cubicBezTo>
                    <a:pt x="57530" y="9905"/>
                    <a:pt x="58597" y="13258"/>
                    <a:pt x="58851" y="16586"/>
                  </a:cubicBezTo>
                  <a:cubicBezTo>
                    <a:pt x="59460" y="24599"/>
                    <a:pt x="63550" y="29489"/>
                    <a:pt x="71017" y="31990"/>
                  </a:cubicBezTo>
                  <a:cubicBezTo>
                    <a:pt x="72973" y="32638"/>
                    <a:pt x="74789" y="33756"/>
                    <a:pt x="76630" y="34721"/>
                  </a:cubicBezTo>
                  <a:cubicBezTo>
                    <a:pt x="81977" y="37667"/>
                    <a:pt x="87387" y="40449"/>
                    <a:pt x="93026" y="42798"/>
                  </a:cubicBezTo>
                  <a:cubicBezTo>
                    <a:pt x="105180" y="48005"/>
                    <a:pt x="116953" y="54063"/>
                    <a:pt x="129017" y="59486"/>
                  </a:cubicBezTo>
                  <a:cubicBezTo>
                    <a:pt x="135685" y="62483"/>
                    <a:pt x="135583" y="62584"/>
                    <a:pt x="135913" y="55536"/>
                  </a:cubicBezTo>
                  <a:cubicBezTo>
                    <a:pt x="136066" y="52247"/>
                    <a:pt x="135329" y="48665"/>
                    <a:pt x="138504" y="46176"/>
                  </a:cubicBezTo>
                  <a:cubicBezTo>
                    <a:pt x="139711" y="45516"/>
                    <a:pt x="140993" y="45211"/>
                    <a:pt x="142365" y="45135"/>
                  </a:cubicBezTo>
                  <a:cubicBezTo>
                    <a:pt x="152779" y="44474"/>
                    <a:pt x="163180" y="44830"/>
                    <a:pt x="173594" y="44855"/>
                  </a:cubicBezTo>
                  <a:cubicBezTo>
                    <a:pt x="176451" y="44868"/>
                    <a:pt x="179360" y="44982"/>
                    <a:pt x="181608" y="47205"/>
                  </a:cubicBezTo>
                  <a:cubicBezTo>
                    <a:pt x="181366" y="57657"/>
                    <a:pt x="183259" y="68198"/>
                    <a:pt x="180388" y="78548"/>
                  </a:cubicBezTo>
                  <a:cubicBezTo>
                    <a:pt x="182903" y="84263"/>
                    <a:pt x="180071" y="87933"/>
                    <a:pt x="175613" y="90969"/>
                  </a:cubicBezTo>
                  <a:cubicBezTo>
                    <a:pt x="170597" y="98131"/>
                    <a:pt x="164234" y="103694"/>
                    <a:pt x="156182" y="107237"/>
                  </a:cubicBezTo>
                  <a:cubicBezTo>
                    <a:pt x="148905" y="111111"/>
                    <a:pt x="141044" y="109815"/>
                    <a:pt x="133335" y="109790"/>
                  </a:cubicBezTo>
                  <a:cubicBezTo>
                    <a:pt x="120064" y="107390"/>
                    <a:pt x="107910" y="102437"/>
                    <a:pt x="97204" y="94131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2" name="Free Form 1373">
              <a:extLst>
                <a:ext uri="{FF2B5EF4-FFF2-40B4-BE49-F238E27FC236}">
                  <a16:creationId xmlns:a16="http://schemas.microsoft.com/office/drawing/2014/main" id="{D7CC0552-CDC8-C404-4C1A-A9678A1AF97F}"/>
                </a:ext>
              </a:extLst>
            </p:cNvPr>
            <p:cNvSpPr/>
            <p:nvPr/>
          </p:nvSpPr>
          <p:spPr>
            <a:xfrm>
              <a:off x="4043944" y="5104074"/>
              <a:ext cx="525960" cy="385344"/>
            </a:xfrm>
            <a:custGeom>
              <a:avLst/>
              <a:gdLst/>
              <a:ahLst/>
              <a:cxnLst/>
              <a:rect l="0" t="0" r="0" b="0"/>
              <a:pathLst>
                <a:path w="417139" h="280349">
                  <a:moveTo>
                    <a:pt x="390558" y="3975"/>
                  </a:moveTo>
                  <a:cubicBezTo>
                    <a:pt x="399702" y="7556"/>
                    <a:pt x="408630" y="11594"/>
                    <a:pt x="417139" y="16497"/>
                  </a:cubicBezTo>
                  <a:cubicBezTo>
                    <a:pt x="411551" y="16674"/>
                    <a:pt x="405951" y="16865"/>
                    <a:pt x="400350" y="17043"/>
                  </a:cubicBezTo>
                  <a:cubicBezTo>
                    <a:pt x="397708" y="19049"/>
                    <a:pt x="394597" y="19240"/>
                    <a:pt x="391473" y="19240"/>
                  </a:cubicBezTo>
                  <a:cubicBezTo>
                    <a:pt x="378265" y="19202"/>
                    <a:pt x="365057" y="19519"/>
                    <a:pt x="351849" y="19087"/>
                  </a:cubicBezTo>
                  <a:cubicBezTo>
                    <a:pt x="343315" y="19316"/>
                    <a:pt x="334781" y="19341"/>
                    <a:pt x="326234" y="19075"/>
                  </a:cubicBezTo>
                  <a:cubicBezTo>
                    <a:pt x="309508" y="19392"/>
                    <a:pt x="292782" y="19392"/>
                    <a:pt x="276056" y="19100"/>
                  </a:cubicBezTo>
                  <a:cubicBezTo>
                    <a:pt x="240573" y="19430"/>
                    <a:pt x="205102" y="19468"/>
                    <a:pt x="169632" y="19100"/>
                  </a:cubicBezTo>
                  <a:cubicBezTo>
                    <a:pt x="131532" y="19532"/>
                    <a:pt x="93432" y="19176"/>
                    <a:pt x="55333" y="19291"/>
                  </a:cubicBezTo>
                  <a:cubicBezTo>
                    <a:pt x="52983" y="19303"/>
                    <a:pt x="50621" y="19456"/>
                    <a:pt x="48284" y="19291"/>
                  </a:cubicBezTo>
                  <a:cubicBezTo>
                    <a:pt x="41426" y="18821"/>
                    <a:pt x="40106" y="22681"/>
                    <a:pt x="40131" y="28549"/>
                  </a:cubicBezTo>
                  <a:cubicBezTo>
                    <a:pt x="40258" y="55955"/>
                    <a:pt x="40118" y="83361"/>
                    <a:pt x="40233" y="110768"/>
                  </a:cubicBezTo>
                  <a:cubicBezTo>
                    <a:pt x="40271" y="118629"/>
                    <a:pt x="39953" y="126389"/>
                    <a:pt x="37921" y="134021"/>
                  </a:cubicBezTo>
                  <a:cubicBezTo>
                    <a:pt x="37921" y="169225"/>
                    <a:pt x="37921" y="204429"/>
                    <a:pt x="37921" y="239633"/>
                  </a:cubicBezTo>
                  <a:cubicBezTo>
                    <a:pt x="37832" y="250327"/>
                    <a:pt x="37680" y="261033"/>
                    <a:pt x="37680" y="271739"/>
                  </a:cubicBezTo>
                  <a:cubicBezTo>
                    <a:pt x="37693" y="276120"/>
                    <a:pt x="36588" y="280006"/>
                    <a:pt x="31673" y="280159"/>
                  </a:cubicBezTo>
                  <a:cubicBezTo>
                    <a:pt x="26212" y="280349"/>
                    <a:pt x="25069" y="276285"/>
                    <a:pt x="25069" y="271561"/>
                  </a:cubicBezTo>
                  <a:cubicBezTo>
                    <a:pt x="25082" y="258772"/>
                    <a:pt x="24929" y="245983"/>
                    <a:pt x="24840" y="233194"/>
                  </a:cubicBezTo>
                  <a:cubicBezTo>
                    <a:pt x="24104" y="231531"/>
                    <a:pt x="22948" y="229943"/>
                    <a:pt x="22961" y="228102"/>
                  </a:cubicBezTo>
                  <a:cubicBezTo>
                    <a:pt x="23075" y="207871"/>
                    <a:pt x="20561" y="187564"/>
                    <a:pt x="24840" y="167473"/>
                  </a:cubicBezTo>
                  <a:cubicBezTo>
                    <a:pt x="24929" y="118908"/>
                    <a:pt x="24967" y="70344"/>
                    <a:pt x="25183" y="21780"/>
                  </a:cubicBezTo>
                  <a:cubicBezTo>
                    <a:pt x="25209" y="17386"/>
                    <a:pt x="23456" y="16484"/>
                    <a:pt x="19646" y="16713"/>
                  </a:cubicBezTo>
                  <a:cubicBezTo>
                    <a:pt x="15747" y="16954"/>
                    <a:pt x="11810" y="16700"/>
                    <a:pt x="7899" y="16776"/>
                  </a:cubicBezTo>
                  <a:cubicBezTo>
                    <a:pt x="3708" y="16852"/>
                    <a:pt x="419" y="15379"/>
                    <a:pt x="228" y="10871"/>
                  </a:cubicBezTo>
                  <a:cubicBezTo>
                    <a:pt x="0" y="5905"/>
                    <a:pt x="3314" y="4190"/>
                    <a:pt x="7912" y="4203"/>
                  </a:cubicBezTo>
                  <a:cubicBezTo>
                    <a:pt x="24879" y="4241"/>
                    <a:pt x="41846" y="4241"/>
                    <a:pt x="58825" y="4203"/>
                  </a:cubicBezTo>
                  <a:cubicBezTo>
                    <a:pt x="67436" y="4178"/>
                    <a:pt x="76046" y="4063"/>
                    <a:pt x="84657" y="3987"/>
                  </a:cubicBezTo>
                  <a:cubicBezTo>
                    <a:pt x="101433" y="4000"/>
                    <a:pt x="118197" y="4025"/>
                    <a:pt x="134974" y="4038"/>
                  </a:cubicBezTo>
                  <a:cubicBezTo>
                    <a:pt x="146404" y="609"/>
                    <a:pt x="157833" y="139"/>
                    <a:pt x="169263" y="4089"/>
                  </a:cubicBezTo>
                  <a:cubicBezTo>
                    <a:pt x="204950" y="4089"/>
                    <a:pt x="240649" y="4089"/>
                    <a:pt x="276336" y="4089"/>
                  </a:cubicBezTo>
                  <a:cubicBezTo>
                    <a:pt x="278838" y="1752"/>
                    <a:pt x="282000" y="1765"/>
                    <a:pt x="285073" y="1765"/>
                  </a:cubicBezTo>
                  <a:cubicBezTo>
                    <a:pt x="298738" y="1765"/>
                    <a:pt x="312403" y="1473"/>
                    <a:pt x="326069" y="1904"/>
                  </a:cubicBezTo>
                  <a:cubicBezTo>
                    <a:pt x="334565" y="1676"/>
                    <a:pt x="343061" y="1650"/>
                    <a:pt x="351557" y="1904"/>
                  </a:cubicBezTo>
                  <a:cubicBezTo>
                    <a:pt x="364587" y="2222"/>
                    <a:pt x="377732" y="0"/>
                    <a:pt x="390558" y="3975"/>
                  </a:cubicBezTo>
                  <a:close/>
                </a:path>
              </a:pathLst>
            </a:custGeom>
            <a:solidFill>
              <a:srgbClr val="D8632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3" name="Free Form 1374">
              <a:extLst>
                <a:ext uri="{FF2B5EF4-FFF2-40B4-BE49-F238E27FC236}">
                  <a16:creationId xmlns:a16="http://schemas.microsoft.com/office/drawing/2014/main" id="{40199B68-B934-AF78-9257-8BA11EA34E1A}"/>
                </a:ext>
              </a:extLst>
            </p:cNvPr>
            <p:cNvSpPr/>
            <p:nvPr/>
          </p:nvSpPr>
          <p:spPr>
            <a:xfrm>
              <a:off x="4564703" y="4945780"/>
              <a:ext cx="120288" cy="146736"/>
            </a:xfrm>
            <a:custGeom>
              <a:avLst/>
              <a:gdLst/>
              <a:ahLst/>
              <a:cxnLst/>
              <a:rect l="0" t="0" r="0" b="0"/>
              <a:pathLst>
                <a:path w="95401" h="106755">
                  <a:moveTo>
                    <a:pt x="51624" y="88111"/>
                  </a:moveTo>
                  <a:lnTo>
                    <a:pt x="51624" y="106755"/>
                  </a:lnTo>
                  <a:cubicBezTo>
                    <a:pt x="35724" y="99198"/>
                    <a:pt x="20853" y="92137"/>
                    <a:pt x="5968" y="85063"/>
                  </a:cubicBezTo>
                  <a:cubicBezTo>
                    <a:pt x="4914" y="71424"/>
                    <a:pt x="5689" y="57682"/>
                    <a:pt x="3949" y="44055"/>
                  </a:cubicBezTo>
                  <a:cubicBezTo>
                    <a:pt x="3555" y="40969"/>
                    <a:pt x="4292" y="37743"/>
                    <a:pt x="5905" y="35051"/>
                  </a:cubicBezTo>
                  <a:cubicBezTo>
                    <a:pt x="9435" y="29184"/>
                    <a:pt x="8420" y="24358"/>
                    <a:pt x="3352" y="19964"/>
                  </a:cubicBezTo>
                  <a:cubicBezTo>
                    <a:pt x="1600" y="18452"/>
                    <a:pt x="279" y="16459"/>
                    <a:pt x="0" y="13995"/>
                  </a:cubicBezTo>
                  <a:cubicBezTo>
                    <a:pt x="1422" y="6984"/>
                    <a:pt x="6540" y="3187"/>
                    <a:pt x="12318" y="0"/>
                  </a:cubicBezTo>
                  <a:cubicBezTo>
                    <a:pt x="31914" y="38"/>
                    <a:pt x="51497" y="25"/>
                    <a:pt x="71081" y="126"/>
                  </a:cubicBezTo>
                  <a:cubicBezTo>
                    <a:pt x="86435" y="190"/>
                    <a:pt x="95350" y="9093"/>
                    <a:pt x="95375" y="24485"/>
                  </a:cubicBezTo>
                  <a:cubicBezTo>
                    <a:pt x="95401" y="45643"/>
                    <a:pt x="95261" y="66801"/>
                    <a:pt x="95198" y="87959"/>
                  </a:cubicBezTo>
                  <a:cubicBezTo>
                    <a:pt x="81647" y="87870"/>
                    <a:pt x="68109" y="87794"/>
                    <a:pt x="54571" y="87717"/>
                  </a:cubicBezTo>
                  <a:cubicBezTo>
                    <a:pt x="55955" y="73443"/>
                    <a:pt x="55358" y="59117"/>
                    <a:pt x="55460" y="44817"/>
                  </a:cubicBezTo>
                  <a:cubicBezTo>
                    <a:pt x="55473" y="42735"/>
                    <a:pt x="55600" y="40626"/>
                    <a:pt x="55320" y="38569"/>
                  </a:cubicBezTo>
                  <a:cubicBezTo>
                    <a:pt x="54965" y="35800"/>
                    <a:pt x="55104" y="32079"/>
                    <a:pt x="51205" y="32194"/>
                  </a:cubicBezTo>
                  <a:cubicBezTo>
                    <a:pt x="47891" y="32283"/>
                    <a:pt x="47675" y="35673"/>
                    <a:pt x="47624" y="38239"/>
                  </a:cubicBezTo>
                  <a:cubicBezTo>
                    <a:pt x="47332" y="51523"/>
                    <a:pt x="47459" y="64832"/>
                    <a:pt x="47535" y="78129"/>
                  </a:cubicBezTo>
                  <a:cubicBezTo>
                    <a:pt x="47560" y="82091"/>
                    <a:pt x="50291" y="84771"/>
                    <a:pt x="51624" y="88111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4" name="Free Form 1375">
              <a:extLst>
                <a:ext uri="{FF2B5EF4-FFF2-40B4-BE49-F238E27FC236}">
                  <a16:creationId xmlns:a16="http://schemas.microsoft.com/office/drawing/2014/main" id="{F0BAE588-E569-8B53-E9F1-8E114092D7ED}"/>
                </a:ext>
              </a:extLst>
            </p:cNvPr>
            <p:cNvSpPr/>
            <p:nvPr/>
          </p:nvSpPr>
          <p:spPr>
            <a:xfrm>
              <a:off x="4287460" y="4824544"/>
              <a:ext cx="176174" cy="147715"/>
            </a:xfrm>
            <a:custGeom>
              <a:avLst/>
              <a:gdLst/>
              <a:ahLst/>
              <a:cxnLst/>
              <a:rect l="0" t="0" r="0" b="0"/>
              <a:pathLst>
                <a:path w="139723" h="107466">
                  <a:moveTo>
                    <a:pt x="133107" y="107466"/>
                  </a:moveTo>
                  <a:cubicBezTo>
                    <a:pt x="127595" y="93369"/>
                    <a:pt x="117359" y="87336"/>
                    <a:pt x="102233" y="88175"/>
                  </a:cubicBezTo>
                  <a:cubicBezTo>
                    <a:pt x="89584" y="88886"/>
                    <a:pt x="76872" y="88479"/>
                    <a:pt x="64185" y="88568"/>
                  </a:cubicBezTo>
                  <a:cubicBezTo>
                    <a:pt x="53618" y="92480"/>
                    <a:pt x="49592" y="90143"/>
                    <a:pt x="49631" y="79513"/>
                  </a:cubicBezTo>
                  <a:cubicBezTo>
                    <a:pt x="49669" y="70763"/>
                    <a:pt x="48348" y="61962"/>
                    <a:pt x="53009" y="53479"/>
                  </a:cubicBezTo>
                  <a:cubicBezTo>
                    <a:pt x="56069" y="47903"/>
                    <a:pt x="51815" y="42836"/>
                    <a:pt x="45262" y="44132"/>
                  </a:cubicBezTo>
                  <a:cubicBezTo>
                    <a:pt x="38861" y="45389"/>
                    <a:pt x="35775" y="43243"/>
                    <a:pt x="34518" y="37388"/>
                  </a:cubicBezTo>
                  <a:cubicBezTo>
                    <a:pt x="33616" y="33197"/>
                    <a:pt x="31597" y="32651"/>
                    <a:pt x="27749" y="34276"/>
                  </a:cubicBezTo>
                  <a:cubicBezTo>
                    <a:pt x="16547" y="39001"/>
                    <a:pt x="13614" y="55422"/>
                    <a:pt x="22377" y="65544"/>
                  </a:cubicBezTo>
                  <a:cubicBezTo>
                    <a:pt x="24244" y="67702"/>
                    <a:pt x="26872" y="69188"/>
                    <a:pt x="27977" y="72020"/>
                  </a:cubicBezTo>
                  <a:cubicBezTo>
                    <a:pt x="29069" y="77697"/>
                    <a:pt x="29717" y="83323"/>
                    <a:pt x="26860" y="88733"/>
                  </a:cubicBezTo>
                  <a:cubicBezTo>
                    <a:pt x="22542" y="91172"/>
                    <a:pt x="18262" y="91337"/>
                    <a:pt x="14020" y="88568"/>
                  </a:cubicBezTo>
                  <a:cubicBezTo>
                    <a:pt x="10363" y="88403"/>
                    <a:pt x="6705" y="88251"/>
                    <a:pt x="3047" y="88086"/>
                  </a:cubicBezTo>
                  <a:cubicBezTo>
                    <a:pt x="0" y="70725"/>
                    <a:pt x="977" y="53187"/>
                    <a:pt x="1879" y="35800"/>
                  </a:cubicBezTo>
                  <a:cubicBezTo>
                    <a:pt x="2781" y="18465"/>
                    <a:pt x="17589" y="4444"/>
                    <a:pt x="34886" y="2222"/>
                  </a:cubicBezTo>
                  <a:cubicBezTo>
                    <a:pt x="52171" y="0"/>
                    <a:pt x="71297" y="9880"/>
                    <a:pt x="75856" y="26822"/>
                  </a:cubicBezTo>
                  <a:cubicBezTo>
                    <a:pt x="81596" y="48145"/>
                    <a:pt x="95350" y="58889"/>
                    <a:pt x="115022" y="65061"/>
                  </a:cubicBezTo>
                  <a:cubicBezTo>
                    <a:pt x="129195" y="69519"/>
                    <a:pt x="137615" y="79450"/>
                    <a:pt x="139685" y="94410"/>
                  </a:cubicBezTo>
                  <a:cubicBezTo>
                    <a:pt x="139723" y="99884"/>
                    <a:pt x="136625" y="103783"/>
                    <a:pt x="133107" y="107466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5" name="Free Form 1376">
              <a:extLst>
                <a:ext uri="{FF2B5EF4-FFF2-40B4-BE49-F238E27FC236}">
                  <a16:creationId xmlns:a16="http://schemas.microsoft.com/office/drawing/2014/main" id="{BF245511-FA91-2C10-AE06-FCB61EE78FEF}"/>
                </a:ext>
              </a:extLst>
            </p:cNvPr>
            <p:cNvSpPr/>
            <p:nvPr/>
          </p:nvSpPr>
          <p:spPr>
            <a:xfrm>
              <a:off x="4455291" y="4945551"/>
              <a:ext cx="109657" cy="122402"/>
            </a:xfrm>
            <a:custGeom>
              <a:avLst/>
              <a:gdLst/>
              <a:ahLst/>
              <a:cxnLst/>
              <a:rect l="0" t="0" r="0" b="0"/>
              <a:pathLst>
                <a:path w="86968" h="89051">
                  <a:moveTo>
                    <a:pt x="0" y="19430"/>
                  </a:moveTo>
                  <a:cubicBezTo>
                    <a:pt x="1193" y="14579"/>
                    <a:pt x="3505" y="10286"/>
                    <a:pt x="6578" y="6375"/>
                  </a:cubicBezTo>
                  <a:cubicBezTo>
                    <a:pt x="12509" y="1689"/>
                    <a:pt x="19164" y="0"/>
                    <a:pt x="26784" y="152"/>
                  </a:cubicBezTo>
                  <a:cubicBezTo>
                    <a:pt x="43065" y="495"/>
                    <a:pt x="59371" y="177"/>
                    <a:pt x="75665" y="126"/>
                  </a:cubicBezTo>
                  <a:cubicBezTo>
                    <a:pt x="82422" y="2311"/>
                    <a:pt x="85825" y="7213"/>
                    <a:pt x="86968" y="13982"/>
                  </a:cubicBezTo>
                  <a:cubicBezTo>
                    <a:pt x="82358" y="22567"/>
                    <a:pt x="80313" y="33464"/>
                    <a:pt x="80593" y="43573"/>
                  </a:cubicBezTo>
                  <a:cubicBezTo>
                    <a:pt x="80898" y="54952"/>
                    <a:pt x="80644" y="66344"/>
                    <a:pt x="76897" y="77316"/>
                  </a:cubicBezTo>
                  <a:cubicBezTo>
                    <a:pt x="72147" y="75233"/>
                    <a:pt x="67474" y="72973"/>
                    <a:pt x="62635" y="71119"/>
                  </a:cubicBezTo>
                  <a:cubicBezTo>
                    <a:pt x="59219" y="69823"/>
                    <a:pt x="59194" y="66788"/>
                    <a:pt x="58495" y="64172"/>
                  </a:cubicBezTo>
                  <a:cubicBezTo>
                    <a:pt x="57212" y="59422"/>
                    <a:pt x="56438" y="54533"/>
                    <a:pt x="55155" y="49783"/>
                  </a:cubicBezTo>
                  <a:cubicBezTo>
                    <a:pt x="53898" y="45160"/>
                    <a:pt x="50354" y="42671"/>
                    <a:pt x="45846" y="43116"/>
                  </a:cubicBezTo>
                  <a:cubicBezTo>
                    <a:pt x="41465" y="43560"/>
                    <a:pt x="37794" y="46265"/>
                    <a:pt x="37870" y="51231"/>
                  </a:cubicBezTo>
                  <a:cubicBezTo>
                    <a:pt x="37997" y="59448"/>
                    <a:pt x="34022" y="57733"/>
                    <a:pt x="29158" y="55460"/>
                  </a:cubicBezTo>
                  <a:cubicBezTo>
                    <a:pt x="19418" y="50939"/>
                    <a:pt x="18618" y="51307"/>
                    <a:pt x="13741" y="61010"/>
                  </a:cubicBezTo>
                  <a:cubicBezTo>
                    <a:pt x="10578" y="67271"/>
                    <a:pt x="7454" y="73557"/>
                    <a:pt x="4317" y="79844"/>
                  </a:cubicBezTo>
                  <a:cubicBezTo>
                    <a:pt x="3047" y="82384"/>
                    <a:pt x="1320" y="84847"/>
                    <a:pt x="3047" y="87857"/>
                  </a:cubicBezTo>
                  <a:cubicBezTo>
                    <a:pt x="2692" y="89051"/>
                    <a:pt x="1816" y="88987"/>
                    <a:pt x="876" y="88759"/>
                  </a:cubicBezTo>
                  <a:cubicBezTo>
                    <a:pt x="647" y="88556"/>
                    <a:pt x="431" y="88340"/>
                    <a:pt x="203" y="88124"/>
                  </a:cubicBezTo>
                  <a:cubicBezTo>
                    <a:pt x="126" y="65226"/>
                    <a:pt x="63" y="42328"/>
                    <a:pt x="0" y="19430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6" name="Free Form 1377">
              <a:extLst>
                <a:ext uri="{FF2B5EF4-FFF2-40B4-BE49-F238E27FC236}">
                  <a16:creationId xmlns:a16="http://schemas.microsoft.com/office/drawing/2014/main" id="{F4BE07E8-B01A-7E03-52A4-9E2BAA719B2A}"/>
                </a:ext>
              </a:extLst>
            </p:cNvPr>
            <p:cNvSpPr/>
            <p:nvPr/>
          </p:nvSpPr>
          <p:spPr>
            <a:xfrm>
              <a:off x="4677166" y="5109767"/>
              <a:ext cx="47270" cy="379322"/>
            </a:xfrm>
            <a:custGeom>
              <a:avLst/>
              <a:gdLst/>
              <a:ahLst/>
              <a:cxnLst/>
              <a:rect l="0" t="0" r="0" b="0"/>
              <a:pathLst>
                <a:path w="37490" h="275968">
                  <a:moveTo>
                    <a:pt x="0" y="12420"/>
                  </a:moveTo>
                  <a:cubicBezTo>
                    <a:pt x="1816" y="8369"/>
                    <a:pt x="4571" y="4673"/>
                    <a:pt x="4775" y="0"/>
                  </a:cubicBezTo>
                  <a:cubicBezTo>
                    <a:pt x="13398" y="25"/>
                    <a:pt x="22021" y="38"/>
                    <a:pt x="30644" y="101"/>
                  </a:cubicBezTo>
                  <a:cubicBezTo>
                    <a:pt x="34645" y="126"/>
                    <a:pt x="37261" y="2146"/>
                    <a:pt x="37375" y="6159"/>
                  </a:cubicBezTo>
                  <a:cubicBezTo>
                    <a:pt x="37490" y="10185"/>
                    <a:pt x="34975" y="12877"/>
                    <a:pt x="31025" y="12471"/>
                  </a:cubicBezTo>
                  <a:cubicBezTo>
                    <a:pt x="24307" y="11760"/>
                    <a:pt x="25006" y="15887"/>
                    <a:pt x="25006" y="20192"/>
                  </a:cubicBezTo>
                  <a:cubicBezTo>
                    <a:pt x="25044" y="101217"/>
                    <a:pt x="25056" y="182255"/>
                    <a:pt x="24993" y="263280"/>
                  </a:cubicBezTo>
                  <a:cubicBezTo>
                    <a:pt x="24980" y="268449"/>
                    <a:pt x="26872" y="275968"/>
                    <a:pt x="18656" y="275866"/>
                  </a:cubicBezTo>
                  <a:cubicBezTo>
                    <a:pt x="10464" y="275752"/>
                    <a:pt x="12547" y="268208"/>
                    <a:pt x="12534" y="263090"/>
                  </a:cubicBezTo>
                  <a:cubicBezTo>
                    <a:pt x="12458" y="183881"/>
                    <a:pt x="12483" y="104684"/>
                    <a:pt x="12483" y="25488"/>
                  </a:cubicBezTo>
                  <a:cubicBezTo>
                    <a:pt x="12483" y="12941"/>
                    <a:pt x="12483" y="12941"/>
                    <a:pt x="0" y="12420"/>
                  </a:cubicBezTo>
                  <a:close/>
                </a:path>
              </a:pathLst>
            </a:custGeom>
            <a:solidFill>
              <a:srgbClr val="D8632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7" name="Free Form 1378">
              <a:extLst>
                <a:ext uri="{FF2B5EF4-FFF2-40B4-BE49-F238E27FC236}">
                  <a16:creationId xmlns:a16="http://schemas.microsoft.com/office/drawing/2014/main" id="{F03C8553-7C2C-846C-613C-BC074C6E3C02}"/>
                </a:ext>
              </a:extLst>
            </p:cNvPr>
            <p:cNvSpPr/>
            <p:nvPr/>
          </p:nvSpPr>
          <p:spPr>
            <a:xfrm>
              <a:off x="3822195" y="4994420"/>
              <a:ext cx="99840" cy="104929"/>
            </a:xfrm>
            <a:custGeom>
              <a:avLst/>
              <a:gdLst/>
              <a:ahLst/>
              <a:cxnLst/>
              <a:rect l="0" t="0" r="0" b="0"/>
              <a:pathLst>
                <a:path w="79183" h="76338">
                  <a:moveTo>
                    <a:pt x="39356" y="825"/>
                  </a:moveTo>
                  <a:cubicBezTo>
                    <a:pt x="40080" y="1574"/>
                    <a:pt x="40906" y="2235"/>
                    <a:pt x="41503" y="3060"/>
                  </a:cubicBezTo>
                  <a:cubicBezTo>
                    <a:pt x="48830" y="13360"/>
                    <a:pt x="57289" y="18021"/>
                    <a:pt x="68744" y="8762"/>
                  </a:cubicBezTo>
                  <a:cubicBezTo>
                    <a:pt x="70204" y="7569"/>
                    <a:pt x="72020" y="7416"/>
                    <a:pt x="73684" y="8712"/>
                  </a:cubicBezTo>
                  <a:cubicBezTo>
                    <a:pt x="79183" y="13195"/>
                    <a:pt x="77024" y="17881"/>
                    <a:pt x="74078" y="22593"/>
                  </a:cubicBezTo>
                  <a:cubicBezTo>
                    <a:pt x="72617" y="24663"/>
                    <a:pt x="70369" y="25971"/>
                    <a:pt x="68706" y="27990"/>
                  </a:cubicBezTo>
                  <a:cubicBezTo>
                    <a:pt x="69798" y="30390"/>
                    <a:pt x="72274" y="31482"/>
                    <a:pt x="73798" y="33438"/>
                  </a:cubicBezTo>
                  <a:cubicBezTo>
                    <a:pt x="75818" y="35864"/>
                    <a:pt x="77812" y="38290"/>
                    <a:pt x="75741" y="41668"/>
                  </a:cubicBezTo>
                  <a:cubicBezTo>
                    <a:pt x="66826" y="52971"/>
                    <a:pt x="55803" y="62242"/>
                    <a:pt x="45821" y="72516"/>
                  </a:cubicBezTo>
                  <a:cubicBezTo>
                    <a:pt x="42125" y="76338"/>
                    <a:pt x="38455" y="75106"/>
                    <a:pt x="34988" y="71627"/>
                  </a:cubicBezTo>
                  <a:cubicBezTo>
                    <a:pt x="25590" y="62203"/>
                    <a:pt x="16103" y="52869"/>
                    <a:pt x="6616" y="43535"/>
                  </a:cubicBezTo>
                  <a:cubicBezTo>
                    <a:pt x="5321" y="42265"/>
                    <a:pt x="4089" y="39598"/>
                    <a:pt x="2095" y="42900"/>
                  </a:cubicBezTo>
                  <a:cubicBezTo>
                    <a:pt x="1396" y="40525"/>
                    <a:pt x="698" y="38163"/>
                    <a:pt x="0" y="35800"/>
                  </a:cubicBezTo>
                  <a:cubicBezTo>
                    <a:pt x="12001" y="24625"/>
                    <a:pt x="23990" y="13461"/>
                    <a:pt x="35991" y="2298"/>
                  </a:cubicBezTo>
                  <a:cubicBezTo>
                    <a:pt x="36740" y="939"/>
                    <a:pt x="37655" y="0"/>
                    <a:pt x="39356" y="825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8" name="Free Form 1379">
              <a:extLst>
                <a:ext uri="{FF2B5EF4-FFF2-40B4-BE49-F238E27FC236}">
                  <a16:creationId xmlns:a16="http://schemas.microsoft.com/office/drawing/2014/main" id="{FAB7B9A0-5304-1D7D-9B03-BE925B278E88}"/>
                </a:ext>
              </a:extLst>
            </p:cNvPr>
            <p:cNvSpPr/>
            <p:nvPr/>
          </p:nvSpPr>
          <p:spPr>
            <a:xfrm>
              <a:off x="4102905" y="4670138"/>
              <a:ext cx="93292" cy="86303"/>
            </a:xfrm>
            <a:custGeom>
              <a:avLst/>
              <a:gdLst/>
              <a:ahLst/>
              <a:cxnLst/>
              <a:rect l="0" t="0" r="0" b="0"/>
              <a:pathLst>
                <a:path w="73989" h="62788">
                  <a:moveTo>
                    <a:pt x="62661" y="62788"/>
                  </a:moveTo>
                  <a:cubicBezTo>
                    <a:pt x="47078" y="58559"/>
                    <a:pt x="31495" y="54330"/>
                    <a:pt x="15912" y="50100"/>
                  </a:cubicBezTo>
                  <a:cubicBezTo>
                    <a:pt x="12623" y="45402"/>
                    <a:pt x="14338" y="41338"/>
                    <a:pt x="17538" y="37477"/>
                  </a:cubicBezTo>
                  <a:cubicBezTo>
                    <a:pt x="16497" y="30924"/>
                    <a:pt x="9969" y="29412"/>
                    <a:pt x="6197" y="25374"/>
                  </a:cubicBezTo>
                  <a:cubicBezTo>
                    <a:pt x="3149" y="22135"/>
                    <a:pt x="0" y="19532"/>
                    <a:pt x="3809" y="14973"/>
                  </a:cubicBezTo>
                  <a:cubicBezTo>
                    <a:pt x="7238" y="10883"/>
                    <a:pt x="11848" y="10337"/>
                    <a:pt x="15633" y="13258"/>
                  </a:cubicBezTo>
                  <a:cubicBezTo>
                    <a:pt x="22021" y="18186"/>
                    <a:pt x="23418" y="16052"/>
                    <a:pt x="24383" y="9194"/>
                  </a:cubicBezTo>
                  <a:cubicBezTo>
                    <a:pt x="25183" y="3416"/>
                    <a:pt x="28523" y="0"/>
                    <a:pt x="35496" y="2158"/>
                  </a:cubicBezTo>
                  <a:cubicBezTo>
                    <a:pt x="44906" y="5079"/>
                    <a:pt x="54533" y="7340"/>
                    <a:pt x="64108" y="9715"/>
                  </a:cubicBezTo>
                  <a:cubicBezTo>
                    <a:pt x="70852" y="11391"/>
                    <a:pt x="73989" y="14769"/>
                    <a:pt x="71601" y="22110"/>
                  </a:cubicBezTo>
                  <a:cubicBezTo>
                    <a:pt x="70001" y="27012"/>
                    <a:pt x="69226" y="32194"/>
                    <a:pt x="68083" y="37248"/>
                  </a:cubicBezTo>
                  <a:cubicBezTo>
                    <a:pt x="66280" y="45770"/>
                    <a:pt x="64464" y="54279"/>
                    <a:pt x="62661" y="62788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09" name="Free Form 1380">
              <a:extLst>
                <a:ext uri="{FF2B5EF4-FFF2-40B4-BE49-F238E27FC236}">
                  <a16:creationId xmlns:a16="http://schemas.microsoft.com/office/drawing/2014/main" id="{D4F11BED-2EA8-153E-DAE3-7C0BF5B4CFC3}"/>
                </a:ext>
              </a:extLst>
            </p:cNvPr>
            <p:cNvSpPr/>
            <p:nvPr/>
          </p:nvSpPr>
          <p:spPr>
            <a:xfrm>
              <a:off x="4511187" y="5269031"/>
              <a:ext cx="150056" cy="180863"/>
            </a:xfrm>
            <a:custGeom>
              <a:avLst/>
              <a:gdLst/>
              <a:ahLst/>
              <a:cxnLst/>
              <a:rect l="0" t="0" r="0" b="0"/>
              <a:pathLst>
                <a:path w="119010" h="131583">
                  <a:moveTo>
                    <a:pt x="0" y="110196"/>
                  </a:moveTo>
                  <a:cubicBezTo>
                    <a:pt x="0" y="106005"/>
                    <a:pt x="0" y="101814"/>
                    <a:pt x="0" y="97611"/>
                  </a:cubicBezTo>
                  <a:cubicBezTo>
                    <a:pt x="1993" y="95579"/>
                    <a:pt x="4610" y="95490"/>
                    <a:pt x="7213" y="95210"/>
                  </a:cubicBezTo>
                  <a:cubicBezTo>
                    <a:pt x="15747" y="94296"/>
                    <a:pt x="16039" y="94093"/>
                    <a:pt x="16078" y="85114"/>
                  </a:cubicBezTo>
                  <a:cubicBezTo>
                    <a:pt x="16179" y="61721"/>
                    <a:pt x="16065" y="38315"/>
                    <a:pt x="16154" y="14922"/>
                  </a:cubicBezTo>
                  <a:cubicBezTo>
                    <a:pt x="16166" y="10832"/>
                    <a:pt x="15544" y="6527"/>
                    <a:pt x="18414" y="2920"/>
                  </a:cubicBezTo>
                  <a:cubicBezTo>
                    <a:pt x="23024" y="622"/>
                    <a:pt x="27507" y="0"/>
                    <a:pt x="31686" y="3848"/>
                  </a:cubicBezTo>
                  <a:cubicBezTo>
                    <a:pt x="31521" y="32613"/>
                    <a:pt x="31571" y="61378"/>
                    <a:pt x="31025" y="90130"/>
                  </a:cubicBezTo>
                  <a:cubicBezTo>
                    <a:pt x="30911" y="96544"/>
                    <a:pt x="32918" y="97915"/>
                    <a:pt x="38874" y="97763"/>
                  </a:cubicBezTo>
                  <a:cubicBezTo>
                    <a:pt x="54291" y="97369"/>
                    <a:pt x="69734" y="97585"/>
                    <a:pt x="85165" y="97636"/>
                  </a:cubicBezTo>
                  <a:cubicBezTo>
                    <a:pt x="105688" y="97712"/>
                    <a:pt x="118337" y="110057"/>
                    <a:pt x="119010" y="130592"/>
                  </a:cubicBezTo>
                  <a:cubicBezTo>
                    <a:pt x="114832" y="131583"/>
                    <a:pt x="110641" y="131583"/>
                    <a:pt x="106462" y="130580"/>
                  </a:cubicBezTo>
                  <a:cubicBezTo>
                    <a:pt x="105472" y="116800"/>
                    <a:pt x="98728" y="110247"/>
                    <a:pt x="85101" y="110209"/>
                  </a:cubicBezTo>
                  <a:cubicBezTo>
                    <a:pt x="56730" y="110133"/>
                    <a:pt x="28371" y="110196"/>
                    <a:pt x="0" y="110196"/>
                  </a:cubicBezTo>
                  <a:close/>
                </a:path>
              </a:pathLst>
            </a:custGeom>
            <a:solidFill>
              <a:srgbClr val="58584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0" name="Free Form 1381">
              <a:extLst>
                <a:ext uri="{FF2B5EF4-FFF2-40B4-BE49-F238E27FC236}">
                  <a16:creationId xmlns:a16="http://schemas.microsoft.com/office/drawing/2014/main" id="{DC777A5F-19BC-E591-616F-F972B8AAB2C1}"/>
                </a:ext>
              </a:extLst>
            </p:cNvPr>
            <p:cNvSpPr/>
            <p:nvPr/>
          </p:nvSpPr>
          <p:spPr>
            <a:xfrm>
              <a:off x="4506975" y="5234581"/>
              <a:ext cx="147814" cy="44163"/>
            </a:xfrm>
            <a:custGeom>
              <a:avLst/>
              <a:gdLst/>
              <a:ahLst/>
              <a:cxnLst/>
              <a:rect l="0" t="0" r="0" b="0"/>
              <a:pathLst>
                <a:path w="117232" h="32130">
                  <a:moveTo>
                    <a:pt x="35026" y="28904"/>
                  </a:moveTo>
                  <a:cubicBezTo>
                    <a:pt x="30657" y="28777"/>
                    <a:pt x="26301" y="28650"/>
                    <a:pt x="21932" y="28536"/>
                  </a:cubicBezTo>
                  <a:cubicBezTo>
                    <a:pt x="15735" y="31978"/>
                    <a:pt x="9537" y="32130"/>
                    <a:pt x="3340" y="28536"/>
                  </a:cubicBezTo>
                  <a:cubicBezTo>
                    <a:pt x="3149" y="20535"/>
                    <a:pt x="0" y="10426"/>
                    <a:pt x="4381" y="5130"/>
                  </a:cubicBezTo>
                  <a:cubicBezTo>
                    <a:pt x="8635" y="0"/>
                    <a:pt x="19011" y="3632"/>
                    <a:pt x="26682" y="3505"/>
                  </a:cubicBezTo>
                  <a:cubicBezTo>
                    <a:pt x="46151" y="3174"/>
                    <a:pt x="65620" y="3238"/>
                    <a:pt x="85089" y="3149"/>
                  </a:cubicBezTo>
                  <a:cubicBezTo>
                    <a:pt x="90308" y="3263"/>
                    <a:pt x="95566" y="3047"/>
                    <a:pt x="100760" y="3517"/>
                  </a:cubicBezTo>
                  <a:cubicBezTo>
                    <a:pt x="114476" y="4762"/>
                    <a:pt x="117232" y="15697"/>
                    <a:pt x="115962" y="26301"/>
                  </a:cubicBezTo>
                  <a:cubicBezTo>
                    <a:pt x="115517" y="30022"/>
                    <a:pt x="112279" y="28447"/>
                    <a:pt x="110311" y="28460"/>
                  </a:cubicBezTo>
                  <a:cubicBezTo>
                    <a:pt x="88086" y="28574"/>
                    <a:pt x="65861" y="28523"/>
                    <a:pt x="43624" y="28549"/>
                  </a:cubicBezTo>
                  <a:cubicBezTo>
                    <a:pt x="40766" y="28549"/>
                    <a:pt x="37896" y="28777"/>
                    <a:pt x="35026" y="28904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1" name="Free Form 1382">
              <a:extLst>
                <a:ext uri="{FF2B5EF4-FFF2-40B4-BE49-F238E27FC236}">
                  <a16:creationId xmlns:a16="http://schemas.microsoft.com/office/drawing/2014/main" id="{466A7610-6C5A-E50F-1983-B447DD89DDF5}"/>
                </a:ext>
              </a:extLst>
            </p:cNvPr>
            <p:cNvSpPr/>
            <p:nvPr/>
          </p:nvSpPr>
          <p:spPr>
            <a:xfrm>
              <a:off x="4273724" y="5269612"/>
              <a:ext cx="78560" cy="150890"/>
            </a:xfrm>
            <a:custGeom>
              <a:avLst/>
              <a:gdLst/>
              <a:ahLst/>
              <a:cxnLst/>
              <a:rect l="0" t="0" r="0" b="0"/>
              <a:pathLst>
                <a:path w="62305" h="109777">
                  <a:moveTo>
                    <a:pt x="62305" y="97192"/>
                  </a:moveTo>
                  <a:cubicBezTo>
                    <a:pt x="62305" y="101383"/>
                    <a:pt x="62305" y="105586"/>
                    <a:pt x="62305" y="109777"/>
                  </a:cubicBezTo>
                  <a:cubicBezTo>
                    <a:pt x="41541" y="109777"/>
                    <a:pt x="20776" y="109777"/>
                    <a:pt x="12" y="109777"/>
                  </a:cubicBezTo>
                  <a:cubicBezTo>
                    <a:pt x="12" y="105586"/>
                    <a:pt x="0" y="101383"/>
                    <a:pt x="0" y="97192"/>
                  </a:cubicBezTo>
                  <a:cubicBezTo>
                    <a:pt x="3771" y="93890"/>
                    <a:pt x="8381" y="94817"/>
                    <a:pt x="12725" y="94766"/>
                  </a:cubicBezTo>
                  <a:cubicBezTo>
                    <a:pt x="29425" y="94563"/>
                    <a:pt x="28676" y="96188"/>
                    <a:pt x="28688" y="78396"/>
                  </a:cubicBezTo>
                  <a:cubicBezTo>
                    <a:pt x="28701" y="56996"/>
                    <a:pt x="28650" y="35597"/>
                    <a:pt x="28714" y="14211"/>
                  </a:cubicBezTo>
                  <a:cubicBezTo>
                    <a:pt x="28727" y="10337"/>
                    <a:pt x="28295" y="6324"/>
                    <a:pt x="30708" y="2832"/>
                  </a:cubicBezTo>
                  <a:cubicBezTo>
                    <a:pt x="35064" y="0"/>
                    <a:pt x="39483" y="101"/>
                    <a:pt x="43954" y="2552"/>
                  </a:cubicBezTo>
                  <a:cubicBezTo>
                    <a:pt x="46760" y="6159"/>
                    <a:pt x="46138" y="10451"/>
                    <a:pt x="46164" y="14554"/>
                  </a:cubicBezTo>
                  <a:cubicBezTo>
                    <a:pt x="46240" y="37413"/>
                    <a:pt x="46189" y="60286"/>
                    <a:pt x="46202" y="83146"/>
                  </a:cubicBezTo>
                  <a:cubicBezTo>
                    <a:pt x="46202" y="92645"/>
                    <a:pt x="46456" y="95464"/>
                    <a:pt x="56654" y="94969"/>
                  </a:cubicBezTo>
                  <a:cubicBezTo>
                    <a:pt x="58736" y="94880"/>
                    <a:pt x="60768" y="95579"/>
                    <a:pt x="62305" y="97192"/>
                  </a:cubicBezTo>
                  <a:close/>
                </a:path>
              </a:pathLst>
            </a:custGeom>
            <a:solidFill>
              <a:srgbClr val="58584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2" name="Free Form 1383">
              <a:extLst>
                <a:ext uri="{FF2B5EF4-FFF2-40B4-BE49-F238E27FC236}">
                  <a16:creationId xmlns:a16="http://schemas.microsoft.com/office/drawing/2014/main" id="{B9F7981E-65E2-B2EC-D771-956884E00F54}"/>
                </a:ext>
              </a:extLst>
            </p:cNvPr>
            <p:cNvSpPr/>
            <p:nvPr/>
          </p:nvSpPr>
          <p:spPr>
            <a:xfrm>
              <a:off x="4536510" y="4858391"/>
              <a:ext cx="57215" cy="105802"/>
            </a:xfrm>
            <a:custGeom>
              <a:avLst/>
              <a:gdLst/>
              <a:ahLst/>
              <a:cxnLst/>
              <a:rect l="0" t="0" r="0" b="0"/>
              <a:pathLst>
                <a:path w="45376" h="76973">
                  <a:moveTo>
                    <a:pt x="22135" y="76173"/>
                  </a:moveTo>
                  <a:cubicBezTo>
                    <a:pt x="18503" y="71957"/>
                    <a:pt x="14871" y="67753"/>
                    <a:pt x="11252" y="63537"/>
                  </a:cubicBezTo>
                  <a:cubicBezTo>
                    <a:pt x="11175" y="59651"/>
                    <a:pt x="10985" y="55765"/>
                    <a:pt x="11061" y="51878"/>
                  </a:cubicBezTo>
                  <a:cubicBezTo>
                    <a:pt x="11125" y="49084"/>
                    <a:pt x="10629" y="46938"/>
                    <a:pt x="7746" y="45605"/>
                  </a:cubicBezTo>
                  <a:cubicBezTo>
                    <a:pt x="1765" y="42849"/>
                    <a:pt x="126" y="37528"/>
                    <a:pt x="63" y="31482"/>
                  </a:cubicBezTo>
                  <a:cubicBezTo>
                    <a:pt x="0" y="24485"/>
                    <a:pt x="38" y="17487"/>
                    <a:pt x="25" y="10477"/>
                  </a:cubicBezTo>
                  <a:cubicBezTo>
                    <a:pt x="1765" y="7226"/>
                    <a:pt x="5181" y="6311"/>
                    <a:pt x="8127" y="4813"/>
                  </a:cubicBezTo>
                  <a:cubicBezTo>
                    <a:pt x="17640" y="0"/>
                    <a:pt x="18046" y="88"/>
                    <a:pt x="22351" y="9410"/>
                  </a:cubicBezTo>
                  <a:cubicBezTo>
                    <a:pt x="24078" y="13169"/>
                    <a:pt x="26377" y="15100"/>
                    <a:pt x="30682" y="14808"/>
                  </a:cubicBezTo>
                  <a:cubicBezTo>
                    <a:pt x="33959" y="14579"/>
                    <a:pt x="37286" y="14960"/>
                    <a:pt x="39471" y="18656"/>
                  </a:cubicBezTo>
                  <a:cubicBezTo>
                    <a:pt x="39331" y="12737"/>
                    <a:pt x="36893" y="7353"/>
                    <a:pt x="41325" y="2755"/>
                  </a:cubicBezTo>
                  <a:cubicBezTo>
                    <a:pt x="42227" y="13703"/>
                    <a:pt x="45376" y="25056"/>
                    <a:pt x="35851" y="34188"/>
                  </a:cubicBezTo>
                  <a:cubicBezTo>
                    <a:pt x="34061" y="35889"/>
                    <a:pt x="34657" y="38086"/>
                    <a:pt x="34645" y="40093"/>
                  </a:cubicBezTo>
                  <a:cubicBezTo>
                    <a:pt x="34581" y="47916"/>
                    <a:pt x="34657" y="55752"/>
                    <a:pt x="34683" y="63575"/>
                  </a:cubicBezTo>
                  <a:cubicBezTo>
                    <a:pt x="30936" y="67753"/>
                    <a:pt x="27190" y="71932"/>
                    <a:pt x="23456" y="76097"/>
                  </a:cubicBezTo>
                  <a:cubicBezTo>
                    <a:pt x="23062" y="76973"/>
                    <a:pt x="22618" y="76948"/>
                    <a:pt x="22135" y="76173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3" name="Free Form 1384">
              <a:extLst>
                <a:ext uri="{FF2B5EF4-FFF2-40B4-BE49-F238E27FC236}">
                  <a16:creationId xmlns:a16="http://schemas.microsoft.com/office/drawing/2014/main" id="{EF26E76A-4D30-A6C8-FDF1-7F1FC0DEFA21}"/>
                </a:ext>
              </a:extLst>
            </p:cNvPr>
            <p:cNvSpPr/>
            <p:nvPr/>
          </p:nvSpPr>
          <p:spPr>
            <a:xfrm>
              <a:off x="3905068" y="4672718"/>
              <a:ext cx="55660" cy="97283"/>
            </a:xfrm>
            <a:custGeom>
              <a:avLst/>
              <a:gdLst/>
              <a:ahLst/>
              <a:cxnLst/>
              <a:rect l="0" t="0" r="0" b="0"/>
              <a:pathLst>
                <a:path w="44144" h="70776">
                  <a:moveTo>
                    <a:pt x="21157" y="70776"/>
                  </a:moveTo>
                  <a:cubicBezTo>
                    <a:pt x="17271" y="67398"/>
                    <a:pt x="13385" y="64032"/>
                    <a:pt x="9499" y="60654"/>
                  </a:cubicBezTo>
                  <a:cubicBezTo>
                    <a:pt x="9042" y="52285"/>
                    <a:pt x="11048" y="43789"/>
                    <a:pt x="8229" y="35534"/>
                  </a:cubicBezTo>
                  <a:cubicBezTo>
                    <a:pt x="5524" y="31305"/>
                    <a:pt x="0" y="28092"/>
                    <a:pt x="3187" y="21716"/>
                  </a:cubicBezTo>
                  <a:cubicBezTo>
                    <a:pt x="3314" y="15392"/>
                    <a:pt x="7937" y="14757"/>
                    <a:pt x="12445" y="15023"/>
                  </a:cubicBezTo>
                  <a:cubicBezTo>
                    <a:pt x="17919" y="15354"/>
                    <a:pt x="20459" y="13118"/>
                    <a:pt x="21932" y="8000"/>
                  </a:cubicBezTo>
                  <a:cubicBezTo>
                    <a:pt x="23964" y="990"/>
                    <a:pt x="26530" y="0"/>
                    <a:pt x="32740" y="3670"/>
                  </a:cubicBezTo>
                  <a:cubicBezTo>
                    <a:pt x="36512" y="5905"/>
                    <a:pt x="41033" y="6997"/>
                    <a:pt x="43941" y="10617"/>
                  </a:cubicBezTo>
                  <a:cubicBezTo>
                    <a:pt x="44017" y="18922"/>
                    <a:pt x="44081" y="27228"/>
                    <a:pt x="44144" y="35534"/>
                  </a:cubicBezTo>
                  <a:cubicBezTo>
                    <a:pt x="43725" y="43598"/>
                    <a:pt x="37655" y="48551"/>
                    <a:pt x="33641" y="54634"/>
                  </a:cubicBezTo>
                  <a:cubicBezTo>
                    <a:pt x="31533" y="52856"/>
                    <a:pt x="30289" y="49846"/>
                    <a:pt x="25399" y="49935"/>
                  </a:cubicBezTo>
                  <a:cubicBezTo>
                    <a:pt x="29158" y="51751"/>
                    <a:pt x="32117" y="52691"/>
                    <a:pt x="33972" y="55130"/>
                  </a:cubicBezTo>
                  <a:cubicBezTo>
                    <a:pt x="35064" y="57111"/>
                    <a:pt x="34696" y="58927"/>
                    <a:pt x="33362" y="60629"/>
                  </a:cubicBezTo>
                  <a:cubicBezTo>
                    <a:pt x="29476" y="63994"/>
                    <a:pt x="25602" y="67360"/>
                    <a:pt x="21716" y="70725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4" name="Free Form 1385">
              <a:extLst>
                <a:ext uri="{FF2B5EF4-FFF2-40B4-BE49-F238E27FC236}">
                  <a16:creationId xmlns:a16="http://schemas.microsoft.com/office/drawing/2014/main" id="{076E3112-1A7A-857A-F544-85B8BBA04B53}"/>
                </a:ext>
              </a:extLst>
            </p:cNvPr>
            <p:cNvSpPr/>
            <p:nvPr/>
          </p:nvSpPr>
          <p:spPr>
            <a:xfrm>
              <a:off x="4516947" y="4835695"/>
              <a:ext cx="71674" cy="52315"/>
            </a:xfrm>
            <a:custGeom>
              <a:avLst/>
              <a:gdLst/>
              <a:ahLst/>
              <a:cxnLst/>
              <a:rect l="0" t="0" r="0" b="0"/>
              <a:pathLst>
                <a:path w="56844" h="38061">
                  <a:moveTo>
                    <a:pt x="56844" y="19265"/>
                  </a:moveTo>
                  <a:lnTo>
                    <a:pt x="56844" y="38061"/>
                  </a:lnTo>
                  <a:cubicBezTo>
                    <a:pt x="52031" y="32892"/>
                    <a:pt x="47687" y="31609"/>
                    <a:pt x="42887" y="33667"/>
                  </a:cubicBezTo>
                  <a:cubicBezTo>
                    <a:pt x="39483" y="35127"/>
                    <a:pt x="38785" y="32435"/>
                    <a:pt x="37667" y="30606"/>
                  </a:cubicBezTo>
                  <a:cubicBezTo>
                    <a:pt x="35597" y="27241"/>
                    <a:pt x="34530" y="23469"/>
                    <a:pt x="34238" y="18960"/>
                  </a:cubicBezTo>
                  <a:cubicBezTo>
                    <a:pt x="27292" y="20776"/>
                    <a:pt x="22199" y="25831"/>
                    <a:pt x="15544" y="26999"/>
                  </a:cubicBezTo>
                  <a:cubicBezTo>
                    <a:pt x="11061" y="26339"/>
                    <a:pt x="6934" y="25018"/>
                    <a:pt x="3949" y="21284"/>
                  </a:cubicBezTo>
                  <a:cubicBezTo>
                    <a:pt x="736" y="17271"/>
                    <a:pt x="0" y="12699"/>
                    <a:pt x="1676" y="8039"/>
                  </a:cubicBezTo>
                  <a:cubicBezTo>
                    <a:pt x="3403" y="3200"/>
                    <a:pt x="7378" y="520"/>
                    <a:pt x="12471" y="393"/>
                  </a:cubicBezTo>
                  <a:cubicBezTo>
                    <a:pt x="21056" y="190"/>
                    <a:pt x="29679" y="0"/>
                    <a:pt x="38239" y="584"/>
                  </a:cubicBezTo>
                  <a:cubicBezTo>
                    <a:pt x="48818" y="1308"/>
                    <a:pt x="54825" y="7746"/>
                    <a:pt x="56844" y="19265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5" name="Free Form 1386">
              <a:extLst>
                <a:ext uri="{FF2B5EF4-FFF2-40B4-BE49-F238E27FC236}">
                  <a16:creationId xmlns:a16="http://schemas.microsoft.com/office/drawing/2014/main" id="{967994ED-0A02-5DED-CC3F-121CE6921845}"/>
                </a:ext>
              </a:extLst>
            </p:cNvPr>
            <p:cNvSpPr/>
            <p:nvPr/>
          </p:nvSpPr>
          <p:spPr>
            <a:xfrm>
              <a:off x="4016471" y="5334261"/>
              <a:ext cx="58799" cy="90336"/>
            </a:xfrm>
            <a:custGeom>
              <a:avLst/>
              <a:gdLst/>
              <a:ahLst/>
              <a:cxnLst/>
              <a:rect l="0" t="0" r="0" b="0"/>
              <a:pathLst>
                <a:path w="46633" h="65721">
                  <a:moveTo>
                    <a:pt x="46633" y="0"/>
                  </a:moveTo>
                  <a:lnTo>
                    <a:pt x="46633" y="65721"/>
                  </a:lnTo>
                  <a:cubicBezTo>
                    <a:pt x="31597" y="58838"/>
                    <a:pt x="16547" y="51942"/>
                    <a:pt x="0" y="44360"/>
                  </a:cubicBezTo>
                  <a:cubicBezTo>
                    <a:pt x="9740" y="40512"/>
                    <a:pt x="17830" y="37032"/>
                    <a:pt x="26123" y="34162"/>
                  </a:cubicBezTo>
                  <a:cubicBezTo>
                    <a:pt x="30974" y="32498"/>
                    <a:pt x="33883" y="29781"/>
                    <a:pt x="35750" y="24955"/>
                  </a:cubicBezTo>
                  <a:cubicBezTo>
                    <a:pt x="39026" y="16497"/>
                    <a:pt x="42963" y="8305"/>
                    <a:pt x="46633" y="0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6" name="Free Form 1387">
              <a:extLst>
                <a:ext uri="{FF2B5EF4-FFF2-40B4-BE49-F238E27FC236}">
                  <a16:creationId xmlns:a16="http://schemas.microsoft.com/office/drawing/2014/main" id="{5EACE171-BD5D-D865-F1AE-E16A7C25B554}"/>
                </a:ext>
              </a:extLst>
            </p:cNvPr>
            <p:cNvSpPr/>
            <p:nvPr/>
          </p:nvSpPr>
          <p:spPr>
            <a:xfrm>
              <a:off x="4635784" y="5445504"/>
              <a:ext cx="35372" cy="35244"/>
            </a:xfrm>
            <a:custGeom>
              <a:avLst/>
              <a:gdLst/>
              <a:ahLst/>
              <a:cxnLst/>
              <a:rect l="0" t="0" r="0" b="0"/>
              <a:pathLst>
                <a:path w="28054" h="25641">
                  <a:moveTo>
                    <a:pt x="7645" y="2197"/>
                  </a:moveTo>
                  <a:cubicBezTo>
                    <a:pt x="11823" y="0"/>
                    <a:pt x="16014" y="0"/>
                    <a:pt x="20192" y="2197"/>
                  </a:cubicBezTo>
                  <a:cubicBezTo>
                    <a:pt x="25526" y="6197"/>
                    <a:pt x="28054" y="11213"/>
                    <a:pt x="25412" y="17805"/>
                  </a:cubicBezTo>
                  <a:cubicBezTo>
                    <a:pt x="23367" y="22923"/>
                    <a:pt x="19367" y="25641"/>
                    <a:pt x="13906" y="25628"/>
                  </a:cubicBezTo>
                  <a:cubicBezTo>
                    <a:pt x="8077" y="25615"/>
                    <a:pt x="3962" y="22567"/>
                    <a:pt x="2108" y="17081"/>
                  </a:cubicBezTo>
                  <a:cubicBezTo>
                    <a:pt x="0" y="10782"/>
                    <a:pt x="2501" y="5930"/>
                    <a:pt x="7645" y="2197"/>
                  </a:cubicBezTo>
                  <a:close/>
                </a:path>
              </a:pathLst>
            </a:custGeom>
            <a:solidFill>
              <a:srgbClr val="3B3A3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7" name="Free Form 1388">
              <a:extLst>
                <a:ext uri="{FF2B5EF4-FFF2-40B4-BE49-F238E27FC236}">
                  <a16:creationId xmlns:a16="http://schemas.microsoft.com/office/drawing/2014/main" id="{B08115AC-2E6F-9324-C90E-6B64E8732CF0}"/>
                </a:ext>
              </a:extLst>
            </p:cNvPr>
            <p:cNvSpPr/>
            <p:nvPr/>
          </p:nvSpPr>
          <p:spPr>
            <a:xfrm>
              <a:off x="4015199" y="4859132"/>
              <a:ext cx="4644" cy="7105"/>
            </a:xfrm>
            <a:custGeom>
              <a:avLst/>
              <a:gdLst/>
              <a:ahLst/>
              <a:cxnLst/>
              <a:rect l="0" t="0" r="0" b="0"/>
              <a:pathLst>
                <a:path w="3682" h="5168">
                  <a:moveTo>
                    <a:pt x="1028" y="5168"/>
                  </a:moveTo>
                  <a:cubicBezTo>
                    <a:pt x="761" y="3505"/>
                    <a:pt x="0" y="1168"/>
                    <a:pt x="1536" y="507"/>
                  </a:cubicBezTo>
                  <a:cubicBezTo>
                    <a:pt x="2755" y="0"/>
                    <a:pt x="3428" y="2260"/>
                    <a:pt x="3682" y="3733"/>
                  </a:cubicBezTo>
                  <a:cubicBezTo>
                    <a:pt x="2793" y="4203"/>
                    <a:pt x="1917" y="4686"/>
                    <a:pt x="1028" y="5168"/>
                  </a:cubicBezTo>
                  <a:close/>
                </a:path>
              </a:pathLst>
            </a:custGeom>
            <a:solidFill>
              <a:srgbClr val="93CCB6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8" name="Free Form 1389">
              <a:extLst>
                <a:ext uri="{FF2B5EF4-FFF2-40B4-BE49-F238E27FC236}">
                  <a16:creationId xmlns:a16="http://schemas.microsoft.com/office/drawing/2014/main" id="{497EC450-6051-365F-308C-09A4F3FFF503}"/>
                </a:ext>
              </a:extLst>
            </p:cNvPr>
            <p:cNvSpPr/>
            <p:nvPr/>
          </p:nvSpPr>
          <p:spPr>
            <a:xfrm>
              <a:off x="3838287" y="4606951"/>
              <a:ext cx="775120" cy="21873"/>
            </a:xfrm>
            <a:custGeom>
              <a:avLst/>
              <a:gdLst/>
              <a:ahLst/>
              <a:cxnLst/>
              <a:rect l="0" t="0" r="0" b="0"/>
              <a:pathLst>
                <a:path w="614749" h="15912">
                  <a:moveTo>
                    <a:pt x="307641" y="14350"/>
                  </a:moveTo>
                  <a:cubicBezTo>
                    <a:pt x="209611" y="14350"/>
                    <a:pt x="111581" y="14350"/>
                    <a:pt x="13550" y="14350"/>
                  </a:cubicBezTo>
                  <a:cubicBezTo>
                    <a:pt x="11201" y="14350"/>
                    <a:pt x="8839" y="14465"/>
                    <a:pt x="6502" y="14287"/>
                  </a:cubicBezTo>
                  <a:cubicBezTo>
                    <a:pt x="2590" y="13995"/>
                    <a:pt x="0" y="11912"/>
                    <a:pt x="101" y="7848"/>
                  </a:cubicBezTo>
                  <a:cubicBezTo>
                    <a:pt x="177" y="4216"/>
                    <a:pt x="2616" y="2235"/>
                    <a:pt x="6159" y="1879"/>
                  </a:cubicBezTo>
                  <a:cubicBezTo>
                    <a:pt x="8229" y="1676"/>
                    <a:pt x="10337" y="1803"/>
                    <a:pt x="12433" y="1803"/>
                  </a:cubicBezTo>
                  <a:cubicBezTo>
                    <a:pt x="209014" y="1790"/>
                    <a:pt x="405595" y="1790"/>
                    <a:pt x="602176" y="1841"/>
                  </a:cubicBezTo>
                  <a:cubicBezTo>
                    <a:pt x="607345" y="1841"/>
                    <a:pt x="614749" y="0"/>
                    <a:pt x="614648" y="8293"/>
                  </a:cubicBezTo>
                  <a:cubicBezTo>
                    <a:pt x="614546" y="15912"/>
                    <a:pt x="607510" y="14312"/>
                    <a:pt x="602519" y="14312"/>
                  </a:cubicBezTo>
                  <a:cubicBezTo>
                    <a:pt x="504222" y="14363"/>
                    <a:pt x="405938" y="14350"/>
                    <a:pt x="307641" y="14350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19" name="Free Form 1390">
              <a:extLst>
                <a:ext uri="{FF2B5EF4-FFF2-40B4-BE49-F238E27FC236}">
                  <a16:creationId xmlns:a16="http://schemas.microsoft.com/office/drawing/2014/main" id="{6A1FB4A9-707A-C484-6E9F-5D718647D17D}"/>
                </a:ext>
              </a:extLst>
            </p:cNvPr>
            <p:cNvSpPr/>
            <p:nvPr/>
          </p:nvSpPr>
          <p:spPr>
            <a:xfrm>
              <a:off x="4028314" y="4503648"/>
              <a:ext cx="585415" cy="21855"/>
            </a:xfrm>
            <a:custGeom>
              <a:avLst/>
              <a:gdLst/>
              <a:ahLst/>
              <a:cxnLst/>
              <a:rect l="0" t="0" r="0" b="0"/>
              <a:pathLst>
                <a:path w="464294" h="15900">
                  <a:moveTo>
                    <a:pt x="232013" y="1625"/>
                  </a:moveTo>
                  <a:cubicBezTo>
                    <a:pt x="305203" y="1625"/>
                    <a:pt x="378379" y="1625"/>
                    <a:pt x="451569" y="1625"/>
                  </a:cubicBezTo>
                  <a:cubicBezTo>
                    <a:pt x="453651" y="1625"/>
                    <a:pt x="455760" y="1498"/>
                    <a:pt x="457830" y="1689"/>
                  </a:cubicBezTo>
                  <a:cubicBezTo>
                    <a:pt x="461728" y="2057"/>
                    <a:pt x="464294" y="4165"/>
                    <a:pt x="464129" y="8229"/>
                  </a:cubicBezTo>
                  <a:cubicBezTo>
                    <a:pt x="463976" y="11848"/>
                    <a:pt x="461513" y="13792"/>
                    <a:pt x="457957" y="14109"/>
                  </a:cubicBezTo>
                  <a:cubicBezTo>
                    <a:pt x="455887" y="14287"/>
                    <a:pt x="453778" y="14173"/>
                    <a:pt x="451696" y="14173"/>
                  </a:cubicBezTo>
                  <a:cubicBezTo>
                    <a:pt x="305330" y="14185"/>
                    <a:pt x="158964" y="14185"/>
                    <a:pt x="12585" y="14134"/>
                  </a:cubicBezTo>
                  <a:cubicBezTo>
                    <a:pt x="7404" y="14134"/>
                    <a:pt x="0" y="15900"/>
                    <a:pt x="228" y="7581"/>
                  </a:cubicBezTo>
                  <a:cubicBezTo>
                    <a:pt x="431" y="0"/>
                    <a:pt x="7480" y="1663"/>
                    <a:pt x="12458" y="1663"/>
                  </a:cubicBezTo>
                  <a:cubicBezTo>
                    <a:pt x="85647" y="1612"/>
                    <a:pt x="158824" y="1625"/>
                    <a:pt x="232013" y="1625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0" name="Free Form 1391">
              <a:extLst>
                <a:ext uri="{FF2B5EF4-FFF2-40B4-BE49-F238E27FC236}">
                  <a16:creationId xmlns:a16="http://schemas.microsoft.com/office/drawing/2014/main" id="{E2A30CA0-72E9-5C7A-7E23-380DBF38941F}"/>
                </a:ext>
              </a:extLst>
            </p:cNvPr>
            <p:cNvSpPr/>
            <p:nvPr/>
          </p:nvSpPr>
          <p:spPr>
            <a:xfrm>
              <a:off x="4233922" y="4660946"/>
              <a:ext cx="379794" cy="17735"/>
            </a:xfrm>
            <a:custGeom>
              <a:avLst/>
              <a:gdLst/>
              <a:ahLst/>
              <a:cxnLst/>
              <a:rect l="0" t="0" r="0" b="0"/>
              <a:pathLst>
                <a:path w="301215" h="12903">
                  <a:moveTo>
                    <a:pt x="151496" y="177"/>
                  </a:moveTo>
                  <a:cubicBezTo>
                    <a:pt x="197216" y="177"/>
                    <a:pt x="242948" y="177"/>
                    <a:pt x="288667" y="177"/>
                  </a:cubicBezTo>
                  <a:cubicBezTo>
                    <a:pt x="291017" y="177"/>
                    <a:pt x="293417" y="0"/>
                    <a:pt x="295703" y="368"/>
                  </a:cubicBezTo>
                  <a:cubicBezTo>
                    <a:pt x="298840" y="876"/>
                    <a:pt x="300974" y="2895"/>
                    <a:pt x="301088" y="6172"/>
                  </a:cubicBezTo>
                  <a:cubicBezTo>
                    <a:pt x="301215" y="9855"/>
                    <a:pt x="298992" y="12001"/>
                    <a:pt x="295500" y="12572"/>
                  </a:cubicBezTo>
                  <a:cubicBezTo>
                    <a:pt x="293468" y="12903"/>
                    <a:pt x="291334" y="12725"/>
                    <a:pt x="289239" y="12725"/>
                  </a:cubicBezTo>
                  <a:cubicBezTo>
                    <a:pt x="196746" y="12737"/>
                    <a:pt x="104253" y="12737"/>
                    <a:pt x="11760" y="12725"/>
                  </a:cubicBezTo>
                  <a:cubicBezTo>
                    <a:pt x="9677" y="12725"/>
                    <a:pt x="7543" y="12903"/>
                    <a:pt x="5511" y="12547"/>
                  </a:cubicBezTo>
                  <a:cubicBezTo>
                    <a:pt x="2374" y="12001"/>
                    <a:pt x="253" y="10020"/>
                    <a:pt x="126" y="6743"/>
                  </a:cubicBezTo>
                  <a:cubicBezTo>
                    <a:pt x="0" y="3060"/>
                    <a:pt x="2222" y="914"/>
                    <a:pt x="5714" y="342"/>
                  </a:cubicBezTo>
                  <a:cubicBezTo>
                    <a:pt x="7746" y="0"/>
                    <a:pt x="9880" y="177"/>
                    <a:pt x="11975" y="177"/>
                  </a:cubicBezTo>
                  <a:cubicBezTo>
                    <a:pt x="58482" y="177"/>
                    <a:pt x="104989" y="177"/>
                    <a:pt x="151496" y="177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1" name="Free Form 1392">
              <a:extLst>
                <a:ext uri="{FF2B5EF4-FFF2-40B4-BE49-F238E27FC236}">
                  <a16:creationId xmlns:a16="http://schemas.microsoft.com/office/drawing/2014/main" id="{C6038ADD-9844-B8D1-F9B5-FE6681CCD308}"/>
                </a:ext>
              </a:extLst>
            </p:cNvPr>
            <p:cNvSpPr/>
            <p:nvPr/>
          </p:nvSpPr>
          <p:spPr>
            <a:xfrm>
              <a:off x="4265516" y="4557390"/>
              <a:ext cx="348297" cy="17840"/>
            </a:xfrm>
            <a:custGeom>
              <a:avLst/>
              <a:gdLst/>
              <a:ahLst/>
              <a:cxnLst/>
              <a:rect l="0" t="0" r="0" b="0"/>
              <a:pathLst>
                <a:path w="276234" h="12979">
                  <a:moveTo>
                    <a:pt x="138923" y="190"/>
                  </a:moveTo>
                  <a:cubicBezTo>
                    <a:pt x="180731" y="190"/>
                    <a:pt x="222527" y="190"/>
                    <a:pt x="264334" y="203"/>
                  </a:cubicBezTo>
                  <a:cubicBezTo>
                    <a:pt x="266671" y="203"/>
                    <a:pt x="269097" y="0"/>
                    <a:pt x="271345" y="546"/>
                  </a:cubicBezTo>
                  <a:cubicBezTo>
                    <a:pt x="274024" y="1181"/>
                    <a:pt x="275904" y="3149"/>
                    <a:pt x="276056" y="6108"/>
                  </a:cubicBezTo>
                  <a:cubicBezTo>
                    <a:pt x="276234" y="9474"/>
                    <a:pt x="274266" y="11645"/>
                    <a:pt x="271269" y="12420"/>
                  </a:cubicBezTo>
                  <a:cubicBezTo>
                    <a:pt x="269046" y="12979"/>
                    <a:pt x="266608" y="12737"/>
                    <a:pt x="264258" y="12737"/>
                  </a:cubicBezTo>
                  <a:cubicBezTo>
                    <a:pt x="180134" y="12750"/>
                    <a:pt x="96010" y="12750"/>
                    <a:pt x="11887" y="12737"/>
                  </a:cubicBezTo>
                  <a:cubicBezTo>
                    <a:pt x="9791" y="12737"/>
                    <a:pt x="7670" y="12903"/>
                    <a:pt x="5626" y="12572"/>
                  </a:cubicBezTo>
                  <a:cubicBezTo>
                    <a:pt x="2489" y="12052"/>
                    <a:pt x="342" y="10096"/>
                    <a:pt x="177" y="6819"/>
                  </a:cubicBezTo>
                  <a:cubicBezTo>
                    <a:pt x="0" y="3136"/>
                    <a:pt x="2222" y="977"/>
                    <a:pt x="5689" y="368"/>
                  </a:cubicBezTo>
                  <a:cubicBezTo>
                    <a:pt x="7721" y="12"/>
                    <a:pt x="9867" y="190"/>
                    <a:pt x="11950" y="190"/>
                  </a:cubicBezTo>
                  <a:cubicBezTo>
                    <a:pt x="54279" y="190"/>
                    <a:pt x="96595" y="190"/>
                    <a:pt x="138923" y="190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2" name="Free Form 1393">
              <a:extLst>
                <a:ext uri="{FF2B5EF4-FFF2-40B4-BE49-F238E27FC236}">
                  <a16:creationId xmlns:a16="http://schemas.microsoft.com/office/drawing/2014/main" id="{0FDCC352-C602-21A6-8F4E-74D433DA0EF3}"/>
                </a:ext>
              </a:extLst>
            </p:cNvPr>
            <p:cNvSpPr/>
            <p:nvPr/>
          </p:nvSpPr>
          <p:spPr>
            <a:xfrm>
              <a:off x="3838286" y="4557433"/>
              <a:ext cx="253035" cy="17701"/>
            </a:xfrm>
            <a:custGeom>
              <a:avLst/>
              <a:gdLst/>
              <a:ahLst/>
              <a:cxnLst/>
              <a:rect l="0" t="0" r="0" b="0"/>
              <a:pathLst>
                <a:path w="200683" h="12877">
                  <a:moveTo>
                    <a:pt x="100176" y="12712"/>
                  </a:moveTo>
                  <a:cubicBezTo>
                    <a:pt x="70928" y="12712"/>
                    <a:pt x="41680" y="12712"/>
                    <a:pt x="12420" y="12712"/>
                  </a:cubicBezTo>
                  <a:cubicBezTo>
                    <a:pt x="10337" y="12712"/>
                    <a:pt x="8229" y="12826"/>
                    <a:pt x="6159" y="12623"/>
                  </a:cubicBezTo>
                  <a:cubicBezTo>
                    <a:pt x="2616" y="12268"/>
                    <a:pt x="190" y="10299"/>
                    <a:pt x="101" y="6667"/>
                  </a:cubicBezTo>
                  <a:cubicBezTo>
                    <a:pt x="0" y="2616"/>
                    <a:pt x="2578" y="571"/>
                    <a:pt x="6476" y="203"/>
                  </a:cubicBezTo>
                  <a:cubicBezTo>
                    <a:pt x="8026" y="63"/>
                    <a:pt x="9601" y="165"/>
                    <a:pt x="11175" y="165"/>
                  </a:cubicBezTo>
                  <a:cubicBezTo>
                    <a:pt x="70712" y="152"/>
                    <a:pt x="130262" y="152"/>
                    <a:pt x="189812" y="165"/>
                  </a:cubicBezTo>
                  <a:cubicBezTo>
                    <a:pt x="191640" y="165"/>
                    <a:pt x="193507" y="0"/>
                    <a:pt x="195273" y="342"/>
                  </a:cubicBezTo>
                  <a:cubicBezTo>
                    <a:pt x="198384" y="952"/>
                    <a:pt x="200518" y="2920"/>
                    <a:pt x="200594" y="6197"/>
                  </a:cubicBezTo>
                  <a:cubicBezTo>
                    <a:pt x="200683" y="9880"/>
                    <a:pt x="198460" y="12001"/>
                    <a:pt x="194968" y="12560"/>
                  </a:cubicBezTo>
                  <a:cubicBezTo>
                    <a:pt x="192923" y="12877"/>
                    <a:pt x="190802" y="12712"/>
                    <a:pt x="188707" y="12712"/>
                  </a:cubicBezTo>
                  <a:cubicBezTo>
                    <a:pt x="159192" y="12712"/>
                    <a:pt x="129691" y="12712"/>
                    <a:pt x="100176" y="12712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3" name="Free Form 1394">
              <a:extLst>
                <a:ext uri="{FF2B5EF4-FFF2-40B4-BE49-F238E27FC236}">
                  <a16:creationId xmlns:a16="http://schemas.microsoft.com/office/drawing/2014/main" id="{91D7F2D2-979B-FABA-06B3-ACA8F6E60A98}"/>
                </a:ext>
              </a:extLst>
            </p:cNvPr>
            <p:cNvSpPr/>
            <p:nvPr/>
          </p:nvSpPr>
          <p:spPr>
            <a:xfrm>
              <a:off x="3838233" y="4505812"/>
              <a:ext cx="158159" cy="17370"/>
            </a:xfrm>
            <a:custGeom>
              <a:avLst/>
              <a:gdLst/>
              <a:ahLst/>
              <a:cxnLst/>
              <a:rect l="0" t="0" r="0" b="0"/>
              <a:pathLst>
                <a:path w="125436" h="12636">
                  <a:moveTo>
                    <a:pt x="62661" y="50"/>
                  </a:moveTo>
                  <a:cubicBezTo>
                    <a:pt x="80402" y="50"/>
                    <a:pt x="98144" y="88"/>
                    <a:pt x="115898" y="25"/>
                  </a:cubicBezTo>
                  <a:cubicBezTo>
                    <a:pt x="120724" y="0"/>
                    <a:pt x="125436" y="622"/>
                    <a:pt x="125220" y="6654"/>
                  </a:cubicBezTo>
                  <a:cubicBezTo>
                    <a:pt x="125017" y="12115"/>
                    <a:pt x="120521" y="12636"/>
                    <a:pt x="116000" y="12636"/>
                  </a:cubicBezTo>
                  <a:cubicBezTo>
                    <a:pt x="80517" y="12585"/>
                    <a:pt x="45021" y="12585"/>
                    <a:pt x="9537" y="12636"/>
                  </a:cubicBezTo>
                  <a:cubicBezTo>
                    <a:pt x="4698" y="12636"/>
                    <a:pt x="0" y="12026"/>
                    <a:pt x="215" y="5994"/>
                  </a:cubicBezTo>
                  <a:cubicBezTo>
                    <a:pt x="406" y="533"/>
                    <a:pt x="4914" y="0"/>
                    <a:pt x="9423" y="25"/>
                  </a:cubicBezTo>
                  <a:cubicBezTo>
                    <a:pt x="27177" y="88"/>
                    <a:pt x="44919" y="50"/>
                    <a:pt x="62661" y="50"/>
                  </a:cubicBezTo>
                  <a:close/>
                </a:path>
              </a:pathLst>
            </a:custGeom>
            <a:solidFill>
              <a:srgbClr val="4B5C98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4" name="Free Form 1395">
              <a:extLst>
                <a:ext uri="{FF2B5EF4-FFF2-40B4-BE49-F238E27FC236}">
                  <a16:creationId xmlns:a16="http://schemas.microsoft.com/office/drawing/2014/main" id="{DCF1EBCA-FEEB-C0A6-BCAC-999300A6AA15}"/>
                </a:ext>
              </a:extLst>
            </p:cNvPr>
            <p:cNvSpPr/>
            <p:nvPr/>
          </p:nvSpPr>
          <p:spPr>
            <a:xfrm>
              <a:off x="3906659" y="4650210"/>
              <a:ext cx="76046" cy="52351"/>
            </a:xfrm>
            <a:custGeom>
              <a:avLst/>
              <a:gdLst/>
              <a:ahLst/>
              <a:cxnLst/>
              <a:rect l="0" t="0" r="0" b="0"/>
              <a:pathLst>
                <a:path w="60311" h="38086">
                  <a:moveTo>
                    <a:pt x="42684" y="26987"/>
                  </a:moveTo>
                  <a:cubicBezTo>
                    <a:pt x="37109" y="26085"/>
                    <a:pt x="32549" y="22885"/>
                    <a:pt x="27800" y="20192"/>
                  </a:cubicBezTo>
                  <a:cubicBezTo>
                    <a:pt x="24917" y="18567"/>
                    <a:pt x="23443" y="19062"/>
                    <a:pt x="23075" y="22351"/>
                  </a:cubicBezTo>
                  <a:cubicBezTo>
                    <a:pt x="22758" y="25260"/>
                    <a:pt x="21945" y="27977"/>
                    <a:pt x="20484" y="30517"/>
                  </a:cubicBezTo>
                  <a:cubicBezTo>
                    <a:pt x="18960" y="33172"/>
                    <a:pt x="17563" y="34835"/>
                    <a:pt x="13766" y="33362"/>
                  </a:cubicBezTo>
                  <a:cubicBezTo>
                    <a:pt x="8877" y="31457"/>
                    <a:pt x="4533" y="33121"/>
                    <a:pt x="1930" y="38086"/>
                  </a:cubicBezTo>
                  <a:cubicBezTo>
                    <a:pt x="0" y="30682"/>
                    <a:pt x="279" y="23139"/>
                    <a:pt x="1612" y="15773"/>
                  </a:cubicBezTo>
                  <a:cubicBezTo>
                    <a:pt x="3289" y="6515"/>
                    <a:pt x="9969" y="863"/>
                    <a:pt x="19710" y="457"/>
                  </a:cubicBezTo>
                  <a:cubicBezTo>
                    <a:pt x="30619" y="0"/>
                    <a:pt x="41566" y="266"/>
                    <a:pt x="52488" y="266"/>
                  </a:cubicBezTo>
                  <a:cubicBezTo>
                    <a:pt x="54533" y="266"/>
                    <a:pt x="56412" y="63"/>
                    <a:pt x="57187" y="3009"/>
                  </a:cubicBezTo>
                  <a:cubicBezTo>
                    <a:pt x="60311" y="14846"/>
                    <a:pt x="55041" y="23774"/>
                    <a:pt x="42684" y="26987"/>
                  </a:cubicBezTo>
                  <a:close/>
                </a:path>
              </a:pathLst>
            </a:custGeom>
            <a:solidFill>
              <a:srgbClr val="1A387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5" name="Free Form 1396">
              <a:extLst>
                <a:ext uri="{FF2B5EF4-FFF2-40B4-BE49-F238E27FC236}">
                  <a16:creationId xmlns:a16="http://schemas.microsoft.com/office/drawing/2014/main" id="{EF1E4B9D-30C0-F16C-B489-43DD15730046}"/>
                </a:ext>
              </a:extLst>
            </p:cNvPr>
            <p:cNvSpPr/>
            <p:nvPr/>
          </p:nvSpPr>
          <p:spPr>
            <a:xfrm>
              <a:off x="3996476" y="4661106"/>
              <a:ext cx="94923" cy="17404"/>
            </a:xfrm>
            <a:custGeom>
              <a:avLst/>
              <a:gdLst/>
              <a:ahLst/>
              <a:cxnLst/>
              <a:rect l="0" t="0" r="0" b="0"/>
              <a:pathLst>
                <a:path w="75284" h="12661">
                  <a:moveTo>
                    <a:pt x="37616" y="63"/>
                  </a:moveTo>
                  <a:cubicBezTo>
                    <a:pt x="47256" y="63"/>
                    <a:pt x="56895" y="114"/>
                    <a:pt x="66547" y="38"/>
                  </a:cubicBezTo>
                  <a:cubicBezTo>
                    <a:pt x="71258" y="0"/>
                    <a:pt x="75284" y="1244"/>
                    <a:pt x="75056" y="6705"/>
                  </a:cubicBezTo>
                  <a:cubicBezTo>
                    <a:pt x="74853" y="11620"/>
                    <a:pt x="70954" y="12661"/>
                    <a:pt x="66598" y="12636"/>
                  </a:cubicBezTo>
                  <a:cubicBezTo>
                    <a:pt x="47306" y="12572"/>
                    <a:pt x="28028" y="12585"/>
                    <a:pt x="8737" y="12636"/>
                  </a:cubicBezTo>
                  <a:cubicBezTo>
                    <a:pt x="4025" y="12649"/>
                    <a:pt x="0" y="11429"/>
                    <a:pt x="228" y="5981"/>
                  </a:cubicBezTo>
                  <a:cubicBezTo>
                    <a:pt x="431" y="1054"/>
                    <a:pt x="4330" y="0"/>
                    <a:pt x="8686" y="38"/>
                  </a:cubicBezTo>
                  <a:cubicBezTo>
                    <a:pt x="18338" y="126"/>
                    <a:pt x="27977" y="63"/>
                    <a:pt x="37616" y="63"/>
                  </a:cubicBezTo>
                  <a:close/>
                </a:path>
              </a:pathLst>
            </a:custGeom>
            <a:solidFill>
              <a:srgbClr val="4B5D9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6" name="Free Form 1397">
              <a:extLst>
                <a:ext uri="{FF2B5EF4-FFF2-40B4-BE49-F238E27FC236}">
                  <a16:creationId xmlns:a16="http://schemas.microsoft.com/office/drawing/2014/main" id="{EE86FC0F-11A1-3266-E4CF-EE3BF951B814}"/>
                </a:ext>
              </a:extLst>
            </p:cNvPr>
            <p:cNvSpPr/>
            <p:nvPr/>
          </p:nvSpPr>
          <p:spPr>
            <a:xfrm>
              <a:off x="4138981" y="4557606"/>
              <a:ext cx="94812" cy="17386"/>
            </a:xfrm>
            <a:custGeom>
              <a:avLst/>
              <a:gdLst/>
              <a:ahLst/>
              <a:cxnLst/>
              <a:rect l="0" t="0" r="0" b="0"/>
              <a:pathLst>
                <a:path w="75195" h="12649">
                  <a:moveTo>
                    <a:pt x="37528" y="12585"/>
                  </a:moveTo>
                  <a:cubicBezTo>
                    <a:pt x="27888" y="12585"/>
                    <a:pt x="18249" y="12522"/>
                    <a:pt x="8597" y="12610"/>
                  </a:cubicBezTo>
                  <a:cubicBezTo>
                    <a:pt x="4229" y="12649"/>
                    <a:pt x="355" y="11544"/>
                    <a:pt x="190" y="6616"/>
                  </a:cubicBezTo>
                  <a:cubicBezTo>
                    <a:pt x="0" y="1168"/>
                    <a:pt x="4051" y="0"/>
                    <a:pt x="8750" y="12"/>
                  </a:cubicBezTo>
                  <a:cubicBezTo>
                    <a:pt x="28041" y="63"/>
                    <a:pt x="47319" y="76"/>
                    <a:pt x="66598" y="12"/>
                  </a:cubicBezTo>
                  <a:cubicBezTo>
                    <a:pt x="70979" y="0"/>
                    <a:pt x="74853" y="1079"/>
                    <a:pt x="75018" y="5994"/>
                  </a:cubicBezTo>
                  <a:cubicBezTo>
                    <a:pt x="75195" y="11455"/>
                    <a:pt x="71157" y="12649"/>
                    <a:pt x="66458" y="12610"/>
                  </a:cubicBezTo>
                  <a:cubicBezTo>
                    <a:pt x="56806" y="12534"/>
                    <a:pt x="47167" y="12585"/>
                    <a:pt x="37528" y="12585"/>
                  </a:cubicBezTo>
                  <a:close/>
                </a:path>
              </a:pathLst>
            </a:custGeom>
            <a:solidFill>
              <a:srgbClr val="4B5D9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7" name="Free Form 1398">
              <a:extLst>
                <a:ext uri="{FF2B5EF4-FFF2-40B4-BE49-F238E27FC236}">
                  <a16:creationId xmlns:a16="http://schemas.microsoft.com/office/drawing/2014/main" id="{3F5FF80C-9F13-D959-E97A-491656D50FF9}"/>
                </a:ext>
              </a:extLst>
            </p:cNvPr>
            <p:cNvSpPr/>
            <p:nvPr/>
          </p:nvSpPr>
          <p:spPr>
            <a:xfrm>
              <a:off x="3912545" y="4769914"/>
              <a:ext cx="37887" cy="295341"/>
            </a:xfrm>
            <a:custGeom>
              <a:avLst/>
              <a:gdLst/>
              <a:ahLst/>
              <a:cxnLst/>
              <a:rect l="0" t="0" r="0" b="0"/>
              <a:pathLst>
                <a:path w="30047" h="214869">
                  <a:moveTo>
                    <a:pt x="15227" y="63"/>
                  </a:moveTo>
                  <a:cubicBezTo>
                    <a:pt x="15227" y="63"/>
                    <a:pt x="15798" y="0"/>
                    <a:pt x="15785" y="12"/>
                  </a:cubicBezTo>
                  <a:cubicBezTo>
                    <a:pt x="16268" y="927"/>
                    <a:pt x="16560" y="2044"/>
                    <a:pt x="17271" y="2730"/>
                  </a:cubicBezTo>
                  <a:cubicBezTo>
                    <a:pt x="24574" y="9791"/>
                    <a:pt x="30047" y="17094"/>
                    <a:pt x="21767" y="27088"/>
                  </a:cubicBezTo>
                  <a:cubicBezTo>
                    <a:pt x="21069" y="27927"/>
                    <a:pt x="21221" y="29603"/>
                    <a:pt x="21272" y="30886"/>
                  </a:cubicBezTo>
                  <a:cubicBezTo>
                    <a:pt x="22554" y="64743"/>
                    <a:pt x="23939" y="98601"/>
                    <a:pt x="25171" y="132472"/>
                  </a:cubicBezTo>
                  <a:cubicBezTo>
                    <a:pt x="25615" y="144981"/>
                    <a:pt x="25666" y="157516"/>
                    <a:pt x="26022" y="170038"/>
                  </a:cubicBezTo>
                  <a:cubicBezTo>
                    <a:pt x="26098" y="172832"/>
                    <a:pt x="25298" y="175816"/>
                    <a:pt x="27292" y="178344"/>
                  </a:cubicBezTo>
                  <a:cubicBezTo>
                    <a:pt x="27292" y="196987"/>
                    <a:pt x="27292" y="196987"/>
                    <a:pt x="14731" y="214869"/>
                  </a:cubicBezTo>
                  <a:cubicBezTo>
                    <a:pt x="9867" y="213027"/>
                    <a:pt x="9778" y="205877"/>
                    <a:pt x="4076" y="205013"/>
                  </a:cubicBezTo>
                  <a:cubicBezTo>
                    <a:pt x="4178" y="201826"/>
                    <a:pt x="2857" y="199273"/>
                    <a:pt x="596" y="197139"/>
                  </a:cubicBezTo>
                  <a:cubicBezTo>
                    <a:pt x="0" y="193431"/>
                    <a:pt x="190" y="189697"/>
                    <a:pt x="419" y="185976"/>
                  </a:cubicBezTo>
                  <a:cubicBezTo>
                    <a:pt x="3886" y="181671"/>
                    <a:pt x="4292" y="177010"/>
                    <a:pt x="2031" y="172045"/>
                  </a:cubicBezTo>
                  <a:cubicBezTo>
                    <a:pt x="3174" y="139431"/>
                    <a:pt x="4317" y="106818"/>
                    <a:pt x="5473" y="74205"/>
                  </a:cubicBezTo>
                  <a:cubicBezTo>
                    <a:pt x="5956" y="60375"/>
                    <a:pt x="6515" y="46545"/>
                    <a:pt x="6946" y="32727"/>
                  </a:cubicBezTo>
                  <a:cubicBezTo>
                    <a:pt x="7023" y="30390"/>
                    <a:pt x="7505" y="27558"/>
                    <a:pt x="6413" y="25793"/>
                  </a:cubicBezTo>
                  <a:cubicBezTo>
                    <a:pt x="723" y="16547"/>
                    <a:pt x="5283" y="10324"/>
                    <a:pt x="11912" y="4381"/>
                  </a:cubicBezTo>
                  <a:cubicBezTo>
                    <a:pt x="13233" y="3187"/>
                    <a:pt x="14134" y="1511"/>
                    <a:pt x="15227" y="63"/>
                  </a:cubicBezTo>
                  <a:close/>
                </a:path>
              </a:pathLst>
            </a:custGeom>
            <a:solidFill>
              <a:srgbClr val="D22B3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8" name="Free Form 1399">
              <a:extLst>
                <a:ext uri="{FF2B5EF4-FFF2-40B4-BE49-F238E27FC236}">
                  <a16:creationId xmlns:a16="http://schemas.microsoft.com/office/drawing/2014/main" id="{CAC6A378-09DE-9B15-AEA5-9E643BBBF0EF}"/>
                </a:ext>
              </a:extLst>
            </p:cNvPr>
            <p:cNvSpPr/>
            <p:nvPr/>
          </p:nvSpPr>
          <p:spPr>
            <a:xfrm>
              <a:off x="4511187" y="5273789"/>
              <a:ext cx="23875" cy="130101"/>
            </a:xfrm>
            <a:custGeom>
              <a:avLst/>
              <a:gdLst/>
              <a:ahLst/>
              <a:cxnLst/>
              <a:rect l="0" t="0" r="0" b="0"/>
              <a:pathLst>
                <a:path w="18935" h="94652">
                  <a:moveTo>
                    <a:pt x="0" y="12"/>
                  </a:moveTo>
                  <a:cubicBezTo>
                    <a:pt x="6197" y="12"/>
                    <a:pt x="12395" y="12"/>
                    <a:pt x="18592" y="0"/>
                  </a:cubicBezTo>
                  <a:cubicBezTo>
                    <a:pt x="18656" y="19786"/>
                    <a:pt x="18732" y="39572"/>
                    <a:pt x="18757" y="59346"/>
                  </a:cubicBezTo>
                  <a:cubicBezTo>
                    <a:pt x="18770" y="68985"/>
                    <a:pt x="18389" y="78650"/>
                    <a:pt x="18745" y="88276"/>
                  </a:cubicBezTo>
                  <a:cubicBezTo>
                    <a:pt x="18935" y="93280"/>
                    <a:pt x="17157" y="94652"/>
                    <a:pt x="12496" y="94245"/>
                  </a:cubicBezTo>
                  <a:cubicBezTo>
                    <a:pt x="8356" y="93877"/>
                    <a:pt x="4165" y="94156"/>
                    <a:pt x="0" y="94156"/>
                  </a:cubicBezTo>
                  <a:cubicBezTo>
                    <a:pt x="0" y="62775"/>
                    <a:pt x="0" y="31394"/>
                    <a:pt x="0" y="1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29" name="Free Form 1400">
              <a:extLst>
                <a:ext uri="{FF2B5EF4-FFF2-40B4-BE49-F238E27FC236}">
                  <a16:creationId xmlns:a16="http://schemas.microsoft.com/office/drawing/2014/main" id="{7B5C2567-803E-E659-914F-EFC04752D1DF}"/>
                </a:ext>
              </a:extLst>
            </p:cNvPr>
            <p:cNvSpPr/>
            <p:nvPr/>
          </p:nvSpPr>
          <p:spPr>
            <a:xfrm>
              <a:off x="4482675" y="5127320"/>
              <a:ext cx="66052" cy="25713"/>
            </a:xfrm>
            <a:custGeom>
              <a:avLst/>
              <a:gdLst/>
              <a:ahLst/>
              <a:cxnLst/>
              <a:rect l="0" t="0" r="0" b="0"/>
              <a:pathLst>
                <a:path w="52386" h="18706">
                  <a:moveTo>
                    <a:pt x="3594" y="0"/>
                  </a:moveTo>
                  <a:cubicBezTo>
                    <a:pt x="19862" y="50"/>
                    <a:pt x="36118" y="88"/>
                    <a:pt x="52386" y="139"/>
                  </a:cubicBezTo>
                  <a:cubicBezTo>
                    <a:pt x="51878" y="18681"/>
                    <a:pt x="51878" y="18706"/>
                    <a:pt x="33222" y="18681"/>
                  </a:cubicBezTo>
                  <a:cubicBezTo>
                    <a:pt x="23291" y="18656"/>
                    <a:pt x="13360" y="18554"/>
                    <a:pt x="3441" y="18491"/>
                  </a:cubicBezTo>
                  <a:cubicBezTo>
                    <a:pt x="101" y="12293"/>
                    <a:pt x="0" y="6134"/>
                    <a:pt x="3594" y="0"/>
                  </a:cubicBezTo>
                  <a:close/>
                </a:path>
              </a:pathLst>
            </a:custGeom>
            <a:solidFill>
              <a:srgbClr val="7081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0" name="Free Form 1401">
              <a:extLst>
                <a:ext uri="{FF2B5EF4-FFF2-40B4-BE49-F238E27FC236}">
                  <a16:creationId xmlns:a16="http://schemas.microsoft.com/office/drawing/2014/main" id="{6F872599-6584-45B0-F0A5-7F2B5416D241}"/>
                </a:ext>
              </a:extLst>
            </p:cNvPr>
            <p:cNvSpPr/>
            <p:nvPr/>
          </p:nvSpPr>
          <p:spPr>
            <a:xfrm>
              <a:off x="4451082" y="5127320"/>
              <a:ext cx="36125" cy="26044"/>
            </a:xfrm>
            <a:custGeom>
              <a:avLst/>
              <a:gdLst/>
              <a:ahLst/>
              <a:cxnLst/>
              <a:rect l="0" t="0" r="0" b="0"/>
              <a:pathLst>
                <a:path w="28650" h="18948">
                  <a:moveTo>
                    <a:pt x="28650" y="0"/>
                  </a:moveTo>
                  <a:cubicBezTo>
                    <a:pt x="28600" y="6159"/>
                    <a:pt x="28549" y="12331"/>
                    <a:pt x="28498" y="18491"/>
                  </a:cubicBezTo>
                  <a:cubicBezTo>
                    <a:pt x="26949" y="18643"/>
                    <a:pt x="25399" y="18795"/>
                    <a:pt x="23863" y="18948"/>
                  </a:cubicBezTo>
                  <a:cubicBezTo>
                    <a:pt x="17055" y="18783"/>
                    <a:pt x="10261" y="18605"/>
                    <a:pt x="3467" y="18427"/>
                  </a:cubicBezTo>
                  <a:cubicBezTo>
                    <a:pt x="0" y="12318"/>
                    <a:pt x="76" y="6197"/>
                    <a:pt x="3390" y="63"/>
                  </a:cubicBezTo>
                  <a:cubicBezTo>
                    <a:pt x="11810" y="38"/>
                    <a:pt x="20230" y="25"/>
                    <a:pt x="28650" y="0"/>
                  </a:cubicBezTo>
                  <a:close/>
                </a:path>
              </a:pathLst>
            </a:custGeom>
            <a:solidFill>
              <a:srgbClr val="9D7DA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1" name="Free Form 1402">
              <a:extLst>
                <a:ext uri="{FF2B5EF4-FFF2-40B4-BE49-F238E27FC236}">
                  <a16:creationId xmlns:a16="http://schemas.microsoft.com/office/drawing/2014/main" id="{F6831C52-CEF9-94FA-F768-C6894366797F}"/>
                </a:ext>
              </a:extLst>
            </p:cNvPr>
            <p:cNvSpPr/>
            <p:nvPr/>
          </p:nvSpPr>
          <p:spPr>
            <a:xfrm>
              <a:off x="4577021" y="5131181"/>
              <a:ext cx="46838" cy="22537"/>
            </a:xfrm>
            <a:custGeom>
              <a:avLst/>
              <a:gdLst/>
              <a:ahLst/>
              <a:cxnLst/>
              <a:rect l="0" t="0" r="0" b="0"/>
              <a:pathLst>
                <a:path w="37147" h="16395">
                  <a:moveTo>
                    <a:pt x="1015" y="0"/>
                  </a:moveTo>
                  <a:cubicBezTo>
                    <a:pt x="13055" y="5219"/>
                    <a:pt x="25094" y="10439"/>
                    <a:pt x="37147" y="15658"/>
                  </a:cubicBezTo>
                  <a:cubicBezTo>
                    <a:pt x="27800" y="15735"/>
                    <a:pt x="18440" y="15430"/>
                    <a:pt x="9118" y="16001"/>
                  </a:cubicBezTo>
                  <a:cubicBezTo>
                    <a:pt x="2654" y="16395"/>
                    <a:pt x="0" y="14300"/>
                    <a:pt x="863" y="7785"/>
                  </a:cubicBezTo>
                  <a:cubicBezTo>
                    <a:pt x="1193" y="5219"/>
                    <a:pt x="977" y="2590"/>
                    <a:pt x="1015" y="0"/>
                  </a:cubicBezTo>
                  <a:close/>
                </a:path>
              </a:pathLst>
            </a:custGeom>
            <a:solidFill>
              <a:srgbClr val="7182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2" name="Free Form 1403">
              <a:extLst>
                <a:ext uri="{FF2B5EF4-FFF2-40B4-BE49-F238E27FC236}">
                  <a16:creationId xmlns:a16="http://schemas.microsoft.com/office/drawing/2014/main" id="{4B27FEFB-F26E-510E-3E5B-E4515196237F}"/>
                </a:ext>
              </a:extLst>
            </p:cNvPr>
            <p:cNvSpPr/>
            <p:nvPr/>
          </p:nvSpPr>
          <p:spPr>
            <a:xfrm>
              <a:off x="3809115" y="4853490"/>
              <a:ext cx="30265" cy="96655"/>
            </a:xfrm>
            <a:custGeom>
              <a:avLst/>
              <a:gdLst/>
              <a:ahLst/>
              <a:cxnLst/>
              <a:rect l="0" t="0" r="0" b="0"/>
              <a:pathLst>
                <a:path w="24002" h="70319">
                  <a:moveTo>
                    <a:pt x="18300" y="70217"/>
                  </a:moveTo>
                  <a:cubicBezTo>
                    <a:pt x="11366" y="67194"/>
                    <a:pt x="7619" y="60603"/>
                    <a:pt x="2285" y="55790"/>
                  </a:cubicBezTo>
                  <a:cubicBezTo>
                    <a:pt x="0" y="53733"/>
                    <a:pt x="2273" y="51294"/>
                    <a:pt x="2959" y="49300"/>
                  </a:cubicBezTo>
                  <a:cubicBezTo>
                    <a:pt x="8597" y="32829"/>
                    <a:pt x="14439" y="16420"/>
                    <a:pt x="20218" y="0"/>
                  </a:cubicBezTo>
                  <a:cubicBezTo>
                    <a:pt x="24002" y="2628"/>
                    <a:pt x="21958" y="6159"/>
                    <a:pt x="21665" y="9410"/>
                  </a:cubicBezTo>
                  <a:lnTo>
                    <a:pt x="18224" y="70319"/>
                  </a:lnTo>
                  <a:close/>
                </a:path>
              </a:pathLst>
            </a:custGeom>
            <a:solidFill>
              <a:srgbClr val="FEFEF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3" name="Free Form 1404">
              <a:extLst>
                <a:ext uri="{FF2B5EF4-FFF2-40B4-BE49-F238E27FC236}">
                  <a16:creationId xmlns:a16="http://schemas.microsoft.com/office/drawing/2014/main" id="{79EEB94B-B78B-BE7A-607F-27ED1AC8D07C}"/>
                </a:ext>
              </a:extLst>
            </p:cNvPr>
            <p:cNvSpPr/>
            <p:nvPr/>
          </p:nvSpPr>
          <p:spPr>
            <a:xfrm>
              <a:off x="3828424" y="4946172"/>
              <a:ext cx="47686" cy="51408"/>
            </a:xfrm>
            <a:custGeom>
              <a:avLst/>
              <a:gdLst/>
              <a:ahLst/>
              <a:cxnLst/>
              <a:rect l="0" t="0" r="0" b="0"/>
              <a:pathLst>
                <a:path w="37820" h="37401">
                  <a:moveTo>
                    <a:pt x="34416" y="35927"/>
                  </a:moveTo>
                  <a:cubicBezTo>
                    <a:pt x="33299" y="36423"/>
                    <a:pt x="32168" y="36905"/>
                    <a:pt x="31051" y="37401"/>
                  </a:cubicBezTo>
                  <a:cubicBezTo>
                    <a:pt x="20294" y="30898"/>
                    <a:pt x="11633" y="21945"/>
                    <a:pt x="3022" y="12991"/>
                  </a:cubicBezTo>
                  <a:cubicBezTo>
                    <a:pt x="0" y="9829"/>
                    <a:pt x="1562" y="6197"/>
                    <a:pt x="2984" y="2793"/>
                  </a:cubicBezTo>
                  <a:cubicBezTo>
                    <a:pt x="2984" y="2793"/>
                    <a:pt x="2908" y="2895"/>
                    <a:pt x="2908" y="2895"/>
                  </a:cubicBezTo>
                  <a:cubicBezTo>
                    <a:pt x="11772" y="0"/>
                    <a:pt x="14808" y="8648"/>
                    <a:pt x="20230" y="12141"/>
                  </a:cubicBezTo>
                  <a:cubicBezTo>
                    <a:pt x="25552" y="15557"/>
                    <a:pt x="29539" y="21030"/>
                    <a:pt x="34200" y="25501"/>
                  </a:cubicBezTo>
                  <a:cubicBezTo>
                    <a:pt x="37820" y="28981"/>
                    <a:pt x="36613" y="32410"/>
                    <a:pt x="34416" y="35927"/>
                  </a:cubicBezTo>
                  <a:close/>
                </a:path>
              </a:pathLst>
            </a:custGeom>
            <a:solidFill>
              <a:srgbClr val="15706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4" name="Free Form 1405">
              <a:extLst>
                <a:ext uri="{FF2B5EF4-FFF2-40B4-BE49-F238E27FC236}">
                  <a16:creationId xmlns:a16="http://schemas.microsoft.com/office/drawing/2014/main" id="{3F0E6497-A38D-748D-CB9A-8F0593A7B256}"/>
                </a:ext>
              </a:extLst>
            </p:cNvPr>
            <p:cNvSpPr/>
            <p:nvPr/>
          </p:nvSpPr>
          <p:spPr>
            <a:xfrm>
              <a:off x="3834596" y="4846573"/>
              <a:ext cx="4162" cy="19848"/>
            </a:xfrm>
            <a:custGeom>
              <a:avLst/>
              <a:gdLst/>
              <a:ahLst/>
              <a:cxnLst/>
              <a:rect l="0" t="0" r="0" b="0"/>
              <a:pathLst>
                <a:path w="3301" h="14439">
                  <a:moveTo>
                    <a:pt x="1460" y="14439"/>
                  </a:moveTo>
                  <a:cubicBezTo>
                    <a:pt x="266" y="11417"/>
                    <a:pt x="2463" y="7861"/>
                    <a:pt x="0" y="5029"/>
                  </a:cubicBezTo>
                  <a:cubicBezTo>
                    <a:pt x="520" y="3352"/>
                    <a:pt x="1028" y="1676"/>
                    <a:pt x="1536" y="0"/>
                  </a:cubicBezTo>
                  <a:cubicBezTo>
                    <a:pt x="2882" y="4876"/>
                    <a:pt x="3301" y="9677"/>
                    <a:pt x="1460" y="14439"/>
                  </a:cubicBezTo>
                  <a:close/>
                </a:path>
              </a:pathLst>
            </a:custGeom>
            <a:solidFill>
              <a:srgbClr val="A8D6C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5" name="Free Form 1406">
              <a:extLst>
                <a:ext uri="{FF2B5EF4-FFF2-40B4-BE49-F238E27FC236}">
                  <a16:creationId xmlns:a16="http://schemas.microsoft.com/office/drawing/2014/main" id="{C2E32394-CDF1-C008-255E-35E7D33D11F7}"/>
                </a:ext>
              </a:extLst>
            </p:cNvPr>
            <p:cNvSpPr/>
            <p:nvPr/>
          </p:nvSpPr>
          <p:spPr>
            <a:xfrm>
              <a:off x="4091238" y="5127043"/>
              <a:ext cx="170954" cy="161243"/>
            </a:xfrm>
            <a:custGeom>
              <a:avLst/>
              <a:gdLst/>
              <a:ahLst/>
              <a:cxnLst/>
              <a:rect l="0" t="0" r="0" b="0"/>
              <a:pathLst>
                <a:path w="135583" h="117308">
                  <a:moveTo>
                    <a:pt x="406" y="117308"/>
                  </a:moveTo>
                  <a:cubicBezTo>
                    <a:pt x="317" y="79932"/>
                    <a:pt x="330" y="42557"/>
                    <a:pt x="38" y="5181"/>
                  </a:cubicBezTo>
                  <a:cubicBezTo>
                    <a:pt x="0" y="0"/>
                    <a:pt x="2527" y="0"/>
                    <a:pt x="6286" y="12"/>
                  </a:cubicBezTo>
                  <a:cubicBezTo>
                    <a:pt x="48107" y="126"/>
                    <a:pt x="89927" y="139"/>
                    <a:pt x="131748" y="177"/>
                  </a:cubicBezTo>
                  <a:cubicBezTo>
                    <a:pt x="135583" y="6286"/>
                    <a:pt x="135494" y="12445"/>
                    <a:pt x="131926" y="18630"/>
                  </a:cubicBezTo>
                  <a:cubicBezTo>
                    <a:pt x="128255" y="18808"/>
                    <a:pt x="124585" y="18986"/>
                    <a:pt x="120928" y="19164"/>
                  </a:cubicBezTo>
                  <a:cubicBezTo>
                    <a:pt x="107364" y="19100"/>
                    <a:pt x="93750" y="18160"/>
                    <a:pt x="80263" y="19151"/>
                  </a:cubicBezTo>
                  <a:cubicBezTo>
                    <a:pt x="55358" y="20992"/>
                    <a:pt x="37109" y="33591"/>
                    <a:pt x="26745" y="56501"/>
                  </a:cubicBezTo>
                  <a:cubicBezTo>
                    <a:pt x="17652" y="76618"/>
                    <a:pt x="9169" y="97026"/>
                    <a:pt x="406" y="11730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6" name="Free Form 1407">
              <a:extLst>
                <a:ext uri="{FF2B5EF4-FFF2-40B4-BE49-F238E27FC236}">
                  <a16:creationId xmlns:a16="http://schemas.microsoft.com/office/drawing/2014/main" id="{9F10C417-4DC6-9D57-FDEE-0DBB028289F4}"/>
                </a:ext>
              </a:extLst>
            </p:cNvPr>
            <p:cNvSpPr/>
            <p:nvPr/>
          </p:nvSpPr>
          <p:spPr>
            <a:xfrm>
              <a:off x="4273730" y="5268456"/>
              <a:ext cx="40865" cy="135303"/>
            </a:xfrm>
            <a:custGeom>
              <a:avLst/>
              <a:gdLst/>
              <a:ahLst/>
              <a:cxnLst/>
              <a:rect l="0" t="0" r="0" b="0"/>
              <a:pathLst>
                <a:path w="32410" h="98436">
                  <a:moveTo>
                    <a:pt x="31165" y="3886"/>
                  </a:moveTo>
                  <a:cubicBezTo>
                    <a:pt x="32410" y="23151"/>
                    <a:pt x="31127" y="42417"/>
                    <a:pt x="31330" y="61695"/>
                  </a:cubicBezTo>
                  <a:cubicBezTo>
                    <a:pt x="31432" y="71601"/>
                    <a:pt x="30898" y="81520"/>
                    <a:pt x="31343" y="91413"/>
                  </a:cubicBezTo>
                  <a:cubicBezTo>
                    <a:pt x="31597" y="97141"/>
                    <a:pt x="29514" y="98436"/>
                    <a:pt x="24244" y="98157"/>
                  </a:cubicBezTo>
                  <a:cubicBezTo>
                    <a:pt x="16179" y="97725"/>
                    <a:pt x="8077" y="98042"/>
                    <a:pt x="0" y="98030"/>
                  </a:cubicBezTo>
                  <a:cubicBezTo>
                    <a:pt x="0" y="66648"/>
                    <a:pt x="0" y="35267"/>
                    <a:pt x="0" y="3886"/>
                  </a:cubicBezTo>
                  <a:cubicBezTo>
                    <a:pt x="10388" y="0"/>
                    <a:pt x="20776" y="0"/>
                    <a:pt x="31165" y="388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7" name="Free Form 1408">
              <a:extLst>
                <a:ext uri="{FF2B5EF4-FFF2-40B4-BE49-F238E27FC236}">
                  <a16:creationId xmlns:a16="http://schemas.microsoft.com/office/drawing/2014/main" id="{B538A864-3928-9C6C-600C-3B5065FF88F3}"/>
                </a:ext>
              </a:extLst>
            </p:cNvPr>
            <p:cNvSpPr/>
            <p:nvPr/>
          </p:nvSpPr>
          <p:spPr>
            <a:xfrm>
              <a:off x="4257359" y="5127285"/>
              <a:ext cx="139585" cy="25747"/>
            </a:xfrm>
            <a:custGeom>
              <a:avLst/>
              <a:gdLst/>
              <a:ahLst/>
              <a:cxnLst/>
              <a:rect l="0" t="0" r="0" b="0"/>
              <a:pathLst>
                <a:path w="110704" h="18732">
                  <a:moveTo>
                    <a:pt x="177" y="18452"/>
                  </a:moveTo>
                  <a:cubicBezTo>
                    <a:pt x="114" y="12306"/>
                    <a:pt x="50" y="6159"/>
                    <a:pt x="0" y="0"/>
                  </a:cubicBezTo>
                  <a:lnTo>
                    <a:pt x="107072" y="0"/>
                  </a:lnTo>
                  <a:cubicBezTo>
                    <a:pt x="110285" y="6311"/>
                    <a:pt x="110704" y="12560"/>
                    <a:pt x="106742" y="18732"/>
                  </a:cubicBezTo>
                  <a:cubicBezTo>
                    <a:pt x="71220" y="18643"/>
                    <a:pt x="35699" y="18541"/>
                    <a:pt x="177" y="18452"/>
                  </a:cubicBezTo>
                  <a:close/>
                </a:path>
              </a:pathLst>
            </a:custGeom>
            <a:solidFill>
              <a:srgbClr val="E78C4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8" name="Free Form 1409">
              <a:extLst>
                <a:ext uri="{FF2B5EF4-FFF2-40B4-BE49-F238E27FC236}">
                  <a16:creationId xmlns:a16="http://schemas.microsoft.com/office/drawing/2014/main" id="{D7F4180B-A643-8E1A-7B10-93D90B6F441C}"/>
                </a:ext>
              </a:extLst>
            </p:cNvPr>
            <p:cNvSpPr/>
            <p:nvPr/>
          </p:nvSpPr>
          <p:spPr>
            <a:xfrm>
              <a:off x="4269519" y="5234591"/>
              <a:ext cx="82915" cy="43990"/>
            </a:xfrm>
            <a:custGeom>
              <a:avLst/>
              <a:gdLst/>
              <a:ahLst/>
              <a:cxnLst/>
              <a:rect l="0" t="0" r="0" b="0"/>
              <a:pathLst>
                <a:path w="65759" h="32003">
                  <a:moveTo>
                    <a:pt x="34505" y="28523"/>
                  </a:moveTo>
                  <a:cubicBezTo>
                    <a:pt x="24117" y="28523"/>
                    <a:pt x="13728" y="28523"/>
                    <a:pt x="3340" y="28523"/>
                  </a:cubicBezTo>
                  <a:cubicBezTo>
                    <a:pt x="3200" y="20510"/>
                    <a:pt x="0" y="10388"/>
                    <a:pt x="4419" y="5092"/>
                  </a:cubicBezTo>
                  <a:cubicBezTo>
                    <a:pt x="8686" y="0"/>
                    <a:pt x="19075" y="3657"/>
                    <a:pt x="26771" y="3492"/>
                  </a:cubicBezTo>
                  <a:cubicBezTo>
                    <a:pt x="39750" y="3238"/>
                    <a:pt x="52755" y="3479"/>
                    <a:pt x="65759" y="3517"/>
                  </a:cubicBezTo>
                  <a:cubicBezTo>
                    <a:pt x="65721" y="11848"/>
                    <a:pt x="65670" y="20192"/>
                    <a:pt x="65632" y="28536"/>
                  </a:cubicBezTo>
                  <a:cubicBezTo>
                    <a:pt x="59702" y="32003"/>
                    <a:pt x="53682" y="31698"/>
                    <a:pt x="47611" y="28892"/>
                  </a:cubicBezTo>
                  <a:cubicBezTo>
                    <a:pt x="43243" y="28777"/>
                    <a:pt x="38874" y="28650"/>
                    <a:pt x="34505" y="28523"/>
                  </a:cubicBezTo>
                  <a:close/>
                </a:path>
              </a:pathLst>
            </a:custGeom>
            <a:solidFill>
              <a:srgbClr val="3A3933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39" name="Free Form 1410">
              <a:extLst>
                <a:ext uri="{FF2B5EF4-FFF2-40B4-BE49-F238E27FC236}">
                  <a16:creationId xmlns:a16="http://schemas.microsoft.com/office/drawing/2014/main" id="{66CF18E2-F89D-320B-F1E3-71028AEF9664}"/>
                </a:ext>
              </a:extLst>
            </p:cNvPr>
            <p:cNvSpPr/>
            <p:nvPr/>
          </p:nvSpPr>
          <p:spPr>
            <a:xfrm>
              <a:off x="4391941" y="5127287"/>
              <a:ext cx="63508" cy="28191"/>
            </a:xfrm>
            <a:custGeom>
              <a:avLst/>
              <a:gdLst/>
              <a:ahLst/>
              <a:cxnLst/>
              <a:rect l="0" t="0" r="0" b="0"/>
              <a:pathLst>
                <a:path w="50367" h="20510">
                  <a:moveTo>
                    <a:pt x="0" y="18732"/>
                  </a:moveTo>
                  <a:cubicBezTo>
                    <a:pt x="114" y="12483"/>
                    <a:pt x="228" y="6248"/>
                    <a:pt x="342" y="0"/>
                  </a:cubicBezTo>
                  <a:cubicBezTo>
                    <a:pt x="16992" y="25"/>
                    <a:pt x="33641" y="50"/>
                    <a:pt x="50291" y="88"/>
                  </a:cubicBezTo>
                  <a:cubicBezTo>
                    <a:pt x="50316" y="6210"/>
                    <a:pt x="50342" y="12331"/>
                    <a:pt x="50367" y="18452"/>
                  </a:cubicBezTo>
                  <a:cubicBezTo>
                    <a:pt x="38505" y="18541"/>
                    <a:pt x="26631" y="18516"/>
                    <a:pt x="14769" y="18821"/>
                  </a:cubicBezTo>
                  <a:cubicBezTo>
                    <a:pt x="10947" y="18910"/>
                    <a:pt x="7137" y="19913"/>
                    <a:pt x="3327" y="20510"/>
                  </a:cubicBezTo>
                  <a:cubicBezTo>
                    <a:pt x="2031" y="20268"/>
                    <a:pt x="507" y="20446"/>
                    <a:pt x="0" y="18732"/>
                  </a:cubicBezTo>
                  <a:close/>
                </a:path>
              </a:pathLst>
            </a:custGeom>
            <a:solidFill>
              <a:srgbClr val="B17E6D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0" name="Free Form 1411">
              <a:extLst>
                <a:ext uri="{FF2B5EF4-FFF2-40B4-BE49-F238E27FC236}">
                  <a16:creationId xmlns:a16="http://schemas.microsoft.com/office/drawing/2014/main" id="{E9AA97BF-0EA3-DFA2-5F3D-05505286B7A9}"/>
                </a:ext>
              </a:extLst>
            </p:cNvPr>
            <p:cNvSpPr/>
            <p:nvPr/>
          </p:nvSpPr>
          <p:spPr>
            <a:xfrm>
              <a:off x="4303121" y="4863323"/>
              <a:ext cx="66486" cy="136507"/>
            </a:xfrm>
            <a:custGeom>
              <a:avLst/>
              <a:gdLst/>
              <a:ahLst/>
              <a:cxnLst/>
              <a:rect l="0" t="0" r="0" b="0"/>
              <a:pathLst>
                <a:path w="52729" h="99312">
                  <a:moveTo>
                    <a:pt x="1600" y="60349"/>
                  </a:moveTo>
                  <a:cubicBezTo>
                    <a:pt x="5778" y="60197"/>
                    <a:pt x="9956" y="60057"/>
                    <a:pt x="14147" y="59905"/>
                  </a:cubicBezTo>
                  <a:cubicBezTo>
                    <a:pt x="13563" y="51307"/>
                    <a:pt x="20776" y="49008"/>
                    <a:pt x="26263" y="45109"/>
                  </a:cubicBezTo>
                  <a:cubicBezTo>
                    <a:pt x="21754" y="46125"/>
                    <a:pt x="17360" y="47637"/>
                    <a:pt x="14071" y="42976"/>
                  </a:cubicBezTo>
                  <a:cubicBezTo>
                    <a:pt x="0" y="36486"/>
                    <a:pt x="2057" y="23494"/>
                    <a:pt x="3632" y="12420"/>
                  </a:cubicBezTo>
                  <a:cubicBezTo>
                    <a:pt x="4889" y="3632"/>
                    <a:pt x="16840" y="6057"/>
                    <a:pt x="21805" y="0"/>
                  </a:cubicBezTo>
                  <a:cubicBezTo>
                    <a:pt x="24485" y="2565"/>
                    <a:pt x="23101" y="5067"/>
                    <a:pt x="23697" y="7150"/>
                  </a:cubicBezTo>
                  <a:cubicBezTo>
                    <a:pt x="24904" y="11353"/>
                    <a:pt x="24066" y="17830"/>
                    <a:pt x="32194" y="13195"/>
                  </a:cubicBezTo>
                  <a:cubicBezTo>
                    <a:pt x="35673" y="11213"/>
                    <a:pt x="39953" y="12649"/>
                    <a:pt x="42493" y="16395"/>
                  </a:cubicBezTo>
                  <a:cubicBezTo>
                    <a:pt x="44932" y="19989"/>
                    <a:pt x="44830" y="23723"/>
                    <a:pt x="42442" y="27342"/>
                  </a:cubicBezTo>
                  <a:cubicBezTo>
                    <a:pt x="36004" y="37134"/>
                    <a:pt x="40512" y="47992"/>
                    <a:pt x="39521" y="58305"/>
                  </a:cubicBezTo>
                  <a:cubicBezTo>
                    <a:pt x="39331" y="60273"/>
                    <a:pt x="41706" y="60006"/>
                    <a:pt x="43192" y="60070"/>
                  </a:cubicBezTo>
                  <a:cubicBezTo>
                    <a:pt x="46049" y="60197"/>
                    <a:pt x="48907" y="60260"/>
                    <a:pt x="51764" y="60349"/>
                  </a:cubicBezTo>
                  <a:cubicBezTo>
                    <a:pt x="51383" y="67042"/>
                    <a:pt x="52729" y="73811"/>
                    <a:pt x="50481" y="80428"/>
                  </a:cubicBezTo>
                  <a:cubicBezTo>
                    <a:pt x="46557" y="92023"/>
                    <a:pt x="35127" y="99312"/>
                    <a:pt x="23177" y="97611"/>
                  </a:cubicBezTo>
                  <a:cubicBezTo>
                    <a:pt x="11683" y="95985"/>
                    <a:pt x="2336" y="86003"/>
                    <a:pt x="1650" y="74370"/>
                  </a:cubicBezTo>
                  <a:cubicBezTo>
                    <a:pt x="1384" y="69709"/>
                    <a:pt x="1600" y="65023"/>
                    <a:pt x="1600" y="60349"/>
                  </a:cubicBezTo>
                  <a:close/>
                </a:path>
              </a:pathLst>
            </a:custGeom>
            <a:solidFill>
              <a:srgbClr val="FBB197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1" name="Free Form 1412">
              <a:extLst>
                <a:ext uri="{FF2B5EF4-FFF2-40B4-BE49-F238E27FC236}">
                  <a16:creationId xmlns:a16="http://schemas.microsoft.com/office/drawing/2014/main" id="{FF093E9C-68C4-B50D-70A2-BCA9D261E1B0}"/>
                </a:ext>
              </a:extLst>
            </p:cNvPr>
            <p:cNvSpPr/>
            <p:nvPr/>
          </p:nvSpPr>
          <p:spPr>
            <a:xfrm>
              <a:off x="4392357" y="5065381"/>
              <a:ext cx="68199" cy="44305"/>
            </a:xfrm>
            <a:custGeom>
              <a:avLst/>
              <a:gdLst/>
              <a:ahLst/>
              <a:cxnLst/>
              <a:rect l="0" t="0" r="0" b="0"/>
              <a:pathLst>
                <a:path w="54088" h="32232">
                  <a:moveTo>
                    <a:pt x="49961" y="32156"/>
                  </a:moveTo>
                  <a:cubicBezTo>
                    <a:pt x="33311" y="32181"/>
                    <a:pt x="16662" y="32206"/>
                    <a:pt x="12" y="32232"/>
                  </a:cubicBezTo>
                  <a:cubicBezTo>
                    <a:pt x="12" y="21856"/>
                    <a:pt x="12" y="11480"/>
                    <a:pt x="0" y="1092"/>
                  </a:cubicBezTo>
                  <a:cubicBezTo>
                    <a:pt x="901" y="165"/>
                    <a:pt x="1892" y="0"/>
                    <a:pt x="2984" y="749"/>
                  </a:cubicBezTo>
                  <a:cubicBezTo>
                    <a:pt x="18694" y="812"/>
                    <a:pt x="34403" y="876"/>
                    <a:pt x="50113" y="939"/>
                  </a:cubicBezTo>
                  <a:lnTo>
                    <a:pt x="50126" y="863"/>
                  </a:lnTo>
                  <a:cubicBezTo>
                    <a:pt x="53847" y="11315"/>
                    <a:pt x="54088" y="21742"/>
                    <a:pt x="49961" y="32156"/>
                  </a:cubicBezTo>
                  <a:close/>
                </a:path>
              </a:pathLst>
            </a:custGeom>
            <a:solidFill>
              <a:srgbClr val="FBB197"/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2" name="Free Form 1413">
              <a:extLst>
                <a:ext uri="{FF2B5EF4-FFF2-40B4-BE49-F238E27FC236}">
                  <a16:creationId xmlns:a16="http://schemas.microsoft.com/office/drawing/2014/main" id="{7F007088-C87C-6EAA-314C-1037EA4390AC}"/>
                </a:ext>
              </a:extLst>
            </p:cNvPr>
            <p:cNvSpPr/>
            <p:nvPr/>
          </p:nvSpPr>
          <p:spPr>
            <a:xfrm>
              <a:off x="4214128" y="5035567"/>
              <a:ext cx="43235" cy="74119"/>
            </a:xfrm>
            <a:custGeom>
              <a:avLst/>
              <a:gdLst/>
              <a:ahLst/>
              <a:cxnLst/>
              <a:rect l="0" t="0" r="0" b="0"/>
              <a:pathLst>
                <a:path w="34289" h="53923">
                  <a:moveTo>
                    <a:pt x="34289" y="53923"/>
                  </a:moveTo>
                  <a:cubicBezTo>
                    <a:pt x="22859" y="53910"/>
                    <a:pt x="11429" y="53898"/>
                    <a:pt x="0" y="53885"/>
                  </a:cubicBezTo>
                  <a:cubicBezTo>
                    <a:pt x="13969" y="42950"/>
                    <a:pt x="20459" y="27012"/>
                    <a:pt x="28117" y="11874"/>
                  </a:cubicBezTo>
                  <a:cubicBezTo>
                    <a:pt x="29793" y="8661"/>
                    <a:pt x="31457" y="5448"/>
                    <a:pt x="34289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3" name="Free Form 1414">
              <a:extLst>
                <a:ext uri="{FF2B5EF4-FFF2-40B4-BE49-F238E27FC236}">
                  <a16:creationId xmlns:a16="http://schemas.microsoft.com/office/drawing/2014/main" id="{A8C32BF3-04B7-DBA5-DE6F-7800BA16496F}"/>
                </a:ext>
              </a:extLst>
            </p:cNvPr>
            <p:cNvSpPr/>
            <p:nvPr/>
          </p:nvSpPr>
          <p:spPr>
            <a:xfrm>
              <a:off x="4384177" y="4993473"/>
              <a:ext cx="16077" cy="73420"/>
            </a:xfrm>
            <a:custGeom>
              <a:avLst/>
              <a:gdLst/>
              <a:ahLst/>
              <a:cxnLst/>
              <a:rect l="0" t="0" r="0" b="0"/>
              <a:pathLst>
                <a:path w="12750" h="53415">
                  <a:moveTo>
                    <a:pt x="9474" y="53060"/>
                  </a:moveTo>
                  <a:cubicBezTo>
                    <a:pt x="8483" y="53174"/>
                    <a:pt x="7492" y="53301"/>
                    <a:pt x="6489" y="53415"/>
                  </a:cubicBezTo>
                  <a:cubicBezTo>
                    <a:pt x="1816" y="52666"/>
                    <a:pt x="0" y="49783"/>
                    <a:pt x="38" y="45211"/>
                  </a:cubicBezTo>
                  <a:cubicBezTo>
                    <a:pt x="114" y="32994"/>
                    <a:pt x="114" y="20776"/>
                    <a:pt x="38" y="8547"/>
                  </a:cubicBezTo>
                  <a:cubicBezTo>
                    <a:pt x="12" y="4178"/>
                    <a:pt x="1130" y="342"/>
                    <a:pt x="6032" y="177"/>
                  </a:cubicBezTo>
                  <a:cubicBezTo>
                    <a:pt x="11480" y="0"/>
                    <a:pt x="12661" y="4038"/>
                    <a:pt x="12636" y="8724"/>
                  </a:cubicBezTo>
                  <a:cubicBezTo>
                    <a:pt x="12560" y="20688"/>
                    <a:pt x="12483" y="32651"/>
                    <a:pt x="12687" y="44601"/>
                  </a:cubicBezTo>
                  <a:cubicBezTo>
                    <a:pt x="12750" y="48030"/>
                    <a:pt x="11480" y="50596"/>
                    <a:pt x="9474" y="53060"/>
                  </a:cubicBezTo>
                  <a:close/>
                </a:path>
              </a:pathLst>
            </a:custGeom>
            <a:solidFill>
              <a:srgbClr val="D8632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4" name="Free Form 1415">
              <a:extLst>
                <a:ext uri="{FF2B5EF4-FFF2-40B4-BE49-F238E27FC236}">
                  <a16:creationId xmlns:a16="http://schemas.microsoft.com/office/drawing/2014/main" id="{B696DC76-ED3F-1BFD-8079-8BF17D2E5DD5}"/>
                </a:ext>
              </a:extLst>
            </p:cNvPr>
            <p:cNvSpPr/>
            <p:nvPr/>
          </p:nvSpPr>
          <p:spPr>
            <a:xfrm>
              <a:off x="4328862" y="5273803"/>
              <a:ext cx="23427" cy="129473"/>
            </a:xfrm>
            <a:custGeom>
              <a:avLst/>
              <a:gdLst/>
              <a:ahLst/>
              <a:cxnLst/>
              <a:rect l="0" t="0" r="0" b="0"/>
              <a:pathLst>
                <a:path w="18579" h="94194">
                  <a:moveTo>
                    <a:pt x="546" y="368"/>
                  </a:moveTo>
                  <a:cubicBezTo>
                    <a:pt x="6553" y="241"/>
                    <a:pt x="12560" y="126"/>
                    <a:pt x="18567" y="0"/>
                  </a:cubicBezTo>
                  <a:cubicBezTo>
                    <a:pt x="18579" y="31381"/>
                    <a:pt x="18579" y="62762"/>
                    <a:pt x="18579" y="94144"/>
                  </a:cubicBezTo>
                  <a:cubicBezTo>
                    <a:pt x="0" y="94194"/>
                    <a:pt x="0" y="94194"/>
                    <a:pt x="101" y="75602"/>
                  </a:cubicBezTo>
                  <a:cubicBezTo>
                    <a:pt x="241" y="50520"/>
                    <a:pt x="393" y="25450"/>
                    <a:pt x="546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5" name="Free Form 1416">
              <a:extLst>
                <a:ext uri="{FF2B5EF4-FFF2-40B4-BE49-F238E27FC236}">
                  <a16:creationId xmlns:a16="http://schemas.microsoft.com/office/drawing/2014/main" id="{D0AD1F5A-395C-9F93-947E-89428455FC46}"/>
                </a:ext>
              </a:extLst>
            </p:cNvPr>
            <p:cNvSpPr/>
            <p:nvPr/>
          </p:nvSpPr>
          <p:spPr>
            <a:xfrm>
              <a:off x="4546550" y="4962989"/>
              <a:ext cx="32010" cy="99727"/>
            </a:xfrm>
            <a:custGeom>
              <a:avLst/>
              <a:gdLst/>
              <a:ahLst/>
              <a:cxnLst/>
              <a:rect l="0" t="0" r="0" b="0"/>
              <a:pathLst>
                <a:path w="25387" h="72554">
                  <a:moveTo>
                    <a:pt x="14173" y="76"/>
                  </a:moveTo>
                  <a:cubicBezTo>
                    <a:pt x="14617" y="63"/>
                    <a:pt x="15062" y="38"/>
                    <a:pt x="15493" y="0"/>
                  </a:cubicBezTo>
                  <a:cubicBezTo>
                    <a:pt x="23786" y="8724"/>
                    <a:pt x="25387" y="17284"/>
                    <a:pt x="21208" y="29768"/>
                  </a:cubicBezTo>
                  <a:cubicBezTo>
                    <a:pt x="17741" y="40144"/>
                    <a:pt x="22631" y="52780"/>
                    <a:pt x="21945" y="64489"/>
                  </a:cubicBezTo>
                  <a:cubicBezTo>
                    <a:pt x="21792" y="67233"/>
                    <a:pt x="23012" y="70281"/>
                    <a:pt x="20357" y="72554"/>
                  </a:cubicBezTo>
                  <a:cubicBezTo>
                    <a:pt x="14935" y="70204"/>
                    <a:pt x="9385" y="68083"/>
                    <a:pt x="4508" y="64629"/>
                  </a:cubicBezTo>
                  <a:cubicBezTo>
                    <a:pt x="5079" y="53999"/>
                    <a:pt x="5689" y="43357"/>
                    <a:pt x="6172" y="32714"/>
                  </a:cubicBezTo>
                  <a:cubicBezTo>
                    <a:pt x="6273" y="30403"/>
                    <a:pt x="6629" y="27622"/>
                    <a:pt x="5562" y="25818"/>
                  </a:cubicBezTo>
                  <a:cubicBezTo>
                    <a:pt x="0" y="16370"/>
                    <a:pt x="4140" y="9753"/>
                    <a:pt x="11226" y="3682"/>
                  </a:cubicBezTo>
                  <a:cubicBezTo>
                    <a:pt x="12395" y="2692"/>
                    <a:pt x="13195" y="1295"/>
                    <a:pt x="14173" y="76"/>
                  </a:cubicBezTo>
                  <a:close/>
                </a:path>
              </a:pathLst>
            </a:custGeom>
            <a:solidFill>
              <a:srgbClr val="3A4C8D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6" name="Free Form 1417">
              <a:extLst>
                <a:ext uri="{FF2B5EF4-FFF2-40B4-BE49-F238E27FC236}">
                  <a16:creationId xmlns:a16="http://schemas.microsoft.com/office/drawing/2014/main" id="{FBDA0F78-A971-63C8-7698-57AFC7A5F2F2}"/>
                </a:ext>
              </a:extLst>
            </p:cNvPr>
            <p:cNvSpPr/>
            <p:nvPr/>
          </p:nvSpPr>
          <p:spPr>
            <a:xfrm>
              <a:off x="4621612" y="4984848"/>
              <a:ext cx="16045" cy="82043"/>
            </a:xfrm>
            <a:custGeom>
              <a:avLst/>
              <a:gdLst/>
              <a:ahLst/>
              <a:cxnLst/>
              <a:rect l="0" t="0" r="0" b="0"/>
              <a:pathLst>
                <a:path w="12725" h="59689">
                  <a:moveTo>
                    <a:pt x="6489" y="59689"/>
                  </a:moveTo>
                  <a:cubicBezTo>
                    <a:pt x="1841" y="58901"/>
                    <a:pt x="0" y="56031"/>
                    <a:pt x="25" y="51459"/>
                  </a:cubicBezTo>
                  <a:cubicBezTo>
                    <a:pt x="101" y="37159"/>
                    <a:pt x="101" y="22859"/>
                    <a:pt x="25" y="8547"/>
                  </a:cubicBezTo>
                  <a:cubicBezTo>
                    <a:pt x="0" y="4178"/>
                    <a:pt x="1117" y="330"/>
                    <a:pt x="6032" y="177"/>
                  </a:cubicBezTo>
                  <a:cubicBezTo>
                    <a:pt x="11467" y="0"/>
                    <a:pt x="12649" y="4038"/>
                    <a:pt x="12623" y="8724"/>
                  </a:cubicBezTo>
                  <a:cubicBezTo>
                    <a:pt x="12560" y="22770"/>
                    <a:pt x="12496" y="36816"/>
                    <a:pt x="12687" y="50850"/>
                  </a:cubicBezTo>
                  <a:cubicBezTo>
                    <a:pt x="12725" y="54279"/>
                    <a:pt x="11493" y="56857"/>
                    <a:pt x="9435" y="59295"/>
                  </a:cubicBezTo>
                  <a:cubicBezTo>
                    <a:pt x="8458" y="59422"/>
                    <a:pt x="7467" y="59562"/>
                    <a:pt x="6489" y="59689"/>
                  </a:cubicBezTo>
                  <a:close/>
                </a:path>
              </a:pathLst>
            </a:custGeom>
            <a:solidFill>
              <a:srgbClr val="4B5D9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7" name="Free Form 1418">
              <a:extLst>
                <a:ext uri="{FF2B5EF4-FFF2-40B4-BE49-F238E27FC236}">
                  <a16:creationId xmlns:a16="http://schemas.microsoft.com/office/drawing/2014/main" id="{1F8DF41C-1BB0-1AC6-3C97-5532627E5849}"/>
                </a:ext>
              </a:extLst>
            </p:cNvPr>
            <p:cNvSpPr/>
            <p:nvPr/>
          </p:nvSpPr>
          <p:spPr>
            <a:xfrm>
              <a:off x="4455352" y="5066308"/>
              <a:ext cx="34684" cy="43413"/>
            </a:xfrm>
            <a:custGeom>
              <a:avLst/>
              <a:gdLst/>
              <a:ahLst/>
              <a:cxnLst/>
              <a:rect l="0" t="0" r="0" b="0"/>
              <a:pathLst>
                <a:path w="27507" h="31584">
                  <a:moveTo>
                    <a:pt x="0" y="31482"/>
                  </a:moveTo>
                  <a:cubicBezTo>
                    <a:pt x="50" y="21056"/>
                    <a:pt x="114" y="10629"/>
                    <a:pt x="165" y="190"/>
                  </a:cubicBezTo>
                  <a:cubicBezTo>
                    <a:pt x="1104" y="126"/>
                    <a:pt x="2057" y="63"/>
                    <a:pt x="3009" y="0"/>
                  </a:cubicBezTo>
                  <a:cubicBezTo>
                    <a:pt x="5892" y="4660"/>
                    <a:pt x="11125" y="5270"/>
                    <a:pt x="15531" y="7378"/>
                  </a:cubicBezTo>
                  <a:cubicBezTo>
                    <a:pt x="18529" y="8813"/>
                    <a:pt x="22059" y="9575"/>
                    <a:pt x="23837" y="12890"/>
                  </a:cubicBezTo>
                  <a:cubicBezTo>
                    <a:pt x="26530" y="18960"/>
                    <a:pt x="27507" y="25158"/>
                    <a:pt x="25183" y="31584"/>
                  </a:cubicBezTo>
                  <a:cubicBezTo>
                    <a:pt x="16789" y="31546"/>
                    <a:pt x="8394" y="31521"/>
                    <a:pt x="0" y="31482"/>
                  </a:cubicBezTo>
                  <a:close/>
                </a:path>
              </a:pathLst>
            </a:custGeom>
            <a:solidFill>
              <a:srgbClr val="9D7DA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8" name="Free Form 1419">
              <a:extLst>
                <a:ext uri="{FF2B5EF4-FFF2-40B4-BE49-F238E27FC236}">
                  <a16:creationId xmlns:a16="http://schemas.microsoft.com/office/drawing/2014/main" id="{98A63E35-743F-D3C9-0999-ACD922F8224D}"/>
                </a:ext>
              </a:extLst>
            </p:cNvPr>
            <p:cNvSpPr/>
            <p:nvPr/>
          </p:nvSpPr>
          <p:spPr>
            <a:xfrm>
              <a:off x="4485370" y="5084028"/>
              <a:ext cx="51017" cy="25697"/>
            </a:xfrm>
            <a:custGeom>
              <a:avLst/>
              <a:gdLst/>
              <a:ahLst/>
              <a:cxnLst/>
              <a:rect l="0" t="0" r="0" b="0"/>
              <a:pathLst>
                <a:path w="40461" h="18694">
                  <a:moveTo>
                    <a:pt x="1371" y="18694"/>
                  </a:moveTo>
                  <a:cubicBezTo>
                    <a:pt x="25" y="12534"/>
                    <a:pt x="0" y="6273"/>
                    <a:pt x="38" y="0"/>
                  </a:cubicBezTo>
                  <a:cubicBezTo>
                    <a:pt x="14249" y="4584"/>
                    <a:pt x="27469" y="11328"/>
                    <a:pt x="40461" y="18554"/>
                  </a:cubicBezTo>
                  <a:cubicBezTo>
                    <a:pt x="27431" y="18605"/>
                    <a:pt x="14401" y="18643"/>
                    <a:pt x="1371" y="18694"/>
                  </a:cubicBezTo>
                  <a:close/>
                </a:path>
              </a:pathLst>
            </a:custGeom>
            <a:solidFill>
              <a:srgbClr val="7182B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49" name="Free Form 1420">
              <a:extLst>
                <a:ext uri="{FF2B5EF4-FFF2-40B4-BE49-F238E27FC236}">
                  <a16:creationId xmlns:a16="http://schemas.microsoft.com/office/drawing/2014/main" id="{52363B59-2D34-5BFA-3D8E-9B334EA51F1E}"/>
                </a:ext>
              </a:extLst>
            </p:cNvPr>
            <p:cNvSpPr/>
            <p:nvPr/>
          </p:nvSpPr>
          <p:spPr>
            <a:xfrm>
              <a:off x="4320869" y="4920591"/>
              <a:ext cx="19744" cy="25067"/>
            </a:xfrm>
            <a:custGeom>
              <a:avLst/>
              <a:gdLst/>
              <a:ahLst/>
              <a:cxnLst/>
              <a:rect l="0" t="0" r="0" b="0"/>
              <a:pathLst>
                <a:path w="15658" h="18237">
                  <a:moveTo>
                    <a:pt x="0" y="1308"/>
                  </a:moveTo>
                  <a:cubicBezTo>
                    <a:pt x="5029" y="3809"/>
                    <a:pt x="9982" y="2590"/>
                    <a:pt x="15658" y="0"/>
                  </a:cubicBezTo>
                  <a:cubicBezTo>
                    <a:pt x="14198" y="4521"/>
                    <a:pt x="11696" y="7327"/>
                    <a:pt x="8826" y="8242"/>
                  </a:cubicBezTo>
                  <a:cubicBezTo>
                    <a:pt x="3543" y="9918"/>
                    <a:pt x="1612" y="13715"/>
                    <a:pt x="63" y="18237"/>
                  </a:cubicBezTo>
                  <a:cubicBezTo>
                    <a:pt x="50" y="12598"/>
                    <a:pt x="25" y="6946"/>
                    <a:pt x="0" y="1308"/>
                  </a:cubicBezTo>
                  <a:close/>
                </a:path>
              </a:pathLst>
            </a:custGeom>
            <a:solidFill>
              <a:srgbClr val="192A5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0" name="Free Form 1421">
              <a:extLst>
                <a:ext uri="{FF2B5EF4-FFF2-40B4-BE49-F238E27FC236}">
                  <a16:creationId xmlns:a16="http://schemas.microsoft.com/office/drawing/2014/main" id="{F27B8CF2-EB87-C743-D9E5-69EA83CBA67E}"/>
                </a:ext>
              </a:extLst>
            </p:cNvPr>
            <p:cNvSpPr/>
            <p:nvPr/>
          </p:nvSpPr>
          <p:spPr>
            <a:xfrm>
              <a:off x="3903860" y="5025538"/>
              <a:ext cx="12827" cy="15344"/>
            </a:xfrm>
            <a:custGeom>
              <a:avLst/>
              <a:gdLst/>
              <a:ahLst/>
              <a:cxnLst/>
              <a:rect l="0" t="0" r="0" b="0"/>
              <a:pathLst>
                <a:path w="10172" h="11163">
                  <a:moveTo>
                    <a:pt x="7302" y="0"/>
                  </a:moveTo>
                  <a:cubicBezTo>
                    <a:pt x="10172" y="3670"/>
                    <a:pt x="9969" y="7404"/>
                    <a:pt x="7480" y="11163"/>
                  </a:cubicBezTo>
                  <a:cubicBezTo>
                    <a:pt x="2057" y="7531"/>
                    <a:pt x="0" y="3835"/>
                    <a:pt x="7302" y="0"/>
                  </a:cubicBezTo>
                  <a:close/>
                </a:path>
              </a:pathLst>
            </a:custGeom>
            <a:solidFill>
              <a:srgbClr val="43508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1" name="Free Form 1422">
              <a:extLst>
                <a:ext uri="{FF2B5EF4-FFF2-40B4-BE49-F238E27FC236}">
                  <a16:creationId xmlns:a16="http://schemas.microsoft.com/office/drawing/2014/main" id="{E5D6182C-6C7C-70B9-A45D-29FE5672CE29}"/>
                </a:ext>
              </a:extLst>
            </p:cNvPr>
            <p:cNvSpPr/>
            <p:nvPr/>
          </p:nvSpPr>
          <p:spPr>
            <a:xfrm>
              <a:off x="4551603" y="4918727"/>
              <a:ext cx="19024" cy="17543"/>
            </a:xfrm>
            <a:custGeom>
              <a:avLst/>
              <a:gdLst/>
              <a:ahLst/>
              <a:cxnLst/>
              <a:rect l="0" t="0" r="0" b="0"/>
              <a:pathLst>
                <a:path w="15087" h="12763">
                  <a:moveTo>
                    <a:pt x="15087" y="0"/>
                  </a:moveTo>
                  <a:cubicBezTo>
                    <a:pt x="13512" y="6007"/>
                    <a:pt x="9905" y="8699"/>
                    <a:pt x="5778" y="10858"/>
                  </a:cubicBezTo>
                  <a:cubicBezTo>
                    <a:pt x="3936" y="11823"/>
                    <a:pt x="1638" y="12763"/>
                    <a:pt x="888" y="9702"/>
                  </a:cubicBezTo>
                  <a:cubicBezTo>
                    <a:pt x="368" y="7543"/>
                    <a:pt x="0" y="5092"/>
                    <a:pt x="3225" y="4140"/>
                  </a:cubicBezTo>
                  <a:cubicBezTo>
                    <a:pt x="6845" y="3060"/>
                    <a:pt x="10363" y="1663"/>
                    <a:pt x="15087" y="0"/>
                  </a:cubicBezTo>
                  <a:close/>
                </a:path>
              </a:pathLst>
            </a:custGeom>
            <a:solidFill>
              <a:srgbClr val="192A5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2" name="Free Form 1423">
              <a:extLst>
                <a:ext uri="{FF2B5EF4-FFF2-40B4-BE49-F238E27FC236}">
                  <a16:creationId xmlns:a16="http://schemas.microsoft.com/office/drawing/2014/main" id="{B2ED04B6-B97D-6F3F-8215-6D6EF537A2AC}"/>
                </a:ext>
              </a:extLst>
            </p:cNvPr>
            <p:cNvSpPr/>
            <p:nvPr/>
          </p:nvSpPr>
          <p:spPr>
            <a:xfrm>
              <a:off x="3932139" y="4733086"/>
              <a:ext cx="15741" cy="14349"/>
            </a:xfrm>
            <a:custGeom>
              <a:avLst/>
              <a:gdLst/>
              <a:ahLst/>
              <a:cxnLst/>
              <a:rect l="0" t="0" r="0" b="0"/>
              <a:pathLst>
                <a:path w="12483" h="10439">
                  <a:moveTo>
                    <a:pt x="11747" y="10439"/>
                  </a:moveTo>
                  <a:cubicBezTo>
                    <a:pt x="6692" y="10147"/>
                    <a:pt x="2362" y="8597"/>
                    <a:pt x="0" y="3606"/>
                  </a:cubicBezTo>
                  <a:cubicBezTo>
                    <a:pt x="3860" y="5968"/>
                    <a:pt x="12483" y="0"/>
                    <a:pt x="11747" y="10439"/>
                  </a:cubicBezTo>
                  <a:close/>
                </a:path>
              </a:pathLst>
            </a:custGeom>
            <a:solidFill>
              <a:srgbClr val="192A5B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</p:grpSp>
      <p:grpSp>
        <p:nvGrpSpPr>
          <p:cNvPr id="1153" name="Group 1152">
            <a:extLst>
              <a:ext uri="{FF2B5EF4-FFF2-40B4-BE49-F238E27FC236}">
                <a16:creationId xmlns:a16="http://schemas.microsoft.com/office/drawing/2014/main" id="{E3813F3D-769C-3E1E-FA03-0F47F87709B0}"/>
              </a:ext>
            </a:extLst>
          </p:cNvPr>
          <p:cNvGrpSpPr/>
          <p:nvPr/>
        </p:nvGrpSpPr>
        <p:grpSpPr>
          <a:xfrm>
            <a:off x="1725913" y="756349"/>
            <a:ext cx="987852" cy="993130"/>
            <a:chOff x="24624685" y="29197252"/>
            <a:chExt cx="2010061" cy="1834788"/>
          </a:xfrm>
        </p:grpSpPr>
        <p:sp>
          <p:nvSpPr>
            <p:cNvPr id="1154" name="Free Form 3110">
              <a:extLst>
                <a:ext uri="{FF2B5EF4-FFF2-40B4-BE49-F238E27FC236}">
                  <a16:creationId xmlns:a16="http://schemas.microsoft.com/office/drawing/2014/main" id="{812DD32B-F796-34E4-5F9D-3960EFE8366E}"/>
                </a:ext>
              </a:extLst>
            </p:cNvPr>
            <p:cNvSpPr/>
            <p:nvPr/>
          </p:nvSpPr>
          <p:spPr>
            <a:xfrm>
              <a:off x="25474386" y="29197252"/>
              <a:ext cx="112990" cy="126440"/>
            </a:xfrm>
            <a:custGeom>
              <a:avLst/>
              <a:gdLst/>
              <a:ahLst/>
              <a:cxnLst/>
              <a:rect l="0" t="0" r="0" b="0"/>
              <a:pathLst>
                <a:path w="112990" h="126439">
                  <a:moveTo>
                    <a:pt x="0" y="57212"/>
                  </a:moveTo>
                  <a:lnTo>
                    <a:pt x="106031" y="126439"/>
                  </a:lnTo>
                  <a:lnTo>
                    <a:pt x="112990" y="0"/>
                  </a:ln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5" name="Free Form 3111">
              <a:extLst>
                <a:ext uri="{FF2B5EF4-FFF2-40B4-BE49-F238E27FC236}">
                  <a16:creationId xmlns:a16="http://schemas.microsoft.com/office/drawing/2014/main" id="{BFF825EB-9FEF-BC9D-F9A0-0D5CE69AB45F}"/>
                </a:ext>
              </a:extLst>
            </p:cNvPr>
            <p:cNvSpPr/>
            <p:nvPr/>
          </p:nvSpPr>
          <p:spPr>
            <a:xfrm>
              <a:off x="26096138" y="30589466"/>
              <a:ext cx="415387" cy="73253"/>
            </a:xfrm>
            <a:custGeom>
              <a:avLst/>
              <a:gdLst/>
              <a:ahLst/>
              <a:cxnLst/>
              <a:rect l="0" t="0" r="0" b="0"/>
              <a:pathLst>
                <a:path w="415387" h="73252">
                  <a:moveTo>
                    <a:pt x="39521" y="2247"/>
                  </a:moveTo>
                  <a:cubicBezTo>
                    <a:pt x="39521" y="2247"/>
                    <a:pt x="0" y="32460"/>
                    <a:pt x="37870" y="72198"/>
                  </a:cubicBezTo>
                  <a:cubicBezTo>
                    <a:pt x="38531" y="72871"/>
                    <a:pt x="39433" y="73252"/>
                    <a:pt x="40372" y="73252"/>
                  </a:cubicBezTo>
                  <a:lnTo>
                    <a:pt x="385885" y="71233"/>
                  </a:lnTo>
                  <a:cubicBezTo>
                    <a:pt x="385885" y="71233"/>
                    <a:pt x="415387" y="38137"/>
                    <a:pt x="390914" y="0"/>
                  </a:cubicBez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6" name="Free Form 3112">
              <a:extLst>
                <a:ext uri="{FF2B5EF4-FFF2-40B4-BE49-F238E27FC236}">
                  <a16:creationId xmlns:a16="http://schemas.microsoft.com/office/drawing/2014/main" id="{E7C22C20-CB77-5FEB-3532-3E9EC57D929D}"/>
                </a:ext>
              </a:extLst>
            </p:cNvPr>
            <p:cNvSpPr/>
            <p:nvPr/>
          </p:nvSpPr>
          <p:spPr>
            <a:xfrm>
              <a:off x="26213482" y="30622460"/>
              <a:ext cx="192175" cy="1423"/>
            </a:xfrm>
            <a:custGeom>
              <a:avLst/>
              <a:gdLst/>
              <a:ahLst/>
              <a:cxnLst/>
              <a:rect l="0" t="0" r="0" b="0"/>
              <a:pathLst>
                <a:path w="192174" h="1422">
                  <a:moveTo>
                    <a:pt x="192174" y="711"/>
                  </a:moveTo>
                  <a:cubicBezTo>
                    <a:pt x="192174" y="1104"/>
                    <a:pt x="149159" y="1422"/>
                    <a:pt x="96099" y="1422"/>
                  </a:cubicBezTo>
                  <a:cubicBezTo>
                    <a:pt x="43039" y="1422"/>
                    <a:pt x="0" y="1104"/>
                    <a:pt x="0" y="711"/>
                  </a:cubicBezTo>
                  <a:cubicBezTo>
                    <a:pt x="0" y="317"/>
                    <a:pt x="43014" y="0"/>
                    <a:pt x="96099" y="0"/>
                  </a:cubicBezTo>
                  <a:cubicBezTo>
                    <a:pt x="149185" y="0"/>
                    <a:pt x="192174" y="317"/>
                    <a:pt x="192174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7" name="Free Form 3113">
              <a:extLst>
                <a:ext uri="{FF2B5EF4-FFF2-40B4-BE49-F238E27FC236}">
                  <a16:creationId xmlns:a16="http://schemas.microsoft.com/office/drawing/2014/main" id="{589EAA11-7BC2-354B-662B-F76299573B16}"/>
                </a:ext>
              </a:extLst>
            </p:cNvPr>
            <p:cNvSpPr/>
            <p:nvPr/>
          </p:nvSpPr>
          <p:spPr>
            <a:xfrm>
              <a:off x="26261568" y="30634977"/>
              <a:ext cx="90347" cy="1397"/>
            </a:xfrm>
            <a:custGeom>
              <a:avLst/>
              <a:gdLst/>
              <a:ahLst/>
              <a:cxnLst/>
              <a:rect l="0" t="0" r="0" b="0"/>
              <a:pathLst>
                <a:path w="90346" h="1396">
                  <a:moveTo>
                    <a:pt x="90346" y="685"/>
                  </a:moveTo>
                  <a:cubicBezTo>
                    <a:pt x="90346" y="1079"/>
                    <a:pt x="70128" y="1396"/>
                    <a:pt x="45173" y="1396"/>
                  </a:cubicBezTo>
                  <a:cubicBezTo>
                    <a:pt x="20218" y="1396"/>
                    <a:pt x="0" y="1079"/>
                    <a:pt x="0" y="685"/>
                  </a:cubicBezTo>
                  <a:cubicBezTo>
                    <a:pt x="0" y="292"/>
                    <a:pt x="20218" y="0"/>
                    <a:pt x="45173" y="0"/>
                  </a:cubicBezTo>
                  <a:cubicBezTo>
                    <a:pt x="70128" y="0"/>
                    <a:pt x="90346" y="317"/>
                    <a:pt x="90346" y="68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8" name="Free Form 3114">
              <a:extLst>
                <a:ext uri="{FF2B5EF4-FFF2-40B4-BE49-F238E27FC236}">
                  <a16:creationId xmlns:a16="http://schemas.microsoft.com/office/drawing/2014/main" id="{834654F8-FD6C-51AD-B86F-7A4A1A0A1867}"/>
                </a:ext>
              </a:extLst>
            </p:cNvPr>
            <p:cNvSpPr/>
            <p:nvPr/>
          </p:nvSpPr>
          <p:spPr>
            <a:xfrm>
              <a:off x="26440088" y="30588540"/>
              <a:ext cx="6135" cy="71056"/>
            </a:xfrm>
            <a:custGeom>
              <a:avLst/>
              <a:gdLst/>
              <a:ahLst/>
              <a:cxnLst/>
              <a:rect l="0" t="0" r="0" b="0"/>
              <a:pathLst>
                <a:path w="6134" h="71055">
                  <a:moveTo>
                    <a:pt x="914" y="71055"/>
                  </a:moveTo>
                  <a:cubicBezTo>
                    <a:pt x="685" y="71055"/>
                    <a:pt x="1650" y="67080"/>
                    <a:pt x="2730" y="60692"/>
                  </a:cubicBezTo>
                  <a:cubicBezTo>
                    <a:pt x="4114" y="52361"/>
                    <a:pt x="4775" y="43928"/>
                    <a:pt x="4724" y="35483"/>
                  </a:cubicBezTo>
                  <a:cubicBezTo>
                    <a:pt x="4635" y="27038"/>
                    <a:pt x="3809" y="18605"/>
                    <a:pt x="2247" y="10299"/>
                  </a:cubicBezTo>
                  <a:cubicBezTo>
                    <a:pt x="1054" y="3936"/>
                    <a:pt x="0" y="50"/>
                    <a:pt x="228" y="0"/>
                  </a:cubicBezTo>
                  <a:cubicBezTo>
                    <a:pt x="685" y="825"/>
                    <a:pt x="1015" y="1714"/>
                    <a:pt x="1231" y="2628"/>
                  </a:cubicBezTo>
                  <a:cubicBezTo>
                    <a:pt x="2019" y="5092"/>
                    <a:pt x="2679" y="7581"/>
                    <a:pt x="3213" y="10096"/>
                  </a:cubicBezTo>
                  <a:cubicBezTo>
                    <a:pt x="5054" y="18440"/>
                    <a:pt x="6007" y="26949"/>
                    <a:pt x="6057" y="35483"/>
                  </a:cubicBezTo>
                  <a:cubicBezTo>
                    <a:pt x="6134" y="44005"/>
                    <a:pt x="5321" y="52513"/>
                    <a:pt x="3644" y="60870"/>
                  </a:cubicBezTo>
                  <a:cubicBezTo>
                    <a:pt x="2984" y="64070"/>
                    <a:pt x="2336" y="66547"/>
                    <a:pt x="1790" y="68388"/>
                  </a:cubicBezTo>
                  <a:cubicBezTo>
                    <a:pt x="1612" y="69315"/>
                    <a:pt x="1320" y="70204"/>
                    <a:pt x="914" y="7105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59" name="Free Form 3115">
              <a:extLst>
                <a:ext uri="{FF2B5EF4-FFF2-40B4-BE49-F238E27FC236}">
                  <a16:creationId xmlns:a16="http://schemas.microsoft.com/office/drawing/2014/main" id="{8D9EE03E-52E3-2938-3842-997E1FFC4D1E}"/>
                </a:ext>
              </a:extLst>
            </p:cNvPr>
            <p:cNvSpPr/>
            <p:nvPr/>
          </p:nvSpPr>
          <p:spPr>
            <a:xfrm>
              <a:off x="26466522" y="30589047"/>
              <a:ext cx="9957" cy="71716"/>
            </a:xfrm>
            <a:custGeom>
              <a:avLst/>
              <a:gdLst/>
              <a:ahLst/>
              <a:cxnLst/>
              <a:rect l="0" t="0" r="0" b="0"/>
              <a:pathLst>
                <a:path w="9956" h="71716">
                  <a:moveTo>
                    <a:pt x="317" y="0"/>
                  </a:moveTo>
                  <a:cubicBezTo>
                    <a:pt x="927" y="761"/>
                    <a:pt x="1447" y="1600"/>
                    <a:pt x="1854" y="2501"/>
                  </a:cubicBezTo>
                  <a:cubicBezTo>
                    <a:pt x="2425" y="3492"/>
                    <a:pt x="2933" y="4533"/>
                    <a:pt x="3378" y="5587"/>
                  </a:cubicBezTo>
                  <a:cubicBezTo>
                    <a:pt x="3924" y="6845"/>
                    <a:pt x="4597" y="8229"/>
                    <a:pt x="5143" y="9816"/>
                  </a:cubicBezTo>
                  <a:cubicBezTo>
                    <a:pt x="6553" y="13512"/>
                    <a:pt x="7658" y="17309"/>
                    <a:pt x="8432" y="21183"/>
                  </a:cubicBezTo>
                  <a:cubicBezTo>
                    <a:pt x="9372" y="25971"/>
                    <a:pt x="9867" y="30835"/>
                    <a:pt x="9943" y="35712"/>
                  </a:cubicBezTo>
                  <a:cubicBezTo>
                    <a:pt x="9956" y="40601"/>
                    <a:pt x="9524" y="45478"/>
                    <a:pt x="8661" y="50278"/>
                  </a:cubicBezTo>
                  <a:cubicBezTo>
                    <a:pt x="7950" y="54203"/>
                    <a:pt x="6921" y="58051"/>
                    <a:pt x="5562" y="61810"/>
                  </a:cubicBezTo>
                  <a:cubicBezTo>
                    <a:pt x="5079" y="63258"/>
                    <a:pt x="4508" y="64680"/>
                    <a:pt x="3860" y="66064"/>
                  </a:cubicBezTo>
                  <a:cubicBezTo>
                    <a:pt x="3441" y="67131"/>
                    <a:pt x="2946" y="68172"/>
                    <a:pt x="2387" y="69188"/>
                  </a:cubicBezTo>
                  <a:cubicBezTo>
                    <a:pt x="1993" y="70090"/>
                    <a:pt x="1485" y="70941"/>
                    <a:pt x="888" y="71716"/>
                  </a:cubicBezTo>
                  <a:cubicBezTo>
                    <a:pt x="660" y="71716"/>
                    <a:pt x="2590" y="67880"/>
                    <a:pt x="4635" y="61492"/>
                  </a:cubicBezTo>
                  <a:cubicBezTo>
                    <a:pt x="5841" y="57784"/>
                    <a:pt x="6794" y="53987"/>
                    <a:pt x="7467" y="50139"/>
                  </a:cubicBezTo>
                  <a:cubicBezTo>
                    <a:pt x="8216" y="45440"/>
                    <a:pt x="8585" y="40690"/>
                    <a:pt x="8610" y="35940"/>
                  </a:cubicBezTo>
                  <a:cubicBezTo>
                    <a:pt x="8521" y="31178"/>
                    <a:pt x="8064" y="26441"/>
                    <a:pt x="7238" y="21742"/>
                  </a:cubicBezTo>
                  <a:cubicBezTo>
                    <a:pt x="6553" y="17906"/>
                    <a:pt x="5600" y="14109"/>
                    <a:pt x="4406" y="10388"/>
                  </a:cubicBezTo>
                  <a:cubicBezTo>
                    <a:pt x="1993" y="3809"/>
                    <a:pt x="0" y="114"/>
                    <a:pt x="31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0" name="Free Form 3116">
              <a:extLst>
                <a:ext uri="{FF2B5EF4-FFF2-40B4-BE49-F238E27FC236}">
                  <a16:creationId xmlns:a16="http://schemas.microsoft.com/office/drawing/2014/main" id="{5CF8CBF2-770C-E74D-8F0C-1DD904A1E082}"/>
                </a:ext>
              </a:extLst>
            </p:cNvPr>
            <p:cNvSpPr/>
            <p:nvPr/>
          </p:nvSpPr>
          <p:spPr>
            <a:xfrm>
              <a:off x="26180395" y="30592424"/>
              <a:ext cx="10948" cy="67627"/>
            </a:xfrm>
            <a:custGeom>
              <a:avLst/>
              <a:gdLst/>
              <a:ahLst/>
              <a:cxnLst/>
              <a:rect l="0" t="0" r="0" b="0"/>
              <a:pathLst>
                <a:path w="10947" h="67626">
                  <a:moveTo>
                    <a:pt x="9804" y="67626"/>
                  </a:moveTo>
                  <a:cubicBezTo>
                    <a:pt x="9169" y="66940"/>
                    <a:pt x="8623" y="66166"/>
                    <a:pt x="8191" y="65328"/>
                  </a:cubicBezTo>
                  <a:cubicBezTo>
                    <a:pt x="7581" y="64426"/>
                    <a:pt x="7035" y="63473"/>
                    <a:pt x="6565" y="62483"/>
                  </a:cubicBezTo>
                  <a:cubicBezTo>
                    <a:pt x="5880" y="61200"/>
                    <a:pt x="5257" y="59867"/>
                    <a:pt x="4724" y="58508"/>
                  </a:cubicBezTo>
                  <a:cubicBezTo>
                    <a:pt x="3263" y="54990"/>
                    <a:pt x="2133" y="51345"/>
                    <a:pt x="1346" y="47611"/>
                  </a:cubicBezTo>
                  <a:cubicBezTo>
                    <a:pt x="444" y="43027"/>
                    <a:pt x="0" y="38366"/>
                    <a:pt x="12" y="33705"/>
                  </a:cubicBezTo>
                  <a:cubicBezTo>
                    <a:pt x="114" y="29031"/>
                    <a:pt x="698" y="24371"/>
                    <a:pt x="1739" y="19811"/>
                  </a:cubicBezTo>
                  <a:cubicBezTo>
                    <a:pt x="2616" y="16116"/>
                    <a:pt x="3835" y="12496"/>
                    <a:pt x="5372" y="9029"/>
                  </a:cubicBezTo>
                  <a:cubicBezTo>
                    <a:pt x="5994" y="7518"/>
                    <a:pt x="6743" y="6184"/>
                    <a:pt x="7340" y="5105"/>
                  </a:cubicBezTo>
                  <a:cubicBezTo>
                    <a:pt x="7835" y="4127"/>
                    <a:pt x="8407" y="3174"/>
                    <a:pt x="9042" y="2273"/>
                  </a:cubicBezTo>
                  <a:cubicBezTo>
                    <a:pt x="9486" y="1435"/>
                    <a:pt x="10045" y="673"/>
                    <a:pt x="10718" y="0"/>
                  </a:cubicBezTo>
                  <a:cubicBezTo>
                    <a:pt x="10947" y="139"/>
                    <a:pt x="8724" y="3492"/>
                    <a:pt x="6286" y="9397"/>
                  </a:cubicBezTo>
                  <a:cubicBezTo>
                    <a:pt x="4902" y="12864"/>
                    <a:pt x="3797" y="16446"/>
                    <a:pt x="2997" y="20103"/>
                  </a:cubicBezTo>
                  <a:cubicBezTo>
                    <a:pt x="2044" y="24586"/>
                    <a:pt x="1511" y="29146"/>
                    <a:pt x="1396" y="33730"/>
                  </a:cubicBezTo>
                  <a:cubicBezTo>
                    <a:pt x="1384" y="38302"/>
                    <a:pt x="1790" y="42887"/>
                    <a:pt x="2628" y="47383"/>
                  </a:cubicBezTo>
                  <a:cubicBezTo>
                    <a:pt x="3327" y="51053"/>
                    <a:pt x="4343" y="54660"/>
                    <a:pt x="5626" y="58178"/>
                  </a:cubicBezTo>
                  <a:cubicBezTo>
                    <a:pt x="7899" y="64108"/>
                    <a:pt x="10032" y="67487"/>
                    <a:pt x="9804" y="67626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1" name="Free Form 3117">
              <a:extLst>
                <a:ext uri="{FF2B5EF4-FFF2-40B4-BE49-F238E27FC236}">
                  <a16:creationId xmlns:a16="http://schemas.microsoft.com/office/drawing/2014/main" id="{3EA1CD61-F6CB-FD55-1D8E-90D8A8F639BE}"/>
                </a:ext>
              </a:extLst>
            </p:cNvPr>
            <p:cNvSpPr/>
            <p:nvPr/>
          </p:nvSpPr>
          <p:spPr>
            <a:xfrm>
              <a:off x="26141238" y="30591800"/>
              <a:ext cx="11887" cy="76682"/>
            </a:xfrm>
            <a:custGeom>
              <a:avLst/>
              <a:gdLst/>
              <a:ahLst/>
              <a:cxnLst/>
              <a:rect l="0" t="0" r="0" b="0"/>
              <a:pathLst>
                <a:path w="11887" h="76681">
                  <a:moveTo>
                    <a:pt x="11658" y="76681"/>
                  </a:moveTo>
                  <a:cubicBezTo>
                    <a:pt x="10959" y="75881"/>
                    <a:pt x="10363" y="75005"/>
                    <a:pt x="9867" y="74065"/>
                  </a:cubicBezTo>
                  <a:cubicBezTo>
                    <a:pt x="9194" y="73024"/>
                    <a:pt x="8597" y="71944"/>
                    <a:pt x="8051" y="70839"/>
                  </a:cubicBezTo>
                  <a:cubicBezTo>
                    <a:pt x="7429" y="69531"/>
                    <a:pt x="6629" y="67995"/>
                    <a:pt x="5981" y="66369"/>
                  </a:cubicBezTo>
                  <a:cubicBezTo>
                    <a:pt x="4292" y="62432"/>
                    <a:pt x="2971" y="58343"/>
                    <a:pt x="2031" y="54164"/>
                  </a:cubicBezTo>
                  <a:cubicBezTo>
                    <a:pt x="876" y="49046"/>
                    <a:pt x="228" y="43827"/>
                    <a:pt x="76" y="38582"/>
                  </a:cubicBezTo>
                  <a:cubicBezTo>
                    <a:pt x="0" y="33324"/>
                    <a:pt x="419" y="28079"/>
                    <a:pt x="1320" y="22910"/>
                  </a:cubicBezTo>
                  <a:cubicBezTo>
                    <a:pt x="2095" y="18706"/>
                    <a:pt x="3238" y="14566"/>
                    <a:pt x="4724" y="10566"/>
                  </a:cubicBezTo>
                  <a:cubicBezTo>
                    <a:pt x="5283" y="9016"/>
                    <a:pt x="5918" y="7492"/>
                    <a:pt x="6629" y="6019"/>
                  </a:cubicBezTo>
                  <a:cubicBezTo>
                    <a:pt x="7111" y="4876"/>
                    <a:pt x="7658" y="3771"/>
                    <a:pt x="8280" y="2692"/>
                  </a:cubicBezTo>
                  <a:cubicBezTo>
                    <a:pt x="8724" y="1727"/>
                    <a:pt x="9283" y="825"/>
                    <a:pt x="9956" y="0"/>
                  </a:cubicBezTo>
                  <a:cubicBezTo>
                    <a:pt x="10210" y="0"/>
                    <a:pt x="7988" y="4063"/>
                    <a:pt x="5664" y="10896"/>
                  </a:cubicBezTo>
                  <a:cubicBezTo>
                    <a:pt x="4317" y="14896"/>
                    <a:pt x="3289" y="18986"/>
                    <a:pt x="2603" y="23139"/>
                  </a:cubicBezTo>
                  <a:cubicBezTo>
                    <a:pt x="1765" y="28231"/>
                    <a:pt x="1384" y="33387"/>
                    <a:pt x="1460" y="38556"/>
                  </a:cubicBezTo>
                  <a:cubicBezTo>
                    <a:pt x="1625" y="43700"/>
                    <a:pt x="2235" y="48830"/>
                    <a:pt x="3276" y="53885"/>
                  </a:cubicBezTo>
                  <a:cubicBezTo>
                    <a:pt x="4152" y="58012"/>
                    <a:pt x="5359" y="62064"/>
                    <a:pt x="6883" y="66001"/>
                  </a:cubicBezTo>
                  <a:cubicBezTo>
                    <a:pt x="9499" y="72706"/>
                    <a:pt x="11887" y="76542"/>
                    <a:pt x="11658" y="7668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2" name="Free Form 3119">
              <a:extLst>
                <a:ext uri="{FF2B5EF4-FFF2-40B4-BE49-F238E27FC236}">
                  <a16:creationId xmlns:a16="http://schemas.microsoft.com/office/drawing/2014/main" id="{F08755AE-FACE-E3C5-B5FC-4CA7391C76A9}"/>
                </a:ext>
              </a:extLst>
            </p:cNvPr>
            <p:cNvSpPr/>
            <p:nvPr/>
          </p:nvSpPr>
          <p:spPr>
            <a:xfrm>
              <a:off x="26056106" y="30758876"/>
              <a:ext cx="419247" cy="78092"/>
            </a:xfrm>
            <a:custGeom>
              <a:avLst/>
              <a:gdLst/>
              <a:ahLst/>
              <a:cxnLst/>
              <a:rect l="0" t="0" r="0" b="0"/>
              <a:pathLst>
                <a:path w="419247" h="78091">
                  <a:moveTo>
                    <a:pt x="63" y="40715"/>
                  </a:moveTo>
                  <a:lnTo>
                    <a:pt x="63" y="42481"/>
                  </a:lnTo>
                  <a:cubicBezTo>
                    <a:pt x="1346" y="62521"/>
                    <a:pt x="18046" y="78091"/>
                    <a:pt x="38137" y="77964"/>
                  </a:cubicBezTo>
                  <a:lnTo>
                    <a:pt x="419247" y="77964"/>
                  </a:lnTo>
                  <a:lnTo>
                    <a:pt x="419247" y="73138"/>
                  </a:lnTo>
                  <a:lnTo>
                    <a:pt x="328774" y="73138"/>
                  </a:lnTo>
                  <a:cubicBezTo>
                    <a:pt x="310511" y="73138"/>
                    <a:pt x="295716" y="58343"/>
                    <a:pt x="295690" y="40093"/>
                  </a:cubicBezTo>
                  <a:cubicBezTo>
                    <a:pt x="295716" y="21831"/>
                    <a:pt x="310511" y="7035"/>
                    <a:pt x="328774" y="7010"/>
                  </a:cubicBezTo>
                  <a:lnTo>
                    <a:pt x="419247" y="7010"/>
                  </a:lnTo>
                  <a:lnTo>
                    <a:pt x="419247" y="0"/>
                  </a:lnTo>
                  <a:lnTo>
                    <a:pt x="38112" y="1282"/>
                  </a:lnTo>
                  <a:cubicBezTo>
                    <a:pt x="17043" y="1320"/>
                    <a:pt x="0" y="18414"/>
                    <a:pt x="38" y="39471"/>
                  </a:cubicBezTo>
                  <a:cubicBezTo>
                    <a:pt x="38" y="39890"/>
                    <a:pt x="50" y="40296"/>
                    <a:pt x="63" y="4071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3" name="Free Form 3125">
              <a:extLst>
                <a:ext uri="{FF2B5EF4-FFF2-40B4-BE49-F238E27FC236}">
                  <a16:creationId xmlns:a16="http://schemas.microsoft.com/office/drawing/2014/main" id="{8F11BD4E-9C7B-43C7-0836-EDF140C4FF1A}"/>
                </a:ext>
              </a:extLst>
            </p:cNvPr>
            <p:cNvSpPr/>
            <p:nvPr/>
          </p:nvSpPr>
          <p:spPr>
            <a:xfrm>
              <a:off x="26080705" y="30761292"/>
              <a:ext cx="22504" cy="75830"/>
            </a:xfrm>
            <a:custGeom>
              <a:avLst/>
              <a:gdLst/>
              <a:ahLst/>
              <a:cxnLst/>
              <a:rect l="0" t="0" r="0" b="0"/>
              <a:pathLst>
                <a:path w="22504" h="75830">
                  <a:moveTo>
                    <a:pt x="21627" y="0"/>
                  </a:moveTo>
                  <a:cubicBezTo>
                    <a:pt x="18694" y="3009"/>
                    <a:pt x="15989" y="6222"/>
                    <a:pt x="13538" y="9626"/>
                  </a:cubicBezTo>
                  <a:cubicBezTo>
                    <a:pt x="1625" y="26758"/>
                    <a:pt x="1879" y="49554"/>
                    <a:pt x="14185" y="66407"/>
                  </a:cubicBezTo>
                  <a:cubicBezTo>
                    <a:pt x="16738" y="69734"/>
                    <a:pt x="19519" y="72884"/>
                    <a:pt x="22504" y="75830"/>
                  </a:cubicBezTo>
                  <a:cubicBezTo>
                    <a:pt x="21488" y="75272"/>
                    <a:pt x="20535" y="74599"/>
                    <a:pt x="19672" y="73811"/>
                  </a:cubicBezTo>
                  <a:cubicBezTo>
                    <a:pt x="17322" y="71766"/>
                    <a:pt x="15189" y="69480"/>
                    <a:pt x="13309" y="67004"/>
                  </a:cubicBezTo>
                  <a:cubicBezTo>
                    <a:pt x="279" y="50012"/>
                    <a:pt x="0" y="26466"/>
                    <a:pt x="12623" y="9169"/>
                  </a:cubicBezTo>
                  <a:cubicBezTo>
                    <a:pt x="14439" y="6629"/>
                    <a:pt x="16522" y="4305"/>
                    <a:pt x="18846" y="2209"/>
                  </a:cubicBezTo>
                  <a:cubicBezTo>
                    <a:pt x="19659" y="1346"/>
                    <a:pt x="20599" y="609"/>
                    <a:pt x="21627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4" name="Free Form 3126">
              <a:extLst>
                <a:ext uri="{FF2B5EF4-FFF2-40B4-BE49-F238E27FC236}">
                  <a16:creationId xmlns:a16="http://schemas.microsoft.com/office/drawing/2014/main" id="{33689CA3-1A17-778F-3754-26C78C9248F3}"/>
                </a:ext>
              </a:extLst>
            </p:cNvPr>
            <p:cNvSpPr/>
            <p:nvPr/>
          </p:nvSpPr>
          <p:spPr>
            <a:xfrm>
              <a:off x="26067800" y="30759901"/>
              <a:ext cx="22516" cy="75691"/>
            </a:xfrm>
            <a:custGeom>
              <a:avLst/>
              <a:gdLst/>
              <a:ahLst/>
              <a:cxnLst/>
              <a:rect l="0" t="0" r="0" b="0"/>
              <a:pathLst>
                <a:path w="22516" h="75691">
                  <a:moveTo>
                    <a:pt x="21640" y="0"/>
                  </a:moveTo>
                  <a:cubicBezTo>
                    <a:pt x="18694" y="2984"/>
                    <a:pt x="15989" y="6210"/>
                    <a:pt x="13550" y="9626"/>
                  </a:cubicBezTo>
                  <a:cubicBezTo>
                    <a:pt x="1727" y="26733"/>
                    <a:pt x="1993" y="49440"/>
                    <a:pt x="14198" y="66267"/>
                  </a:cubicBezTo>
                  <a:cubicBezTo>
                    <a:pt x="16738" y="69607"/>
                    <a:pt x="19519" y="72757"/>
                    <a:pt x="22516" y="75691"/>
                  </a:cubicBezTo>
                  <a:cubicBezTo>
                    <a:pt x="21488" y="75145"/>
                    <a:pt x="20535" y="74472"/>
                    <a:pt x="19684" y="73671"/>
                  </a:cubicBezTo>
                  <a:cubicBezTo>
                    <a:pt x="17322" y="71639"/>
                    <a:pt x="15176" y="69353"/>
                    <a:pt x="13296" y="66864"/>
                  </a:cubicBezTo>
                  <a:cubicBezTo>
                    <a:pt x="279" y="49872"/>
                    <a:pt x="0" y="26339"/>
                    <a:pt x="12610" y="9055"/>
                  </a:cubicBezTo>
                  <a:cubicBezTo>
                    <a:pt x="14439" y="6515"/>
                    <a:pt x="16522" y="4178"/>
                    <a:pt x="18833" y="2070"/>
                  </a:cubicBezTo>
                  <a:cubicBezTo>
                    <a:pt x="19659" y="1244"/>
                    <a:pt x="20611" y="546"/>
                    <a:pt x="21640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5" name="Free Form 3127">
              <a:extLst>
                <a:ext uri="{FF2B5EF4-FFF2-40B4-BE49-F238E27FC236}">
                  <a16:creationId xmlns:a16="http://schemas.microsoft.com/office/drawing/2014/main" id="{45D35257-7808-08B5-91B8-C81F13A42E9B}"/>
                </a:ext>
              </a:extLst>
            </p:cNvPr>
            <p:cNvSpPr/>
            <p:nvPr/>
          </p:nvSpPr>
          <p:spPr>
            <a:xfrm>
              <a:off x="26326684" y="30761292"/>
              <a:ext cx="22529" cy="75830"/>
            </a:xfrm>
            <a:custGeom>
              <a:avLst/>
              <a:gdLst/>
              <a:ahLst/>
              <a:cxnLst/>
              <a:rect l="0" t="0" r="0" b="0"/>
              <a:pathLst>
                <a:path w="22529" h="75830">
                  <a:moveTo>
                    <a:pt x="21653" y="0"/>
                  </a:moveTo>
                  <a:cubicBezTo>
                    <a:pt x="18719" y="3009"/>
                    <a:pt x="16014" y="6222"/>
                    <a:pt x="13563" y="9626"/>
                  </a:cubicBezTo>
                  <a:cubicBezTo>
                    <a:pt x="1676" y="26758"/>
                    <a:pt x="1943" y="49542"/>
                    <a:pt x="14211" y="66407"/>
                  </a:cubicBezTo>
                  <a:cubicBezTo>
                    <a:pt x="16763" y="69734"/>
                    <a:pt x="19545" y="72884"/>
                    <a:pt x="22529" y="75830"/>
                  </a:cubicBezTo>
                  <a:cubicBezTo>
                    <a:pt x="21513" y="75272"/>
                    <a:pt x="20548" y="74599"/>
                    <a:pt x="19697" y="73811"/>
                  </a:cubicBezTo>
                  <a:cubicBezTo>
                    <a:pt x="17335" y="71779"/>
                    <a:pt x="15189" y="69493"/>
                    <a:pt x="13309" y="67004"/>
                  </a:cubicBezTo>
                  <a:cubicBezTo>
                    <a:pt x="279" y="50012"/>
                    <a:pt x="0" y="26466"/>
                    <a:pt x="12623" y="9169"/>
                  </a:cubicBezTo>
                  <a:cubicBezTo>
                    <a:pt x="14439" y="6642"/>
                    <a:pt x="16522" y="4305"/>
                    <a:pt x="18846" y="2209"/>
                  </a:cubicBezTo>
                  <a:cubicBezTo>
                    <a:pt x="19672" y="1346"/>
                    <a:pt x="20611" y="609"/>
                    <a:pt x="21653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6" name="Free Form 3128">
              <a:extLst>
                <a:ext uri="{FF2B5EF4-FFF2-40B4-BE49-F238E27FC236}">
                  <a16:creationId xmlns:a16="http://schemas.microsoft.com/office/drawing/2014/main" id="{850E6F6D-6792-A6BA-7930-C97C49B86780}"/>
                </a:ext>
              </a:extLst>
            </p:cNvPr>
            <p:cNvSpPr/>
            <p:nvPr/>
          </p:nvSpPr>
          <p:spPr>
            <a:xfrm>
              <a:off x="26313858" y="30759901"/>
              <a:ext cx="22504" cy="75691"/>
            </a:xfrm>
            <a:custGeom>
              <a:avLst/>
              <a:gdLst/>
              <a:ahLst/>
              <a:cxnLst/>
              <a:rect l="0" t="0" r="0" b="0"/>
              <a:pathLst>
                <a:path w="22504" h="75691">
                  <a:moveTo>
                    <a:pt x="21589" y="0"/>
                  </a:moveTo>
                  <a:cubicBezTo>
                    <a:pt x="18656" y="2997"/>
                    <a:pt x="15951" y="6222"/>
                    <a:pt x="13499" y="9626"/>
                  </a:cubicBezTo>
                  <a:cubicBezTo>
                    <a:pt x="1663" y="26733"/>
                    <a:pt x="1943" y="49440"/>
                    <a:pt x="14185" y="66267"/>
                  </a:cubicBezTo>
                  <a:cubicBezTo>
                    <a:pt x="16700" y="69620"/>
                    <a:pt x="19481" y="72770"/>
                    <a:pt x="22504" y="75691"/>
                  </a:cubicBezTo>
                  <a:cubicBezTo>
                    <a:pt x="21462" y="75157"/>
                    <a:pt x="20497" y="74484"/>
                    <a:pt x="19659" y="73671"/>
                  </a:cubicBezTo>
                  <a:cubicBezTo>
                    <a:pt x="17297" y="71639"/>
                    <a:pt x="15163" y="69353"/>
                    <a:pt x="13296" y="66864"/>
                  </a:cubicBezTo>
                  <a:cubicBezTo>
                    <a:pt x="279" y="49872"/>
                    <a:pt x="0" y="26339"/>
                    <a:pt x="12610" y="9055"/>
                  </a:cubicBezTo>
                  <a:cubicBezTo>
                    <a:pt x="14427" y="6515"/>
                    <a:pt x="16509" y="4178"/>
                    <a:pt x="18808" y="2070"/>
                  </a:cubicBezTo>
                  <a:cubicBezTo>
                    <a:pt x="19633" y="1257"/>
                    <a:pt x="20561" y="558"/>
                    <a:pt x="21589" y="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7" name="Free Form 3131">
              <a:extLst>
                <a:ext uri="{FF2B5EF4-FFF2-40B4-BE49-F238E27FC236}">
                  <a16:creationId xmlns:a16="http://schemas.microsoft.com/office/drawing/2014/main" id="{551AA5D8-2417-DEBC-8414-E3B04FAB9D39}"/>
                </a:ext>
              </a:extLst>
            </p:cNvPr>
            <p:cNvSpPr/>
            <p:nvPr/>
          </p:nvSpPr>
          <p:spPr>
            <a:xfrm>
              <a:off x="26119450" y="30695990"/>
              <a:ext cx="35293" cy="62661"/>
            </a:xfrm>
            <a:custGeom>
              <a:avLst/>
              <a:gdLst/>
              <a:ahLst/>
              <a:cxnLst/>
              <a:rect l="0" t="0" r="0" b="0"/>
              <a:pathLst>
                <a:path w="35292" h="62661">
                  <a:moveTo>
                    <a:pt x="711" y="62661"/>
                  </a:moveTo>
                  <a:lnTo>
                    <a:pt x="0" y="0"/>
                  </a:lnTo>
                  <a:lnTo>
                    <a:pt x="34124" y="0"/>
                  </a:lnTo>
                  <a:lnTo>
                    <a:pt x="35292" y="62661"/>
                  </a:ln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8" name="Free Form 3132">
              <a:extLst>
                <a:ext uri="{FF2B5EF4-FFF2-40B4-BE49-F238E27FC236}">
                  <a16:creationId xmlns:a16="http://schemas.microsoft.com/office/drawing/2014/main" id="{F95CE2C2-3659-4645-1B3B-289321F58D4D}"/>
                </a:ext>
              </a:extLst>
            </p:cNvPr>
            <p:cNvSpPr/>
            <p:nvPr/>
          </p:nvSpPr>
          <p:spPr>
            <a:xfrm>
              <a:off x="26119991" y="30706179"/>
              <a:ext cx="31711" cy="1867"/>
            </a:xfrm>
            <a:custGeom>
              <a:avLst/>
              <a:gdLst/>
              <a:ahLst/>
              <a:cxnLst/>
              <a:rect l="0" t="0" r="0" b="0"/>
              <a:pathLst>
                <a:path w="31711" h="1866">
                  <a:moveTo>
                    <a:pt x="31711" y="914"/>
                  </a:moveTo>
                  <a:cubicBezTo>
                    <a:pt x="21157" y="1866"/>
                    <a:pt x="10553" y="1866"/>
                    <a:pt x="0" y="914"/>
                  </a:cubicBezTo>
                  <a:cubicBezTo>
                    <a:pt x="10553" y="0"/>
                    <a:pt x="21157" y="0"/>
                    <a:pt x="31711" y="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69" name="Free Form 3133">
              <a:extLst>
                <a:ext uri="{FF2B5EF4-FFF2-40B4-BE49-F238E27FC236}">
                  <a16:creationId xmlns:a16="http://schemas.microsoft.com/office/drawing/2014/main" id="{839D61BA-1F5B-423E-2229-CD8C4D3D1517}"/>
                </a:ext>
              </a:extLst>
            </p:cNvPr>
            <p:cNvSpPr/>
            <p:nvPr/>
          </p:nvSpPr>
          <p:spPr>
            <a:xfrm>
              <a:off x="26119991" y="30715890"/>
              <a:ext cx="31711" cy="1866"/>
            </a:xfrm>
            <a:custGeom>
              <a:avLst/>
              <a:gdLst/>
              <a:ahLst/>
              <a:cxnLst/>
              <a:rect l="0" t="0" r="0" b="0"/>
              <a:pathLst>
                <a:path w="31711" h="1866">
                  <a:moveTo>
                    <a:pt x="31711" y="914"/>
                  </a:moveTo>
                  <a:cubicBezTo>
                    <a:pt x="21157" y="1866"/>
                    <a:pt x="10553" y="1866"/>
                    <a:pt x="0" y="914"/>
                  </a:cubicBezTo>
                  <a:cubicBezTo>
                    <a:pt x="10553" y="0"/>
                    <a:pt x="21157" y="0"/>
                    <a:pt x="31711" y="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0" name="Free Form 3134">
              <a:extLst>
                <a:ext uri="{FF2B5EF4-FFF2-40B4-BE49-F238E27FC236}">
                  <a16:creationId xmlns:a16="http://schemas.microsoft.com/office/drawing/2014/main" id="{9F75AA60-71F7-8255-2F96-5635E28A5BBD}"/>
                </a:ext>
              </a:extLst>
            </p:cNvPr>
            <p:cNvSpPr/>
            <p:nvPr/>
          </p:nvSpPr>
          <p:spPr>
            <a:xfrm>
              <a:off x="26119991" y="30725545"/>
              <a:ext cx="31711" cy="1854"/>
            </a:xfrm>
            <a:custGeom>
              <a:avLst/>
              <a:gdLst/>
              <a:ahLst/>
              <a:cxnLst/>
              <a:rect l="0" t="0" r="0" b="0"/>
              <a:pathLst>
                <a:path w="31711" h="1854">
                  <a:moveTo>
                    <a:pt x="31711" y="939"/>
                  </a:moveTo>
                  <a:cubicBezTo>
                    <a:pt x="21157" y="1854"/>
                    <a:pt x="10553" y="1854"/>
                    <a:pt x="0" y="939"/>
                  </a:cubicBezTo>
                  <a:cubicBezTo>
                    <a:pt x="10553" y="0"/>
                    <a:pt x="21157" y="0"/>
                    <a:pt x="31711" y="93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1" name="Free Form 3135">
              <a:extLst>
                <a:ext uri="{FF2B5EF4-FFF2-40B4-BE49-F238E27FC236}">
                  <a16:creationId xmlns:a16="http://schemas.microsoft.com/office/drawing/2014/main" id="{A239EEC4-D872-CC04-304B-1BAA677857FC}"/>
                </a:ext>
              </a:extLst>
            </p:cNvPr>
            <p:cNvSpPr/>
            <p:nvPr/>
          </p:nvSpPr>
          <p:spPr>
            <a:xfrm>
              <a:off x="26119991" y="30735226"/>
              <a:ext cx="31711" cy="1855"/>
            </a:xfrm>
            <a:custGeom>
              <a:avLst/>
              <a:gdLst/>
              <a:ahLst/>
              <a:cxnLst/>
              <a:rect l="0" t="0" r="0" b="0"/>
              <a:pathLst>
                <a:path w="31711" h="1854">
                  <a:moveTo>
                    <a:pt x="31711" y="939"/>
                  </a:moveTo>
                  <a:cubicBezTo>
                    <a:pt x="21157" y="1854"/>
                    <a:pt x="10553" y="1854"/>
                    <a:pt x="0" y="939"/>
                  </a:cubicBezTo>
                  <a:cubicBezTo>
                    <a:pt x="10553" y="0"/>
                    <a:pt x="21157" y="0"/>
                    <a:pt x="31711" y="93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2" name="Free Form 3136">
              <a:extLst>
                <a:ext uri="{FF2B5EF4-FFF2-40B4-BE49-F238E27FC236}">
                  <a16:creationId xmlns:a16="http://schemas.microsoft.com/office/drawing/2014/main" id="{37D83397-F107-8072-8B16-09863AC5631A}"/>
                </a:ext>
              </a:extLst>
            </p:cNvPr>
            <p:cNvSpPr/>
            <p:nvPr/>
          </p:nvSpPr>
          <p:spPr>
            <a:xfrm>
              <a:off x="26119991" y="30744905"/>
              <a:ext cx="31711" cy="1854"/>
            </a:xfrm>
            <a:custGeom>
              <a:avLst/>
              <a:gdLst/>
              <a:ahLst/>
              <a:cxnLst/>
              <a:rect l="0" t="0" r="0" b="0"/>
              <a:pathLst>
                <a:path w="31711" h="1854">
                  <a:moveTo>
                    <a:pt x="31711" y="914"/>
                  </a:moveTo>
                  <a:cubicBezTo>
                    <a:pt x="21157" y="1854"/>
                    <a:pt x="10553" y="1854"/>
                    <a:pt x="0" y="914"/>
                  </a:cubicBezTo>
                  <a:cubicBezTo>
                    <a:pt x="10553" y="0"/>
                    <a:pt x="21157" y="0"/>
                    <a:pt x="31711" y="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3" name="Free Form 3137">
              <a:extLst>
                <a:ext uri="{FF2B5EF4-FFF2-40B4-BE49-F238E27FC236}">
                  <a16:creationId xmlns:a16="http://schemas.microsoft.com/office/drawing/2014/main" id="{3531083B-DC77-1535-F804-ADBEEA428BF5}"/>
                </a:ext>
              </a:extLst>
            </p:cNvPr>
            <p:cNvSpPr/>
            <p:nvPr/>
          </p:nvSpPr>
          <p:spPr>
            <a:xfrm>
              <a:off x="26117634" y="30694318"/>
              <a:ext cx="382786" cy="67741"/>
            </a:xfrm>
            <a:custGeom>
              <a:avLst/>
              <a:gdLst/>
              <a:ahLst/>
              <a:cxnLst/>
              <a:rect l="0" t="0" r="0" b="0"/>
              <a:pathLst>
                <a:path w="382786" h="67741">
                  <a:moveTo>
                    <a:pt x="0" y="0"/>
                  </a:moveTo>
                  <a:lnTo>
                    <a:pt x="378100" y="0"/>
                  </a:lnTo>
                  <a:cubicBezTo>
                    <a:pt x="382786" y="20751"/>
                    <a:pt x="382113" y="43611"/>
                    <a:pt x="378100" y="67741"/>
                  </a:cubicBezTo>
                  <a:lnTo>
                    <a:pt x="1612" y="67741"/>
                  </a:lnTo>
                  <a:lnTo>
                    <a:pt x="1612" y="63143"/>
                  </a:lnTo>
                  <a:lnTo>
                    <a:pt x="24637" y="63143"/>
                  </a:lnTo>
                  <a:cubicBezTo>
                    <a:pt x="30632" y="63143"/>
                    <a:pt x="35483" y="58279"/>
                    <a:pt x="35483" y="52298"/>
                  </a:cubicBezTo>
                  <a:lnTo>
                    <a:pt x="35483" y="52272"/>
                  </a:lnTo>
                  <a:lnTo>
                    <a:pt x="35483" y="14795"/>
                  </a:lnTo>
                  <a:cubicBezTo>
                    <a:pt x="35483" y="8801"/>
                    <a:pt x="30632" y="3936"/>
                    <a:pt x="24637" y="3911"/>
                  </a:cubicBezTo>
                  <a:lnTo>
                    <a:pt x="0" y="3911"/>
                  </a:ln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4" name="Free Form 3138">
              <a:extLst>
                <a:ext uri="{FF2B5EF4-FFF2-40B4-BE49-F238E27FC236}">
                  <a16:creationId xmlns:a16="http://schemas.microsoft.com/office/drawing/2014/main" id="{660BA0A7-66D4-3863-8805-5DA1CB10DB88}"/>
                </a:ext>
              </a:extLst>
            </p:cNvPr>
            <p:cNvSpPr/>
            <p:nvPr/>
          </p:nvSpPr>
          <p:spPr>
            <a:xfrm>
              <a:off x="26197955" y="30714975"/>
              <a:ext cx="16764" cy="26619"/>
            </a:xfrm>
            <a:custGeom>
              <a:avLst/>
              <a:gdLst/>
              <a:ahLst/>
              <a:cxnLst/>
              <a:rect l="0" t="0" r="0" b="0"/>
              <a:pathLst>
                <a:path w="16763" h="26618">
                  <a:moveTo>
                    <a:pt x="9080" y="13271"/>
                  </a:moveTo>
                  <a:lnTo>
                    <a:pt x="15379" y="13271"/>
                  </a:lnTo>
                  <a:cubicBezTo>
                    <a:pt x="15620" y="13271"/>
                    <a:pt x="15849" y="13334"/>
                    <a:pt x="16065" y="13436"/>
                  </a:cubicBezTo>
                  <a:cubicBezTo>
                    <a:pt x="16497" y="13665"/>
                    <a:pt x="16763" y="14122"/>
                    <a:pt x="16751" y="14604"/>
                  </a:cubicBezTo>
                  <a:cubicBezTo>
                    <a:pt x="16763" y="14744"/>
                    <a:pt x="16763" y="14884"/>
                    <a:pt x="16751" y="15036"/>
                  </a:cubicBezTo>
                  <a:cubicBezTo>
                    <a:pt x="16751" y="15570"/>
                    <a:pt x="16484" y="16078"/>
                    <a:pt x="16319" y="16649"/>
                  </a:cubicBezTo>
                  <a:cubicBezTo>
                    <a:pt x="15570" y="19291"/>
                    <a:pt x="14223" y="21742"/>
                    <a:pt x="12369" y="23774"/>
                  </a:cubicBezTo>
                  <a:cubicBezTo>
                    <a:pt x="11061" y="25437"/>
                    <a:pt x="9118" y="26466"/>
                    <a:pt x="7010" y="26618"/>
                  </a:cubicBezTo>
                  <a:lnTo>
                    <a:pt x="6235" y="26618"/>
                  </a:lnTo>
                  <a:cubicBezTo>
                    <a:pt x="4406" y="26237"/>
                    <a:pt x="2844" y="25031"/>
                    <a:pt x="2006" y="23355"/>
                  </a:cubicBezTo>
                  <a:cubicBezTo>
                    <a:pt x="660" y="21043"/>
                    <a:pt x="0" y="18402"/>
                    <a:pt x="114" y="15735"/>
                  </a:cubicBezTo>
                  <a:cubicBezTo>
                    <a:pt x="114" y="13919"/>
                    <a:pt x="368" y="12102"/>
                    <a:pt x="876" y="10350"/>
                  </a:cubicBezTo>
                  <a:cubicBezTo>
                    <a:pt x="1536" y="7645"/>
                    <a:pt x="2819" y="5143"/>
                    <a:pt x="4622" y="3022"/>
                  </a:cubicBezTo>
                  <a:cubicBezTo>
                    <a:pt x="5968" y="1219"/>
                    <a:pt x="8051" y="114"/>
                    <a:pt x="10299" y="12"/>
                  </a:cubicBezTo>
                  <a:cubicBezTo>
                    <a:pt x="11125" y="0"/>
                    <a:pt x="11950" y="190"/>
                    <a:pt x="12687" y="546"/>
                  </a:cubicBezTo>
                  <a:cubicBezTo>
                    <a:pt x="14477" y="1536"/>
                    <a:pt x="15798" y="3187"/>
                    <a:pt x="16382" y="5156"/>
                  </a:cubicBezTo>
                  <a:cubicBezTo>
                    <a:pt x="16471" y="5346"/>
                    <a:pt x="16509" y="5562"/>
                    <a:pt x="16522" y="5778"/>
                  </a:cubicBezTo>
                  <a:cubicBezTo>
                    <a:pt x="16522" y="6019"/>
                    <a:pt x="16459" y="6261"/>
                    <a:pt x="16319" y="6451"/>
                  </a:cubicBezTo>
                  <a:cubicBezTo>
                    <a:pt x="16103" y="6896"/>
                    <a:pt x="15646" y="7162"/>
                    <a:pt x="15163" y="7137"/>
                  </a:cubicBezTo>
                  <a:lnTo>
                    <a:pt x="14731" y="7137"/>
                  </a:lnTo>
                  <a:cubicBezTo>
                    <a:pt x="14338" y="6997"/>
                    <a:pt x="14020" y="6680"/>
                    <a:pt x="13880" y="6286"/>
                  </a:cubicBezTo>
                  <a:lnTo>
                    <a:pt x="13880" y="6146"/>
                  </a:lnTo>
                  <a:cubicBezTo>
                    <a:pt x="13690" y="5626"/>
                    <a:pt x="13449" y="5130"/>
                    <a:pt x="13144" y="4673"/>
                  </a:cubicBezTo>
                  <a:cubicBezTo>
                    <a:pt x="12509" y="3581"/>
                    <a:pt x="11353" y="2895"/>
                    <a:pt x="10109" y="2857"/>
                  </a:cubicBezTo>
                  <a:cubicBezTo>
                    <a:pt x="9347" y="2870"/>
                    <a:pt x="8623" y="3149"/>
                    <a:pt x="8026" y="3619"/>
                  </a:cubicBezTo>
                  <a:cubicBezTo>
                    <a:pt x="6451" y="4927"/>
                    <a:pt x="5245" y="6642"/>
                    <a:pt x="4571" y="8585"/>
                  </a:cubicBezTo>
                  <a:cubicBezTo>
                    <a:pt x="3606" y="10832"/>
                    <a:pt x="3111" y="13245"/>
                    <a:pt x="3086" y="15684"/>
                  </a:cubicBezTo>
                  <a:cubicBezTo>
                    <a:pt x="3009" y="17640"/>
                    <a:pt x="3390" y="19570"/>
                    <a:pt x="4165" y="21361"/>
                  </a:cubicBezTo>
                  <a:cubicBezTo>
                    <a:pt x="4660" y="22783"/>
                    <a:pt x="5956" y="23761"/>
                    <a:pt x="7467" y="23837"/>
                  </a:cubicBezTo>
                  <a:cubicBezTo>
                    <a:pt x="8686" y="23672"/>
                    <a:pt x="9778" y="23012"/>
                    <a:pt x="10502" y="22008"/>
                  </a:cubicBezTo>
                  <a:cubicBezTo>
                    <a:pt x="11975" y="20294"/>
                    <a:pt x="13093" y="18300"/>
                    <a:pt x="13766" y="16141"/>
                  </a:cubicBezTo>
                  <a:lnTo>
                    <a:pt x="9220" y="16141"/>
                  </a:lnTo>
                  <a:cubicBezTo>
                    <a:pt x="8229" y="16001"/>
                    <a:pt x="7746" y="15481"/>
                    <a:pt x="7721" y="14630"/>
                  </a:cubicBezTo>
                  <a:cubicBezTo>
                    <a:pt x="7683" y="14477"/>
                    <a:pt x="7683" y="14325"/>
                    <a:pt x="7721" y="14185"/>
                  </a:cubicBezTo>
                  <a:cubicBezTo>
                    <a:pt x="7937" y="13614"/>
                    <a:pt x="8483" y="13258"/>
                    <a:pt x="9080" y="1327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5" name="Free Form 3139">
              <a:extLst>
                <a:ext uri="{FF2B5EF4-FFF2-40B4-BE49-F238E27FC236}">
                  <a16:creationId xmlns:a16="http://schemas.microsoft.com/office/drawing/2014/main" id="{7436AD29-7D00-3EBE-BE91-4C5680468FA5}"/>
                </a:ext>
              </a:extLst>
            </p:cNvPr>
            <p:cNvSpPr/>
            <p:nvPr/>
          </p:nvSpPr>
          <p:spPr>
            <a:xfrm>
              <a:off x="26214985" y="30715229"/>
              <a:ext cx="18160" cy="26327"/>
            </a:xfrm>
            <a:custGeom>
              <a:avLst/>
              <a:gdLst/>
              <a:ahLst/>
              <a:cxnLst/>
              <a:rect l="0" t="0" r="0" b="0"/>
              <a:pathLst>
                <a:path w="18160" h="26326">
                  <a:moveTo>
                    <a:pt x="13512" y="698"/>
                  </a:moveTo>
                  <a:cubicBezTo>
                    <a:pt x="13576" y="838"/>
                    <a:pt x="13639" y="990"/>
                    <a:pt x="13690" y="1155"/>
                  </a:cubicBezTo>
                  <a:cubicBezTo>
                    <a:pt x="13944" y="2082"/>
                    <a:pt x="15443" y="9893"/>
                    <a:pt x="18148" y="24574"/>
                  </a:cubicBezTo>
                  <a:cubicBezTo>
                    <a:pt x="18160" y="24688"/>
                    <a:pt x="18160" y="24802"/>
                    <a:pt x="18148" y="24917"/>
                  </a:cubicBezTo>
                  <a:cubicBezTo>
                    <a:pt x="18148" y="25158"/>
                    <a:pt x="18071" y="25412"/>
                    <a:pt x="17944" y="25628"/>
                  </a:cubicBezTo>
                  <a:cubicBezTo>
                    <a:pt x="17741" y="26047"/>
                    <a:pt x="17309" y="26301"/>
                    <a:pt x="16840" y="26301"/>
                  </a:cubicBezTo>
                  <a:lnTo>
                    <a:pt x="16611" y="26301"/>
                  </a:lnTo>
                  <a:cubicBezTo>
                    <a:pt x="16103" y="26237"/>
                    <a:pt x="15697" y="25882"/>
                    <a:pt x="15557" y="25399"/>
                  </a:cubicBezTo>
                  <a:lnTo>
                    <a:pt x="14058" y="17589"/>
                  </a:lnTo>
                  <a:lnTo>
                    <a:pt x="6299" y="17589"/>
                  </a:lnTo>
                  <a:lnTo>
                    <a:pt x="2552" y="25425"/>
                  </a:lnTo>
                  <a:cubicBezTo>
                    <a:pt x="2565" y="25501"/>
                    <a:pt x="2565" y="25590"/>
                    <a:pt x="2552" y="25679"/>
                  </a:cubicBezTo>
                  <a:cubicBezTo>
                    <a:pt x="2285" y="26060"/>
                    <a:pt x="1854" y="26301"/>
                    <a:pt x="1396" y="26326"/>
                  </a:cubicBezTo>
                  <a:cubicBezTo>
                    <a:pt x="1130" y="26326"/>
                    <a:pt x="876" y="26250"/>
                    <a:pt x="660" y="26098"/>
                  </a:cubicBezTo>
                  <a:cubicBezTo>
                    <a:pt x="253" y="25869"/>
                    <a:pt x="12" y="25437"/>
                    <a:pt x="25" y="24967"/>
                  </a:cubicBezTo>
                  <a:cubicBezTo>
                    <a:pt x="0" y="24840"/>
                    <a:pt x="0" y="24701"/>
                    <a:pt x="25" y="24574"/>
                  </a:cubicBezTo>
                  <a:cubicBezTo>
                    <a:pt x="253" y="24028"/>
                    <a:pt x="660" y="23177"/>
                    <a:pt x="1193" y="21983"/>
                  </a:cubicBezTo>
                  <a:cubicBezTo>
                    <a:pt x="6616" y="10121"/>
                    <a:pt x="9880" y="3136"/>
                    <a:pt x="10934" y="977"/>
                  </a:cubicBezTo>
                  <a:cubicBezTo>
                    <a:pt x="11150" y="431"/>
                    <a:pt x="11658" y="63"/>
                    <a:pt x="12242" y="38"/>
                  </a:cubicBezTo>
                  <a:cubicBezTo>
                    <a:pt x="12750" y="0"/>
                    <a:pt x="13245" y="253"/>
                    <a:pt x="13512" y="698"/>
                  </a:cubicBezTo>
                  <a:close/>
                  <a:moveTo>
                    <a:pt x="11810" y="5918"/>
                  </a:moveTo>
                  <a:lnTo>
                    <a:pt x="7696" y="14782"/>
                  </a:lnTo>
                  <a:lnTo>
                    <a:pt x="13626" y="14782"/>
                  </a:ln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6" name="Free Form 3140">
              <a:extLst>
                <a:ext uri="{FF2B5EF4-FFF2-40B4-BE49-F238E27FC236}">
                  <a16:creationId xmlns:a16="http://schemas.microsoft.com/office/drawing/2014/main" id="{E1C65D73-10BC-2165-F301-70C6F091DD9C}"/>
                </a:ext>
              </a:extLst>
            </p:cNvPr>
            <p:cNvSpPr/>
            <p:nvPr/>
          </p:nvSpPr>
          <p:spPr>
            <a:xfrm>
              <a:off x="26236880" y="30715205"/>
              <a:ext cx="14212" cy="26340"/>
            </a:xfrm>
            <a:custGeom>
              <a:avLst/>
              <a:gdLst/>
              <a:ahLst/>
              <a:cxnLst/>
              <a:rect l="0" t="0" r="0" b="0"/>
              <a:pathLst>
                <a:path w="14211" h="26339">
                  <a:moveTo>
                    <a:pt x="12712" y="26326"/>
                  </a:moveTo>
                  <a:lnTo>
                    <a:pt x="1358" y="26326"/>
                  </a:lnTo>
                  <a:cubicBezTo>
                    <a:pt x="1104" y="26326"/>
                    <a:pt x="850" y="26237"/>
                    <a:pt x="647" y="26098"/>
                  </a:cubicBezTo>
                  <a:cubicBezTo>
                    <a:pt x="253" y="25729"/>
                    <a:pt x="12" y="25221"/>
                    <a:pt x="0" y="24675"/>
                  </a:cubicBezTo>
                  <a:cubicBezTo>
                    <a:pt x="0" y="24193"/>
                    <a:pt x="1041" y="16408"/>
                    <a:pt x="3149" y="1346"/>
                  </a:cubicBezTo>
                  <a:cubicBezTo>
                    <a:pt x="3136" y="1168"/>
                    <a:pt x="3136" y="1003"/>
                    <a:pt x="3149" y="838"/>
                  </a:cubicBezTo>
                  <a:cubicBezTo>
                    <a:pt x="3340" y="330"/>
                    <a:pt x="3822" y="0"/>
                    <a:pt x="4368" y="12"/>
                  </a:cubicBezTo>
                  <a:cubicBezTo>
                    <a:pt x="4584" y="12"/>
                    <a:pt x="4787" y="63"/>
                    <a:pt x="4991" y="152"/>
                  </a:cubicBezTo>
                  <a:cubicBezTo>
                    <a:pt x="5460" y="368"/>
                    <a:pt x="5753" y="850"/>
                    <a:pt x="5727" y="1371"/>
                  </a:cubicBezTo>
                  <a:cubicBezTo>
                    <a:pt x="5727" y="2387"/>
                    <a:pt x="5359" y="4521"/>
                    <a:pt x="4927" y="7759"/>
                  </a:cubicBezTo>
                  <a:cubicBezTo>
                    <a:pt x="3632" y="17729"/>
                    <a:pt x="2946" y="22986"/>
                    <a:pt x="2895" y="23520"/>
                  </a:cubicBezTo>
                  <a:lnTo>
                    <a:pt x="12598" y="23520"/>
                  </a:lnTo>
                  <a:cubicBezTo>
                    <a:pt x="12839" y="23520"/>
                    <a:pt x="13080" y="23570"/>
                    <a:pt x="13309" y="23659"/>
                  </a:cubicBezTo>
                  <a:cubicBezTo>
                    <a:pt x="13855" y="23850"/>
                    <a:pt x="14211" y="24358"/>
                    <a:pt x="14185" y="24942"/>
                  </a:cubicBezTo>
                  <a:cubicBezTo>
                    <a:pt x="14211" y="25082"/>
                    <a:pt x="14211" y="25234"/>
                    <a:pt x="14185" y="25387"/>
                  </a:cubicBezTo>
                  <a:cubicBezTo>
                    <a:pt x="13931" y="25971"/>
                    <a:pt x="13347" y="26339"/>
                    <a:pt x="12712" y="2632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7" name="Free Form 3141">
              <a:extLst>
                <a:ext uri="{FF2B5EF4-FFF2-40B4-BE49-F238E27FC236}">
                  <a16:creationId xmlns:a16="http://schemas.microsoft.com/office/drawing/2014/main" id="{EA9BE3FD-180E-EFB4-B997-4A8C299698B8}"/>
                </a:ext>
              </a:extLst>
            </p:cNvPr>
            <p:cNvSpPr/>
            <p:nvPr/>
          </p:nvSpPr>
          <p:spPr>
            <a:xfrm>
              <a:off x="26251725" y="30715229"/>
              <a:ext cx="18161" cy="26327"/>
            </a:xfrm>
            <a:custGeom>
              <a:avLst/>
              <a:gdLst/>
              <a:ahLst/>
              <a:cxnLst/>
              <a:rect l="0" t="0" r="0" b="0"/>
              <a:pathLst>
                <a:path w="18160" h="26326">
                  <a:moveTo>
                    <a:pt x="13538" y="698"/>
                  </a:moveTo>
                  <a:cubicBezTo>
                    <a:pt x="13601" y="838"/>
                    <a:pt x="13665" y="990"/>
                    <a:pt x="13703" y="1155"/>
                  </a:cubicBezTo>
                  <a:cubicBezTo>
                    <a:pt x="13957" y="2095"/>
                    <a:pt x="15430" y="9905"/>
                    <a:pt x="18135" y="24574"/>
                  </a:cubicBezTo>
                  <a:cubicBezTo>
                    <a:pt x="18160" y="24688"/>
                    <a:pt x="18160" y="24802"/>
                    <a:pt x="18135" y="24917"/>
                  </a:cubicBezTo>
                  <a:cubicBezTo>
                    <a:pt x="18135" y="25158"/>
                    <a:pt x="18071" y="25412"/>
                    <a:pt x="17944" y="25628"/>
                  </a:cubicBezTo>
                  <a:cubicBezTo>
                    <a:pt x="17729" y="26047"/>
                    <a:pt x="17284" y="26314"/>
                    <a:pt x="16801" y="26301"/>
                  </a:cubicBezTo>
                  <a:lnTo>
                    <a:pt x="16598" y="26301"/>
                  </a:lnTo>
                  <a:cubicBezTo>
                    <a:pt x="16103" y="26250"/>
                    <a:pt x="15684" y="25882"/>
                    <a:pt x="15557" y="25399"/>
                  </a:cubicBezTo>
                  <a:lnTo>
                    <a:pt x="14046" y="17589"/>
                  </a:lnTo>
                  <a:lnTo>
                    <a:pt x="6273" y="17589"/>
                  </a:lnTo>
                  <a:lnTo>
                    <a:pt x="2552" y="25425"/>
                  </a:lnTo>
                  <a:lnTo>
                    <a:pt x="2552" y="25679"/>
                  </a:lnTo>
                  <a:cubicBezTo>
                    <a:pt x="2273" y="26060"/>
                    <a:pt x="1828" y="26301"/>
                    <a:pt x="1358" y="26326"/>
                  </a:cubicBezTo>
                  <a:cubicBezTo>
                    <a:pt x="1104" y="26326"/>
                    <a:pt x="838" y="26250"/>
                    <a:pt x="622" y="26098"/>
                  </a:cubicBezTo>
                  <a:cubicBezTo>
                    <a:pt x="241" y="25856"/>
                    <a:pt x="12" y="25425"/>
                    <a:pt x="25" y="24967"/>
                  </a:cubicBezTo>
                  <a:cubicBezTo>
                    <a:pt x="0" y="24840"/>
                    <a:pt x="0" y="24701"/>
                    <a:pt x="25" y="24574"/>
                  </a:cubicBezTo>
                  <a:cubicBezTo>
                    <a:pt x="253" y="24028"/>
                    <a:pt x="622" y="23177"/>
                    <a:pt x="1155" y="21983"/>
                  </a:cubicBezTo>
                  <a:cubicBezTo>
                    <a:pt x="6616" y="10121"/>
                    <a:pt x="9855" y="3136"/>
                    <a:pt x="10921" y="977"/>
                  </a:cubicBezTo>
                  <a:cubicBezTo>
                    <a:pt x="11137" y="431"/>
                    <a:pt x="11645" y="63"/>
                    <a:pt x="12229" y="38"/>
                  </a:cubicBezTo>
                  <a:cubicBezTo>
                    <a:pt x="12763" y="0"/>
                    <a:pt x="13258" y="241"/>
                    <a:pt x="13538" y="698"/>
                  </a:cubicBezTo>
                  <a:close/>
                  <a:moveTo>
                    <a:pt x="11836" y="5918"/>
                  </a:moveTo>
                  <a:lnTo>
                    <a:pt x="7632" y="14782"/>
                  </a:lnTo>
                  <a:lnTo>
                    <a:pt x="13538" y="14782"/>
                  </a:ln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8" name="Free Form 3142">
              <a:extLst>
                <a:ext uri="{FF2B5EF4-FFF2-40B4-BE49-F238E27FC236}">
                  <a16:creationId xmlns:a16="http://schemas.microsoft.com/office/drawing/2014/main" id="{2AD1A47A-D309-44C2-25F0-B47143C4B588}"/>
                </a:ext>
              </a:extLst>
            </p:cNvPr>
            <p:cNvSpPr/>
            <p:nvPr/>
          </p:nvSpPr>
          <p:spPr>
            <a:xfrm>
              <a:off x="26272374" y="30715182"/>
              <a:ext cx="19901" cy="26340"/>
            </a:xfrm>
            <a:custGeom>
              <a:avLst/>
              <a:gdLst/>
              <a:ahLst/>
              <a:cxnLst/>
              <a:rect l="0" t="0" r="0" b="0"/>
              <a:pathLst>
                <a:path w="19900" h="26339">
                  <a:moveTo>
                    <a:pt x="10947" y="14198"/>
                  </a:moveTo>
                  <a:cubicBezTo>
                    <a:pt x="11823" y="16636"/>
                    <a:pt x="12534" y="18541"/>
                    <a:pt x="13017" y="19875"/>
                  </a:cubicBezTo>
                  <a:cubicBezTo>
                    <a:pt x="14185" y="23113"/>
                    <a:pt x="14782" y="24815"/>
                    <a:pt x="14782" y="25018"/>
                  </a:cubicBezTo>
                  <a:cubicBezTo>
                    <a:pt x="14769" y="25260"/>
                    <a:pt x="14693" y="25501"/>
                    <a:pt x="14554" y="25691"/>
                  </a:cubicBezTo>
                  <a:cubicBezTo>
                    <a:pt x="14325" y="26098"/>
                    <a:pt x="13880" y="26339"/>
                    <a:pt x="13423" y="26326"/>
                  </a:cubicBezTo>
                  <a:cubicBezTo>
                    <a:pt x="12877" y="26288"/>
                    <a:pt x="12420" y="25933"/>
                    <a:pt x="12280" y="25412"/>
                  </a:cubicBezTo>
                  <a:lnTo>
                    <a:pt x="12077" y="24815"/>
                  </a:lnTo>
                  <a:cubicBezTo>
                    <a:pt x="11455" y="23431"/>
                    <a:pt x="10439" y="20726"/>
                    <a:pt x="9016" y="16814"/>
                  </a:cubicBezTo>
                  <a:lnTo>
                    <a:pt x="2578" y="25615"/>
                  </a:lnTo>
                  <a:cubicBezTo>
                    <a:pt x="2311" y="26034"/>
                    <a:pt x="1866" y="26288"/>
                    <a:pt x="1384" y="26326"/>
                  </a:cubicBezTo>
                  <a:cubicBezTo>
                    <a:pt x="1130" y="26326"/>
                    <a:pt x="888" y="26250"/>
                    <a:pt x="673" y="26123"/>
                  </a:cubicBezTo>
                  <a:cubicBezTo>
                    <a:pt x="253" y="25895"/>
                    <a:pt x="0" y="25463"/>
                    <a:pt x="12" y="24980"/>
                  </a:cubicBezTo>
                  <a:cubicBezTo>
                    <a:pt x="0" y="24891"/>
                    <a:pt x="0" y="24802"/>
                    <a:pt x="12" y="24701"/>
                  </a:cubicBezTo>
                  <a:cubicBezTo>
                    <a:pt x="165" y="24294"/>
                    <a:pt x="393" y="23913"/>
                    <a:pt x="698" y="23596"/>
                  </a:cubicBezTo>
                  <a:cubicBezTo>
                    <a:pt x="2857" y="20815"/>
                    <a:pt x="5245" y="17487"/>
                    <a:pt x="7848" y="13626"/>
                  </a:cubicBezTo>
                  <a:lnTo>
                    <a:pt x="7061" y="11467"/>
                  </a:lnTo>
                  <a:cubicBezTo>
                    <a:pt x="4648" y="4965"/>
                    <a:pt x="3416" y="1625"/>
                    <a:pt x="3416" y="1396"/>
                  </a:cubicBezTo>
                  <a:cubicBezTo>
                    <a:pt x="3428" y="1155"/>
                    <a:pt x="3479" y="927"/>
                    <a:pt x="3594" y="711"/>
                  </a:cubicBezTo>
                  <a:cubicBezTo>
                    <a:pt x="3797" y="292"/>
                    <a:pt x="4229" y="25"/>
                    <a:pt x="4698" y="38"/>
                  </a:cubicBezTo>
                  <a:cubicBezTo>
                    <a:pt x="5245" y="0"/>
                    <a:pt x="5753" y="304"/>
                    <a:pt x="5981" y="800"/>
                  </a:cubicBezTo>
                  <a:lnTo>
                    <a:pt x="9778" y="11048"/>
                  </a:lnTo>
                  <a:lnTo>
                    <a:pt x="17398" y="685"/>
                  </a:lnTo>
                  <a:cubicBezTo>
                    <a:pt x="17665" y="292"/>
                    <a:pt x="18110" y="63"/>
                    <a:pt x="18579" y="63"/>
                  </a:cubicBezTo>
                  <a:cubicBezTo>
                    <a:pt x="18795" y="50"/>
                    <a:pt x="19011" y="101"/>
                    <a:pt x="19214" y="203"/>
                  </a:cubicBezTo>
                  <a:cubicBezTo>
                    <a:pt x="19646" y="444"/>
                    <a:pt x="19900" y="927"/>
                    <a:pt x="19862" y="1422"/>
                  </a:cubicBezTo>
                  <a:cubicBezTo>
                    <a:pt x="19900" y="1625"/>
                    <a:pt x="19900" y="1841"/>
                    <a:pt x="19862" y="204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79" name="Free Form 3143">
              <a:extLst>
                <a:ext uri="{FF2B5EF4-FFF2-40B4-BE49-F238E27FC236}">
                  <a16:creationId xmlns:a16="http://schemas.microsoft.com/office/drawing/2014/main" id="{1DDA86B9-4AD8-AB5C-0552-F350696725C1}"/>
                </a:ext>
              </a:extLst>
            </p:cNvPr>
            <p:cNvSpPr/>
            <p:nvPr/>
          </p:nvSpPr>
          <p:spPr>
            <a:xfrm>
              <a:off x="26291970" y="30715302"/>
              <a:ext cx="20904" cy="35280"/>
            </a:xfrm>
            <a:custGeom>
              <a:avLst/>
              <a:gdLst/>
              <a:ahLst/>
              <a:cxnLst/>
              <a:rect l="0" t="0" r="0" b="0"/>
              <a:pathLst>
                <a:path w="20903" h="35280">
                  <a:moveTo>
                    <a:pt x="19545" y="25"/>
                  </a:moveTo>
                  <a:cubicBezTo>
                    <a:pt x="19773" y="25"/>
                    <a:pt x="19989" y="76"/>
                    <a:pt x="20192" y="165"/>
                  </a:cubicBezTo>
                  <a:cubicBezTo>
                    <a:pt x="20637" y="406"/>
                    <a:pt x="20903" y="863"/>
                    <a:pt x="20903" y="1358"/>
                  </a:cubicBezTo>
                  <a:cubicBezTo>
                    <a:pt x="19062" y="16090"/>
                    <a:pt x="18071" y="24066"/>
                    <a:pt x="17843" y="25234"/>
                  </a:cubicBezTo>
                  <a:cubicBezTo>
                    <a:pt x="17500" y="27469"/>
                    <a:pt x="16662" y="29590"/>
                    <a:pt x="15404" y="31457"/>
                  </a:cubicBezTo>
                  <a:cubicBezTo>
                    <a:pt x="13652" y="33883"/>
                    <a:pt x="10807" y="35280"/>
                    <a:pt x="7823" y="35178"/>
                  </a:cubicBezTo>
                  <a:cubicBezTo>
                    <a:pt x="6553" y="35115"/>
                    <a:pt x="5308" y="34784"/>
                    <a:pt x="4190" y="34213"/>
                  </a:cubicBezTo>
                  <a:cubicBezTo>
                    <a:pt x="2489" y="33514"/>
                    <a:pt x="1066" y="32283"/>
                    <a:pt x="152" y="30682"/>
                  </a:cubicBezTo>
                  <a:cubicBezTo>
                    <a:pt x="50" y="30479"/>
                    <a:pt x="0" y="30238"/>
                    <a:pt x="12" y="30009"/>
                  </a:cubicBezTo>
                  <a:cubicBezTo>
                    <a:pt x="12" y="29768"/>
                    <a:pt x="76" y="29539"/>
                    <a:pt x="177" y="29323"/>
                  </a:cubicBezTo>
                  <a:cubicBezTo>
                    <a:pt x="419" y="28904"/>
                    <a:pt x="863" y="28638"/>
                    <a:pt x="1346" y="28638"/>
                  </a:cubicBezTo>
                  <a:cubicBezTo>
                    <a:pt x="1765" y="28663"/>
                    <a:pt x="2146" y="28866"/>
                    <a:pt x="2400" y="29209"/>
                  </a:cubicBezTo>
                  <a:cubicBezTo>
                    <a:pt x="3644" y="31165"/>
                    <a:pt x="5753" y="32397"/>
                    <a:pt x="8077" y="32537"/>
                  </a:cubicBezTo>
                  <a:cubicBezTo>
                    <a:pt x="9867" y="32524"/>
                    <a:pt x="11544" y="31673"/>
                    <a:pt x="12610" y="30238"/>
                  </a:cubicBezTo>
                  <a:cubicBezTo>
                    <a:pt x="14185" y="28168"/>
                    <a:pt x="15049" y="25666"/>
                    <a:pt x="15112" y="23075"/>
                  </a:cubicBezTo>
                  <a:cubicBezTo>
                    <a:pt x="14668" y="23774"/>
                    <a:pt x="14109" y="24383"/>
                    <a:pt x="13436" y="24866"/>
                  </a:cubicBezTo>
                  <a:cubicBezTo>
                    <a:pt x="12255" y="25742"/>
                    <a:pt x="10820" y="26212"/>
                    <a:pt x="9347" y="26199"/>
                  </a:cubicBezTo>
                  <a:lnTo>
                    <a:pt x="8585" y="26199"/>
                  </a:lnTo>
                  <a:cubicBezTo>
                    <a:pt x="6832" y="25793"/>
                    <a:pt x="5346" y="24625"/>
                    <a:pt x="4521" y="23024"/>
                  </a:cubicBezTo>
                  <a:cubicBezTo>
                    <a:pt x="3187" y="20713"/>
                    <a:pt x="2527" y="18084"/>
                    <a:pt x="2616" y="15417"/>
                  </a:cubicBezTo>
                  <a:cubicBezTo>
                    <a:pt x="2616" y="14020"/>
                    <a:pt x="2616" y="12572"/>
                    <a:pt x="2819" y="11150"/>
                  </a:cubicBezTo>
                  <a:cubicBezTo>
                    <a:pt x="3022" y="8826"/>
                    <a:pt x="3530" y="5473"/>
                    <a:pt x="4356" y="1333"/>
                  </a:cubicBezTo>
                  <a:cubicBezTo>
                    <a:pt x="4343" y="1193"/>
                    <a:pt x="4343" y="1066"/>
                    <a:pt x="4356" y="939"/>
                  </a:cubicBezTo>
                  <a:cubicBezTo>
                    <a:pt x="4508" y="380"/>
                    <a:pt x="5003" y="0"/>
                    <a:pt x="5575" y="0"/>
                  </a:cubicBezTo>
                  <a:cubicBezTo>
                    <a:pt x="5816" y="0"/>
                    <a:pt x="6057" y="63"/>
                    <a:pt x="6261" y="190"/>
                  </a:cubicBezTo>
                  <a:cubicBezTo>
                    <a:pt x="6667" y="406"/>
                    <a:pt x="6921" y="825"/>
                    <a:pt x="6908" y="1269"/>
                  </a:cubicBezTo>
                  <a:cubicBezTo>
                    <a:pt x="6794" y="3009"/>
                    <a:pt x="6591" y="4749"/>
                    <a:pt x="6286" y="6464"/>
                  </a:cubicBezTo>
                  <a:cubicBezTo>
                    <a:pt x="5841" y="9105"/>
                    <a:pt x="5549" y="11760"/>
                    <a:pt x="5410" y="14414"/>
                  </a:cubicBezTo>
                  <a:cubicBezTo>
                    <a:pt x="5333" y="16522"/>
                    <a:pt x="5676" y="18618"/>
                    <a:pt x="6426" y="20586"/>
                  </a:cubicBezTo>
                  <a:cubicBezTo>
                    <a:pt x="7200" y="22453"/>
                    <a:pt x="8331" y="23418"/>
                    <a:pt x="9778" y="23418"/>
                  </a:cubicBezTo>
                  <a:cubicBezTo>
                    <a:pt x="9931" y="23443"/>
                    <a:pt x="10096" y="23443"/>
                    <a:pt x="10261" y="23418"/>
                  </a:cubicBezTo>
                  <a:cubicBezTo>
                    <a:pt x="11721" y="22948"/>
                    <a:pt x="12941" y="21932"/>
                    <a:pt x="13665" y="20586"/>
                  </a:cubicBezTo>
                  <a:cubicBezTo>
                    <a:pt x="15036" y="18706"/>
                    <a:pt x="16001" y="16573"/>
                    <a:pt x="16509" y="14312"/>
                  </a:cubicBezTo>
                  <a:lnTo>
                    <a:pt x="18237" y="1333"/>
                  </a:lnTo>
                  <a:cubicBezTo>
                    <a:pt x="18249" y="1117"/>
                    <a:pt x="18313" y="914"/>
                    <a:pt x="18402" y="736"/>
                  </a:cubicBezTo>
                  <a:cubicBezTo>
                    <a:pt x="18618" y="292"/>
                    <a:pt x="19062" y="12"/>
                    <a:pt x="19545" y="2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0" name="Free Form 3144">
              <a:extLst>
                <a:ext uri="{FF2B5EF4-FFF2-40B4-BE49-F238E27FC236}">
                  <a16:creationId xmlns:a16="http://schemas.microsoft.com/office/drawing/2014/main" id="{1BA353F2-DC2A-86FF-9143-41E132A47176}"/>
                </a:ext>
              </a:extLst>
            </p:cNvPr>
            <p:cNvSpPr/>
            <p:nvPr/>
          </p:nvSpPr>
          <p:spPr>
            <a:xfrm>
              <a:off x="26480835" y="30693444"/>
              <a:ext cx="1422" cy="69493"/>
            </a:xfrm>
            <a:custGeom>
              <a:avLst/>
              <a:gdLst/>
              <a:ahLst/>
              <a:cxnLst/>
              <a:rect l="0" t="0" r="0" b="0"/>
              <a:pathLst>
                <a:path w="1422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422" y="15557"/>
                    <a:pt x="1422" y="34746"/>
                  </a:cubicBezTo>
                  <a:cubicBezTo>
                    <a:pt x="1422" y="53936"/>
                    <a:pt x="1104" y="69493"/>
                    <a:pt x="711" y="69493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1" name="Free Form 3145">
              <a:extLst>
                <a:ext uri="{FF2B5EF4-FFF2-40B4-BE49-F238E27FC236}">
                  <a16:creationId xmlns:a16="http://schemas.microsoft.com/office/drawing/2014/main" id="{7C7921ED-9F41-2838-E304-08A81BA0855F}"/>
                </a:ext>
              </a:extLst>
            </p:cNvPr>
            <p:cNvSpPr/>
            <p:nvPr/>
          </p:nvSpPr>
          <p:spPr>
            <a:xfrm>
              <a:off x="26171433" y="30693444"/>
              <a:ext cx="1422" cy="69493"/>
            </a:xfrm>
            <a:custGeom>
              <a:avLst/>
              <a:gdLst/>
              <a:ahLst/>
              <a:cxnLst/>
              <a:rect l="0" t="0" r="0" b="0"/>
              <a:pathLst>
                <a:path w="1422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422" y="15557"/>
                    <a:pt x="1422" y="34746"/>
                  </a:cubicBezTo>
                  <a:cubicBezTo>
                    <a:pt x="1422" y="53936"/>
                    <a:pt x="1104" y="69493"/>
                    <a:pt x="711" y="6949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2" name="Free Form 3146">
              <a:extLst>
                <a:ext uri="{FF2B5EF4-FFF2-40B4-BE49-F238E27FC236}">
                  <a16:creationId xmlns:a16="http://schemas.microsoft.com/office/drawing/2014/main" id="{12A3E957-CB13-76E8-9843-181D7402B365}"/>
                </a:ext>
              </a:extLst>
            </p:cNvPr>
            <p:cNvSpPr/>
            <p:nvPr/>
          </p:nvSpPr>
          <p:spPr>
            <a:xfrm>
              <a:off x="26487475" y="30693444"/>
              <a:ext cx="1397" cy="69493"/>
            </a:xfrm>
            <a:custGeom>
              <a:avLst/>
              <a:gdLst/>
              <a:ahLst/>
              <a:cxnLst/>
              <a:rect l="0" t="0" r="0" b="0"/>
              <a:pathLst>
                <a:path w="1396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396" y="15557"/>
                    <a:pt x="1396" y="34746"/>
                  </a:cubicBezTo>
                  <a:cubicBezTo>
                    <a:pt x="1396" y="53936"/>
                    <a:pt x="1079" y="69493"/>
                    <a:pt x="711" y="69493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3" name="Free Form 3147">
              <a:extLst>
                <a:ext uri="{FF2B5EF4-FFF2-40B4-BE49-F238E27FC236}">
                  <a16:creationId xmlns:a16="http://schemas.microsoft.com/office/drawing/2014/main" id="{2D673382-5ABD-13BC-0A97-0D043611E1F6}"/>
                </a:ext>
              </a:extLst>
            </p:cNvPr>
            <p:cNvSpPr/>
            <p:nvPr/>
          </p:nvSpPr>
          <p:spPr>
            <a:xfrm>
              <a:off x="26165186" y="30693444"/>
              <a:ext cx="1397" cy="69493"/>
            </a:xfrm>
            <a:custGeom>
              <a:avLst/>
              <a:gdLst/>
              <a:ahLst/>
              <a:cxnLst/>
              <a:rect l="0" t="0" r="0" b="0"/>
              <a:pathLst>
                <a:path w="1396" h="69493">
                  <a:moveTo>
                    <a:pt x="711" y="69493"/>
                  </a:moveTo>
                  <a:cubicBezTo>
                    <a:pt x="317" y="69493"/>
                    <a:pt x="0" y="53936"/>
                    <a:pt x="0" y="34746"/>
                  </a:cubicBezTo>
                  <a:cubicBezTo>
                    <a:pt x="0" y="15557"/>
                    <a:pt x="317" y="0"/>
                    <a:pt x="711" y="0"/>
                  </a:cubicBezTo>
                  <a:cubicBezTo>
                    <a:pt x="1104" y="0"/>
                    <a:pt x="1396" y="15557"/>
                    <a:pt x="1396" y="34746"/>
                  </a:cubicBezTo>
                  <a:cubicBezTo>
                    <a:pt x="1396" y="53936"/>
                    <a:pt x="1142" y="69493"/>
                    <a:pt x="711" y="6949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4" name="Free Form 3148">
              <a:extLst>
                <a:ext uri="{FF2B5EF4-FFF2-40B4-BE49-F238E27FC236}">
                  <a16:creationId xmlns:a16="http://schemas.microsoft.com/office/drawing/2014/main" id="{B88896A2-7A95-E237-3877-7096E31702F0}"/>
                </a:ext>
              </a:extLst>
            </p:cNvPr>
            <p:cNvSpPr/>
            <p:nvPr/>
          </p:nvSpPr>
          <p:spPr>
            <a:xfrm>
              <a:off x="26348394" y="30704880"/>
              <a:ext cx="81787" cy="42786"/>
            </a:xfrm>
            <a:custGeom>
              <a:avLst/>
              <a:gdLst/>
              <a:ahLst/>
              <a:cxnLst/>
              <a:rect l="0" t="0" r="0" b="0"/>
              <a:pathLst>
                <a:path w="81787" h="42785">
                  <a:moveTo>
                    <a:pt x="41477" y="0"/>
                  </a:moveTo>
                  <a:lnTo>
                    <a:pt x="41477" y="0"/>
                  </a:lnTo>
                  <a:lnTo>
                    <a:pt x="81418" y="32257"/>
                  </a:lnTo>
                  <a:lnTo>
                    <a:pt x="81787" y="32537"/>
                  </a:lnTo>
                  <a:lnTo>
                    <a:pt x="81342" y="32537"/>
                  </a:lnTo>
                  <a:lnTo>
                    <a:pt x="76034" y="33921"/>
                  </a:lnTo>
                  <a:lnTo>
                    <a:pt x="42303" y="42785"/>
                  </a:lnTo>
                  <a:lnTo>
                    <a:pt x="11721" y="29806"/>
                  </a:lnTo>
                  <a:lnTo>
                    <a:pt x="3060" y="26085"/>
                  </a:lnTo>
                  <a:lnTo>
                    <a:pt x="761" y="25094"/>
                  </a:lnTo>
                  <a:lnTo>
                    <a:pt x="203" y="24840"/>
                  </a:lnTo>
                  <a:lnTo>
                    <a:pt x="0" y="24840"/>
                  </a:lnTo>
                  <a:lnTo>
                    <a:pt x="203" y="24840"/>
                  </a:lnTo>
                  <a:lnTo>
                    <a:pt x="800" y="25069"/>
                  </a:lnTo>
                  <a:lnTo>
                    <a:pt x="3124" y="26009"/>
                  </a:lnTo>
                  <a:lnTo>
                    <a:pt x="11810" y="29616"/>
                  </a:lnTo>
                  <a:lnTo>
                    <a:pt x="42468" y="42417"/>
                  </a:lnTo>
                  <a:lnTo>
                    <a:pt x="75856" y="33438"/>
                  </a:lnTo>
                  <a:lnTo>
                    <a:pt x="81164" y="32029"/>
                  </a:lnTo>
                  <a:lnTo>
                    <a:pt x="81164" y="32422"/>
                  </a:lnTo>
                  <a:lnTo>
                    <a:pt x="41274" y="88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5" name="Free Form 3149">
              <a:extLst>
                <a:ext uri="{FF2B5EF4-FFF2-40B4-BE49-F238E27FC236}">
                  <a16:creationId xmlns:a16="http://schemas.microsoft.com/office/drawing/2014/main" id="{71EFC107-59D0-E1C5-7605-773A7A02A8D2}"/>
                </a:ext>
              </a:extLst>
            </p:cNvPr>
            <p:cNvSpPr/>
            <p:nvPr/>
          </p:nvSpPr>
          <p:spPr>
            <a:xfrm>
              <a:off x="26423233" y="30731993"/>
              <a:ext cx="8255" cy="8572"/>
            </a:xfrm>
            <a:custGeom>
              <a:avLst/>
              <a:gdLst/>
              <a:ahLst/>
              <a:cxnLst/>
              <a:rect l="0" t="0" r="0" b="0"/>
              <a:pathLst>
                <a:path w="8254" h="8572">
                  <a:moveTo>
                    <a:pt x="2920" y="0"/>
                  </a:moveTo>
                  <a:lnTo>
                    <a:pt x="5105" y="2044"/>
                  </a:lnTo>
                  <a:lnTo>
                    <a:pt x="8026" y="1422"/>
                  </a:lnTo>
                  <a:lnTo>
                    <a:pt x="6756" y="4114"/>
                  </a:lnTo>
                  <a:lnTo>
                    <a:pt x="8254" y="6705"/>
                  </a:lnTo>
                  <a:lnTo>
                    <a:pt x="5283" y="6337"/>
                  </a:lnTo>
                  <a:lnTo>
                    <a:pt x="3289" y="8572"/>
                  </a:lnTo>
                  <a:lnTo>
                    <a:pt x="2717" y="5626"/>
                  </a:lnTo>
                  <a:lnTo>
                    <a:pt x="0" y="4406"/>
                  </a:lnTo>
                  <a:lnTo>
                    <a:pt x="2603" y="2984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6" name="Free Form 3150">
              <a:extLst>
                <a:ext uri="{FF2B5EF4-FFF2-40B4-BE49-F238E27FC236}">
                  <a16:creationId xmlns:a16="http://schemas.microsoft.com/office/drawing/2014/main" id="{0244F2C1-53F6-6511-E5D9-B29B2820718D}"/>
                </a:ext>
              </a:extLst>
            </p:cNvPr>
            <p:cNvSpPr/>
            <p:nvPr/>
          </p:nvSpPr>
          <p:spPr>
            <a:xfrm>
              <a:off x="26386101" y="30744712"/>
              <a:ext cx="5423" cy="5512"/>
            </a:xfrm>
            <a:custGeom>
              <a:avLst/>
              <a:gdLst/>
              <a:ahLst/>
              <a:cxnLst/>
              <a:rect l="0" t="0" r="0" b="0"/>
              <a:pathLst>
                <a:path w="5422" h="5511">
                  <a:moveTo>
                    <a:pt x="1727" y="0"/>
                  </a:moveTo>
                  <a:lnTo>
                    <a:pt x="3200" y="1219"/>
                  </a:lnTo>
                  <a:lnTo>
                    <a:pt x="5079" y="711"/>
                  </a:lnTo>
                  <a:lnTo>
                    <a:pt x="4368" y="2501"/>
                  </a:lnTo>
                  <a:lnTo>
                    <a:pt x="5422" y="4114"/>
                  </a:lnTo>
                  <a:lnTo>
                    <a:pt x="3479" y="3975"/>
                  </a:lnTo>
                  <a:lnTo>
                    <a:pt x="2298" y="5511"/>
                  </a:lnTo>
                  <a:lnTo>
                    <a:pt x="1816" y="3632"/>
                  </a:lnTo>
                  <a:lnTo>
                    <a:pt x="0" y="2959"/>
                  </a:lnTo>
                  <a:lnTo>
                    <a:pt x="1638" y="1930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7" name="Free Form 3151">
              <a:extLst>
                <a:ext uri="{FF2B5EF4-FFF2-40B4-BE49-F238E27FC236}">
                  <a16:creationId xmlns:a16="http://schemas.microsoft.com/office/drawing/2014/main" id="{97E8BF80-21A5-86F0-1B82-602EDFEB0908}"/>
                </a:ext>
              </a:extLst>
            </p:cNvPr>
            <p:cNvSpPr/>
            <p:nvPr/>
          </p:nvSpPr>
          <p:spPr>
            <a:xfrm>
              <a:off x="26345468" y="30725610"/>
              <a:ext cx="6668" cy="6756"/>
            </a:xfrm>
            <a:custGeom>
              <a:avLst/>
              <a:gdLst/>
              <a:ahLst/>
              <a:cxnLst/>
              <a:rect l="0" t="0" r="0" b="0"/>
              <a:pathLst>
                <a:path w="6667" h="6756">
                  <a:moveTo>
                    <a:pt x="0" y="1727"/>
                  </a:moveTo>
                  <a:lnTo>
                    <a:pt x="2387" y="1866"/>
                  </a:lnTo>
                  <a:lnTo>
                    <a:pt x="3860" y="0"/>
                  </a:lnTo>
                  <a:lnTo>
                    <a:pt x="4457" y="2298"/>
                  </a:lnTo>
                  <a:lnTo>
                    <a:pt x="6667" y="3111"/>
                  </a:lnTo>
                  <a:lnTo>
                    <a:pt x="4660" y="4394"/>
                  </a:lnTo>
                  <a:lnTo>
                    <a:pt x="4571" y="6756"/>
                  </a:lnTo>
                  <a:lnTo>
                    <a:pt x="2755" y="5245"/>
                  </a:lnTo>
                  <a:lnTo>
                    <a:pt x="457" y="5905"/>
                  </a:lnTo>
                  <a:lnTo>
                    <a:pt x="1333" y="368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8" name="Free Form 3152">
              <a:extLst>
                <a:ext uri="{FF2B5EF4-FFF2-40B4-BE49-F238E27FC236}">
                  <a16:creationId xmlns:a16="http://schemas.microsoft.com/office/drawing/2014/main" id="{DA1C59C4-C3C4-854D-21C0-C2459AD237F0}"/>
                </a:ext>
              </a:extLst>
            </p:cNvPr>
            <p:cNvSpPr/>
            <p:nvPr/>
          </p:nvSpPr>
          <p:spPr>
            <a:xfrm>
              <a:off x="26444070" y="30703689"/>
              <a:ext cx="6667" cy="6756"/>
            </a:xfrm>
            <a:custGeom>
              <a:avLst/>
              <a:gdLst/>
              <a:ahLst/>
              <a:cxnLst/>
              <a:rect l="0" t="0" r="0" b="0"/>
              <a:pathLst>
                <a:path w="6667" h="6756">
                  <a:moveTo>
                    <a:pt x="0" y="1701"/>
                  </a:moveTo>
                  <a:lnTo>
                    <a:pt x="2387" y="1866"/>
                  </a:lnTo>
                  <a:lnTo>
                    <a:pt x="3835" y="0"/>
                  </a:lnTo>
                  <a:lnTo>
                    <a:pt x="4432" y="2298"/>
                  </a:lnTo>
                  <a:lnTo>
                    <a:pt x="6667" y="3124"/>
                  </a:lnTo>
                  <a:lnTo>
                    <a:pt x="4660" y="4368"/>
                  </a:lnTo>
                  <a:lnTo>
                    <a:pt x="4571" y="6756"/>
                  </a:lnTo>
                  <a:lnTo>
                    <a:pt x="2755" y="5257"/>
                  </a:lnTo>
                  <a:lnTo>
                    <a:pt x="457" y="5905"/>
                  </a:lnTo>
                  <a:lnTo>
                    <a:pt x="1333" y="368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89" name="Free Form 3153">
              <a:extLst>
                <a:ext uri="{FF2B5EF4-FFF2-40B4-BE49-F238E27FC236}">
                  <a16:creationId xmlns:a16="http://schemas.microsoft.com/office/drawing/2014/main" id="{B43351DA-8C42-FB8C-A915-36CF57839AB4}"/>
                </a:ext>
              </a:extLst>
            </p:cNvPr>
            <p:cNvSpPr/>
            <p:nvPr/>
          </p:nvSpPr>
          <p:spPr>
            <a:xfrm>
              <a:off x="26387940" y="30702752"/>
              <a:ext cx="4229" cy="4318"/>
            </a:xfrm>
            <a:custGeom>
              <a:avLst/>
              <a:gdLst/>
              <a:ahLst/>
              <a:cxnLst/>
              <a:rect l="0" t="0" r="0" b="0"/>
              <a:pathLst>
                <a:path w="4229" h="4317">
                  <a:moveTo>
                    <a:pt x="0" y="1104"/>
                  </a:moveTo>
                  <a:lnTo>
                    <a:pt x="1511" y="1193"/>
                  </a:lnTo>
                  <a:lnTo>
                    <a:pt x="2438" y="0"/>
                  </a:lnTo>
                  <a:lnTo>
                    <a:pt x="2806" y="1473"/>
                  </a:lnTo>
                  <a:lnTo>
                    <a:pt x="4229" y="1981"/>
                  </a:lnTo>
                  <a:lnTo>
                    <a:pt x="2959" y="2781"/>
                  </a:lnTo>
                  <a:lnTo>
                    <a:pt x="2895" y="4317"/>
                  </a:lnTo>
                  <a:lnTo>
                    <a:pt x="1727" y="3352"/>
                  </a:lnTo>
                  <a:lnTo>
                    <a:pt x="279" y="3771"/>
                  </a:lnTo>
                  <a:lnTo>
                    <a:pt x="825" y="2349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0" name="Free Form 3154">
              <a:extLst>
                <a:ext uri="{FF2B5EF4-FFF2-40B4-BE49-F238E27FC236}">
                  <a16:creationId xmlns:a16="http://schemas.microsoft.com/office/drawing/2014/main" id="{6A13FF8F-79D5-76F6-4A9C-A387F08A3AF6}"/>
                </a:ext>
              </a:extLst>
            </p:cNvPr>
            <p:cNvSpPr/>
            <p:nvPr/>
          </p:nvSpPr>
          <p:spPr>
            <a:xfrm>
              <a:off x="26389669" y="30704477"/>
              <a:ext cx="57746" cy="2756"/>
            </a:xfrm>
            <a:custGeom>
              <a:avLst/>
              <a:gdLst/>
              <a:ahLst/>
              <a:cxnLst/>
              <a:rect l="0" t="0" r="0" b="0"/>
              <a:pathLst>
                <a:path w="57746" h="2755">
                  <a:moveTo>
                    <a:pt x="57720" y="2616"/>
                  </a:moveTo>
                  <a:cubicBezTo>
                    <a:pt x="57720" y="2755"/>
                    <a:pt x="44805" y="2336"/>
                    <a:pt x="28879" y="1650"/>
                  </a:cubicBezTo>
                  <a:cubicBezTo>
                    <a:pt x="12953" y="965"/>
                    <a:pt x="0" y="292"/>
                    <a:pt x="0" y="152"/>
                  </a:cubicBezTo>
                  <a:cubicBezTo>
                    <a:pt x="0" y="0"/>
                    <a:pt x="12953" y="431"/>
                    <a:pt x="28879" y="1117"/>
                  </a:cubicBezTo>
                  <a:cubicBezTo>
                    <a:pt x="44805" y="1790"/>
                    <a:pt x="57746" y="2412"/>
                    <a:pt x="57720" y="2616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1" name="Free Form 3155">
              <a:extLst>
                <a:ext uri="{FF2B5EF4-FFF2-40B4-BE49-F238E27FC236}">
                  <a16:creationId xmlns:a16="http://schemas.microsoft.com/office/drawing/2014/main" id="{B5E25119-4195-C99D-6EB1-32FE44157E0C}"/>
                </a:ext>
              </a:extLst>
            </p:cNvPr>
            <p:cNvSpPr/>
            <p:nvPr/>
          </p:nvSpPr>
          <p:spPr>
            <a:xfrm>
              <a:off x="26072205" y="30661808"/>
              <a:ext cx="394560" cy="31915"/>
            </a:xfrm>
            <a:custGeom>
              <a:avLst/>
              <a:gdLst/>
              <a:ahLst/>
              <a:cxnLst/>
              <a:rect l="0" t="0" r="0" b="0"/>
              <a:pathLst>
                <a:path w="394559" h="31914">
                  <a:moveTo>
                    <a:pt x="389720" y="31914"/>
                  </a:moveTo>
                  <a:lnTo>
                    <a:pt x="6248" y="31914"/>
                  </a:lnTo>
                  <a:cubicBezTo>
                    <a:pt x="1219" y="20561"/>
                    <a:pt x="0" y="9715"/>
                    <a:pt x="6248" y="0"/>
                  </a:cubicBezTo>
                  <a:lnTo>
                    <a:pt x="389720" y="0"/>
                  </a:lnTo>
                  <a:cubicBezTo>
                    <a:pt x="394559" y="10083"/>
                    <a:pt x="394559" y="21831"/>
                    <a:pt x="389720" y="3191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2" name="Rectangle 3156">
              <a:extLst>
                <a:ext uri="{FF2B5EF4-FFF2-40B4-BE49-F238E27FC236}">
                  <a16:creationId xmlns:a16="http://schemas.microsoft.com/office/drawing/2014/main" id="{A5BD57E7-903A-DA2C-4851-D20FD280E680}"/>
                </a:ext>
              </a:extLst>
            </p:cNvPr>
            <p:cNvSpPr/>
            <p:nvPr/>
          </p:nvSpPr>
          <p:spPr>
            <a:xfrm>
              <a:off x="26157867" y="30482691"/>
              <a:ext cx="207757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3" name="Free Form 3157">
              <a:extLst>
                <a:ext uri="{FF2B5EF4-FFF2-40B4-BE49-F238E27FC236}">
                  <a16:creationId xmlns:a16="http://schemas.microsoft.com/office/drawing/2014/main" id="{0D61860E-B26E-3715-B788-5005EBBF39B4}"/>
                </a:ext>
              </a:extLst>
            </p:cNvPr>
            <p:cNvSpPr/>
            <p:nvPr/>
          </p:nvSpPr>
          <p:spPr>
            <a:xfrm>
              <a:off x="26086291" y="30662603"/>
              <a:ext cx="6870" cy="31318"/>
            </a:xfrm>
            <a:custGeom>
              <a:avLst/>
              <a:gdLst/>
              <a:ahLst/>
              <a:cxnLst/>
              <a:rect l="0" t="0" r="0" b="0"/>
              <a:pathLst>
                <a:path w="6870" h="31317">
                  <a:moveTo>
                    <a:pt x="6870" y="31317"/>
                  </a:moveTo>
                  <a:cubicBezTo>
                    <a:pt x="5600" y="30263"/>
                    <a:pt x="4571" y="28942"/>
                    <a:pt x="3860" y="27457"/>
                  </a:cubicBezTo>
                  <a:cubicBezTo>
                    <a:pt x="1879" y="23964"/>
                    <a:pt x="685" y="20091"/>
                    <a:pt x="342" y="16103"/>
                  </a:cubicBezTo>
                  <a:cubicBezTo>
                    <a:pt x="0" y="12115"/>
                    <a:pt x="495" y="8102"/>
                    <a:pt x="1816" y="4317"/>
                  </a:cubicBezTo>
                  <a:cubicBezTo>
                    <a:pt x="2260" y="2730"/>
                    <a:pt x="3047" y="1257"/>
                    <a:pt x="4114" y="0"/>
                  </a:cubicBezTo>
                  <a:cubicBezTo>
                    <a:pt x="3784" y="1574"/>
                    <a:pt x="3327" y="3124"/>
                    <a:pt x="2755" y="4635"/>
                  </a:cubicBezTo>
                  <a:cubicBezTo>
                    <a:pt x="711" y="12077"/>
                    <a:pt x="1409" y="20002"/>
                    <a:pt x="4737" y="26974"/>
                  </a:cubicBezTo>
                  <a:cubicBezTo>
                    <a:pt x="5562" y="28371"/>
                    <a:pt x="6273" y="29819"/>
                    <a:pt x="6870" y="3131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4" name="Free Form 3158">
              <a:extLst>
                <a:ext uri="{FF2B5EF4-FFF2-40B4-BE49-F238E27FC236}">
                  <a16:creationId xmlns:a16="http://schemas.microsoft.com/office/drawing/2014/main" id="{B6007B31-12A8-114C-3143-DC04E06C660C}"/>
                </a:ext>
              </a:extLst>
            </p:cNvPr>
            <p:cNvSpPr/>
            <p:nvPr/>
          </p:nvSpPr>
          <p:spPr>
            <a:xfrm>
              <a:off x="26093758" y="30662629"/>
              <a:ext cx="7722" cy="31292"/>
            </a:xfrm>
            <a:custGeom>
              <a:avLst/>
              <a:gdLst/>
              <a:ahLst/>
              <a:cxnLst/>
              <a:rect l="0" t="0" r="0" b="0"/>
              <a:pathLst>
                <a:path w="7721" h="31292">
                  <a:moveTo>
                    <a:pt x="7721" y="31292"/>
                  </a:moveTo>
                  <a:cubicBezTo>
                    <a:pt x="6438" y="30238"/>
                    <a:pt x="5397" y="28917"/>
                    <a:pt x="4686" y="27431"/>
                  </a:cubicBezTo>
                  <a:cubicBezTo>
                    <a:pt x="736" y="20370"/>
                    <a:pt x="0" y="11963"/>
                    <a:pt x="2641" y="4317"/>
                  </a:cubicBezTo>
                  <a:cubicBezTo>
                    <a:pt x="3086" y="2730"/>
                    <a:pt x="3873" y="1257"/>
                    <a:pt x="4965" y="0"/>
                  </a:cubicBezTo>
                  <a:cubicBezTo>
                    <a:pt x="4597" y="1574"/>
                    <a:pt x="4152" y="3124"/>
                    <a:pt x="3606" y="4635"/>
                  </a:cubicBezTo>
                  <a:cubicBezTo>
                    <a:pt x="2590" y="8331"/>
                    <a:pt x="2247" y="12179"/>
                    <a:pt x="2578" y="15989"/>
                  </a:cubicBezTo>
                  <a:cubicBezTo>
                    <a:pt x="2882" y="19799"/>
                    <a:pt x="3848" y="23520"/>
                    <a:pt x="5422" y="26999"/>
                  </a:cubicBezTo>
                  <a:cubicBezTo>
                    <a:pt x="6273" y="28384"/>
                    <a:pt x="7035" y="29819"/>
                    <a:pt x="7721" y="31292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5" name="Free Form 3159">
              <a:extLst>
                <a:ext uri="{FF2B5EF4-FFF2-40B4-BE49-F238E27FC236}">
                  <a16:creationId xmlns:a16="http://schemas.microsoft.com/office/drawing/2014/main" id="{A3BF38FB-51A6-8269-76FC-D4ABA9CDB32A}"/>
                </a:ext>
              </a:extLst>
            </p:cNvPr>
            <p:cNvSpPr/>
            <p:nvPr/>
          </p:nvSpPr>
          <p:spPr>
            <a:xfrm>
              <a:off x="26446398" y="30661925"/>
              <a:ext cx="5639" cy="31229"/>
            </a:xfrm>
            <a:custGeom>
              <a:avLst/>
              <a:gdLst/>
              <a:ahLst/>
              <a:cxnLst/>
              <a:rect l="0" t="0" r="0" b="0"/>
              <a:pathLst>
                <a:path w="5638" h="31228">
                  <a:moveTo>
                    <a:pt x="0" y="31228"/>
                  </a:moveTo>
                  <a:cubicBezTo>
                    <a:pt x="1587" y="26174"/>
                    <a:pt x="2539" y="20929"/>
                    <a:pt x="2832" y="15646"/>
                  </a:cubicBezTo>
                  <a:cubicBezTo>
                    <a:pt x="2641" y="10350"/>
                    <a:pt x="1803" y="5092"/>
                    <a:pt x="342" y="0"/>
                  </a:cubicBezTo>
                  <a:cubicBezTo>
                    <a:pt x="5638" y="9753"/>
                    <a:pt x="5549" y="21538"/>
                    <a:pt x="139" y="31228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6" name="Free Form 3160">
              <a:extLst>
                <a:ext uri="{FF2B5EF4-FFF2-40B4-BE49-F238E27FC236}">
                  <a16:creationId xmlns:a16="http://schemas.microsoft.com/office/drawing/2014/main" id="{799D5D28-24DA-3D10-0BE9-D1679218E6CC}"/>
                </a:ext>
              </a:extLst>
            </p:cNvPr>
            <p:cNvSpPr/>
            <p:nvPr/>
          </p:nvSpPr>
          <p:spPr>
            <a:xfrm>
              <a:off x="26438812" y="30662517"/>
              <a:ext cx="3861" cy="30581"/>
            </a:xfrm>
            <a:custGeom>
              <a:avLst/>
              <a:gdLst/>
              <a:ahLst/>
              <a:cxnLst/>
              <a:rect l="0" t="0" r="0" b="0"/>
              <a:pathLst>
                <a:path w="3860" h="30581">
                  <a:moveTo>
                    <a:pt x="457" y="30581"/>
                  </a:moveTo>
                  <a:cubicBezTo>
                    <a:pt x="38" y="30581"/>
                    <a:pt x="1650" y="23736"/>
                    <a:pt x="1625" y="15277"/>
                  </a:cubicBezTo>
                  <a:cubicBezTo>
                    <a:pt x="1600" y="6819"/>
                    <a:pt x="0" y="88"/>
                    <a:pt x="431" y="0"/>
                  </a:cubicBezTo>
                  <a:cubicBezTo>
                    <a:pt x="3860" y="9905"/>
                    <a:pt x="3860" y="20675"/>
                    <a:pt x="431" y="30581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7" name="Free Form 3161">
              <a:extLst>
                <a:ext uri="{FF2B5EF4-FFF2-40B4-BE49-F238E27FC236}">
                  <a16:creationId xmlns:a16="http://schemas.microsoft.com/office/drawing/2014/main" id="{C0D9F776-C732-1FBB-A71C-569BC73C549D}"/>
                </a:ext>
              </a:extLst>
            </p:cNvPr>
            <p:cNvSpPr/>
            <p:nvPr/>
          </p:nvSpPr>
          <p:spPr>
            <a:xfrm>
              <a:off x="24885656" y="29674210"/>
              <a:ext cx="269224" cy="61442"/>
            </a:xfrm>
            <a:custGeom>
              <a:avLst/>
              <a:gdLst/>
              <a:ahLst/>
              <a:cxnLst/>
              <a:rect l="0" t="0" r="0" b="0"/>
              <a:pathLst>
                <a:path w="269224" h="61441">
                  <a:moveTo>
                    <a:pt x="269224" y="61441"/>
                  </a:moveTo>
                  <a:cubicBezTo>
                    <a:pt x="268970" y="61403"/>
                    <a:pt x="268716" y="61327"/>
                    <a:pt x="268487" y="61213"/>
                  </a:cubicBezTo>
                  <a:lnTo>
                    <a:pt x="266417" y="60387"/>
                  </a:lnTo>
                  <a:lnTo>
                    <a:pt x="258518" y="57098"/>
                  </a:lnTo>
                  <a:lnTo>
                    <a:pt x="229613" y="44716"/>
                  </a:lnTo>
                  <a:lnTo>
                    <a:pt x="134504" y="3301"/>
                  </a:lnTo>
                  <a:lnTo>
                    <a:pt x="131215" y="1854"/>
                  </a:lnTo>
                  <a:lnTo>
                    <a:pt x="131900" y="1854"/>
                  </a:lnTo>
                  <a:lnTo>
                    <a:pt x="38721" y="41592"/>
                  </a:lnTo>
                  <a:lnTo>
                    <a:pt x="10528" y="53441"/>
                  </a:lnTo>
                  <a:lnTo>
                    <a:pt x="2832" y="56552"/>
                  </a:lnTo>
                  <a:cubicBezTo>
                    <a:pt x="1917" y="56971"/>
                    <a:pt x="965" y="57301"/>
                    <a:pt x="0" y="57555"/>
                  </a:cubicBezTo>
                  <a:cubicBezTo>
                    <a:pt x="863" y="57060"/>
                    <a:pt x="1752" y="56628"/>
                    <a:pt x="2666" y="56247"/>
                  </a:cubicBezTo>
                  <a:lnTo>
                    <a:pt x="10210" y="52844"/>
                  </a:lnTo>
                  <a:lnTo>
                    <a:pt x="38175" y="40487"/>
                  </a:lnTo>
                  <a:lnTo>
                    <a:pt x="131164" y="177"/>
                  </a:lnTo>
                  <a:lnTo>
                    <a:pt x="131507" y="0"/>
                  </a:lnTo>
                  <a:lnTo>
                    <a:pt x="131875" y="177"/>
                  </a:lnTo>
                  <a:lnTo>
                    <a:pt x="135164" y="1625"/>
                  </a:lnTo>
                  <a:lnTo>
                    <a:pt x="230045" y="43497"/>
                  </a:lnTo>
                  <a:lnTo>
                    <a:pt x="258721" y="56387"/>
                  </a:lnTo>
                  <a:lnTo>
                    <a:pt x="266697" y="60083"/>
                  </a:lnTo>
                  <a:lnTo>
                    <a:pt x="268691" y="61048"/>
                  </a:lnTo>
                  <a:cubicBezTo>
                    <a:pt x="268881" y="61149"/>
                    <a:pt x="269059" y="61289"/>
                    <a:pt x="269224" y="6144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8" name="Rectangle 3162">
              <a:extLst>
                <a:ext uri="{FF2B5EF4-FFF2-40B4-BE49-F238E27FC236}">
                  <a16:creationId xmlns:a16="http://schemas.microsoft.com/office/drawing/2014/main" id="{204C4354-5E78-81A2-796C-B0D0B4E7EC3B}"/>
                </a:ext>
              </a:extLst>
            </p:cNvPr>
            <p:cNvSpPr/>
            <p:nvPr/>
          </p:nvSpPr>
          <p:spPr>
            <a:xfrm>
              <a:off x="24692453" y="29756615"/>
              <a:ext cx="610774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199" name="Rectangle 3163">
              <a:extLst>
                <a:ext uri="{FF2B5EF4-FFF2-40B4-BE49-F238E27FC236}">
                  <a16:creationId xmlns:a16="http://schemas.microsoft.com/office/drawing/2014/main" id="{E86DB70F-557A-1D2C-87DF-20A35F658449}"/>
                </a:ext>
              </a:extLst>
            </p:cNvPr>
            <p:cNvSpPr/>
            <p:nvPr/>
          </p:nvSpPr>
          <p:spPr>
            <a:xfrm>
              <a:off x="24713802" y="29757853"/>
              <a:ext cx="570365" cy="388078"/>
            </a:xfrm>
            <a:prstGeom prst="rect">
              <a:avLst/>
            </a:pr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0" name="Free Form 3164">
              <a:extLst>
                <a:ext uri="{FF2B5EF4-FFF2-40B4-BE49-F238E27FC236}">
                  <a16:creationId xmlns:a16="http://schemas.microsoft.com/office/drawing/2014/main" id="{629A5DDE-6980-C54B-C88E-E23A37713CCF}"/>
                </a:ext>
              </a:extLst>
            </p:cNvPr>
            <p:cNvSpPr/>
            <p:nvPr/>
          </p:nvSpPr>
          <p:spPr>
            <a:xfrm>
              <a:off x="24839772" y="29925558"/>
              <a:ext cx="92150" cy="91414"/>
            </a:xfrm>
            <a:custGeom>
              <a:avLst/>
              <a:gdLst/>
              <a:ahLst/>
              <a:cxnLst/>
              <a:rect l="0" t="0" r="0" b="0"/>
              <a:pathLst>
                <a:path w="92150" h="91413">
                  <a:moveTo>
                    <a:pt x="0" y="0"/>
                  </a:moveTo>
                  <a:cubicBezTo>
                    <a:pt x="0" y="0"/>
                    <a:pt x="596" y="70039"/>
                    <a:pt x="4140" y="91413"/>
                  </a:cubicBezTo>
                  <a:lnTo>
                    <a:pt x="92150" y="87248"/>
                  </a:lnTo>
                  <a:cubicBezTo>
                    <a:pt x="92150" y="87248"/>
                    <a:pt x="84428" y="18402"/>
                    <a:pt x="87413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1" name="Free Form 3165">
              <a:extLst>
                <a:ext uri="{FF2B5EF4-FFF2-40B4-BE49-F238E27FC236}">
                  <a16:creationId xmlns:a16="http://schemas.microsoft.com/office/drawing/2014/main" id="{C33CF276-E8F8-98D2-1A0D-40C4E76C8FD0}"/>
                </a:ext>
              </a:extLst>
            </p:cNvPr>
            <p:cNvSpPr/>
            <p:nvPr/>
          </p:nvSpPr>
          <p:spPr>
            <a:xfrm>
              <a:off x="24863163" y="29935287"/>
              <a:ext cx="41478" cy="50038"/>
            </a:xfrm>
            <a:custGeom>
              <a:avLst/>
              <a:gdLst/>
              <a:ahLst/>
              <a:cxnLst/>
              <a:rect l="0" t="0" r="0" b="0"/>
              <a:pathLst>
                <a:path w="41477" h="50037">
                  <a:moveTo>
                    <a:pt x="19875" y="177"/>
                  </a:moveTo>
                  <a:lnTo>
                    <a:pt x="20218" y="177"/>
                  </a:lnTo>
                  <a:lnTo>
                    <a:pt x="21157" y="177"/>
                  </a:lnTo>
                  <a:cubicBezTo>
                    <a:pt x="22377" y="139"/>
                    <a:pt x="23609" y="203"/>
                    <a:pt x="24815" y="380"/>
                  </a:cubicBezTo>
                  <a:cubicBezTo>
                    <a:pt x="26784" y="622"/>
                    <a:pt x="28701" y="1181"/>
                    <a:pt x="30492" y="2019"/>
                  </a:cubicBezTo>
                  <a:cubicBezTo>
                    <a:pt x="32841" y="3174"/>
                    <a:pt x="34924" y="4825"/>
                    <a:pt x="36601" y="6845"/>
                  </a:cubicBezTo>
                  <a:cubicBezTo>
                    <a:pt x="38632" y="9334"/>
                    <a:pt x="40068" y="12242"/>
                    <a:pt x="40804" y="15366"/>
                  </a:cubicBezTo>
                  <a:cubicBezTo>
                    <a:pt x="41477" y="19011"/>
                    <a:pt x="41160" y="22770"/>
                    <a:pt x="39864" y="26237"/>
                  </a:cubicBezTo>
                  <a:cubicBezTo>
                    <a:pt x="39229" y="28117"/>
                    <a:pt x="38404" y="29933"/>
                    <a:pt x="37426" y="31660"/>
                  </a:cubicBezTo>
                  <a:cubicBezTo>
                    <a:pt x="36423" y="33426"/>
                    <a:pt x="35432" y="35216"/>
                    <a:pt x="34581" y="37147"/>
                  </a:cubicBezTo>
                  <a:cubicBezTo>
                    <a:pt x="32841" y="41122"/>
                    <a:pt x="31648" y="45313"/>
                    <a:pt x="31038" y="49605"/>
                  </a:cubicBezTo>
                  <a:lnTo>
                    <a:pt x="31038" y="49885"/>
                  </a:lnTo>
                  <a:lnTo>
                    <a:pt x="30746" y="49885"/>
                  </a:lnTo>
                  <a:lnTo>
                    <a:pt x="22059" y="50037"/>
                  </a:lnTo>
                  <a:lnTo>
                    <a:pt x="12979" y="50037"/>
                  </a:lnTo>
                  <a:lnTo>
                    <a:pt x="12661" y="50037"/>
                  </a:lnTo>
                  <a:lnTo>
                    <a:pt x="12661" y="49694"/>
                  </a:lnTo>
                  <a:cubicBezTo>
                    <a:pt x="12280" y="45402"/>
                    <a:pt x="10832" y="41274"/>
                    <a:pt x="8458" y="37680"/>
                  </a:cubicBezTo>
                  <a:cubicBezTo>
                    <a:pt x="7378" y="35889"/>
                    <a:pt x="6248" y="34188"/>
                    <a:pt x="5168" y="32486"/>
                  </a:cubicBezTo>
                  <a:cubicBezTo>
                    <a:pt x="4051" y="30873"/>
                    <a:pt x="3009" y="29196"/>
                    <a:pt x="2070" y="27457"/>
                  </a:cubicBezTo>
                  <a:cubicBezTo>
                    <a:pt x="469" y="24129"/>
                    <a:pt x="0" y="20383"/>
                    <a:pt x="711" y="16763"/>
                  </a:cubicBezTo>
                  <a:cubicBezTo>
                    <a:pt x="1219" y="13639"/>
                    <a:pt x="2374" y="10667"/>
                    <a:pt x="4089" y="8013"/>
                  </a:cubicBezTo>
                  <a:cubicBezTo>
                    <a:pt x="5575" y="5880"/>
                    <a:pt x="7505" y="4114"/>
                    <a:pt x="9766" y="2844"/>
                  </a:cubicBezTo>
                  <a:cubicBezTo>
                    <a:pt x="11467" y="1904"/>
                    <a:pt x="13284" y="1219"/>
                    <a:pt x="15163" y="774"/>
                  </a:cubicBezTo>
                  <a:cubicBezTo>
                    <a:pt x="16344" y="495"/>
                    <a:pt x="17551" y="292"/>
                    <a:pt x="18770" y="177"/>
                  </a:cubicBezTo>
                  <a:lnTo>
                    <a:pt x="19481" y="177"/>
                  </a:lnTo>
                  <a:lnTo>
                    <a:pt x="19786" y="177"/>
                  </a:lnTo>
                  <a:lnTo>
                    <a:pt x="19481" y="177"/>
                  </a:lnTo>
                  <a:lnTo>
                    <a:pt x="18541" y="177"/>
                  </a:lnTo>
                  <a:cubicBezTo>
                    <a:pt x="17348" y="317"/>
                    <a:pt x="16154" y="546"/>
                    <a:pt x="14998" y="863"/>
                  </a:cubicBezTo>
                  <a:cubicBezTo>
                    <a:pt x="13144" y="1333"/>
                    <a:pt x="11366" y="2057"/>
                    <a:pt x="9715" y="3022"/>
                  </a:cubicBezTo>
                  <a:cubicBezTo>
                    <a:pt x="7518" y="4279"/>
                    <a:pt x="5638" y="6007"/>
                    <a:pt x="4203" y="8102"/>
                  </a:cubicBezTo>
                  <a:cubicBezTo>
                    <a:pt x="2539" y="10680"/>
                    <a:pt x="1447" y="13588"/>
                    <a:pt x="965" y="16611"/>
                  </a:cubicBezTo>
                  <a:cubicBezTo>
                    <a:pt x="279" y="20129"/>
                    <a:pt x="774" y="23774"/>
                    <a:pt x="2362" y="26974"/>
                  </a:cubicBezTo>
                  <a:cubicBezTo>
                    <a:pt x="3289" y="28688"/>
                    <a:pt x="4317" y="30339"/>
                    <a:pt x="5422" y="31952"/>
                  </a:cubicBezTo>
                  <a:cubicBezTo>
                    <a:pt x="6502" y="33616"/>
                    <a:pt x="7670" y="35331"/>
                    <a:pt x="8750" y="37147"/>
                  </a:cubicBezTo>
                  <a:cubicBezTo>
                    <a:pt x="11188" y="40830"/>
                    <a:pt x="12674" y="45059"/>
                    <a:pt x="13068" y="49465"/>
                  </a:cubicBezTo>
                  <a:lnTo>
                    <a:pt x="12750" y="49123"/>
                  </a:lnTo>
                  <a:lnTo>
                    <a:pt x="21831" y="48983"/>
                  </a:lnTo>
                  <a:lnTo>
                    <a:pt x="30517" y="48983"/>
                  </a:lnTo>
                  <a:lnTo>
                    <a:pt x="30187" y="49288"/>
                  </a:lnTo>
                  <a:cubicBezTo>
                    <a:pt x="30797" y="44919"/>
                    <a:pt x="32029" y="40664"/>
                    <a:pt x="33819" y="36626"/>
                  </a:cubicBezTo>
                  <a:cubicBezTo>
                    <a:pt x="34657" y="34696"/>
                    <a:pt x="35610" y="32791"/>
                    <a:pt x="36651" y="30949"/>
                  </a:cubicBezTo>
                  <a:cubicBezTo>
                    <a:pt x="37629" y="29260"/>
                    <a:pt x="38442" y="27482"/>
                    <a:pt x="39090" y="25641"/>
                  </a:cubicBezTo>
                  <a:cubicBezTo>
                    <a:pt x="40372" y="22275"/>
                    <a:pt x="40703" y="18630"/>
                    <a:pt x="40055" y="15087"/>
                  </a:cubicBezTo>
                  <a:cubicBezTo>
                    <a:pt x="39344" y="12052"/>
                    <a:pt x="37972" y="9220"/>
                    <a:pt x="36029" y="6794"/>
                  </a:cubicBezTo>
                  <a:cubicBezTo>
                    <a:pt x="34416" y="4813"/>
                    <a:pt x="32397" y="3187"/>
                    <a:pt x="30124" y="2019"/>
                  </a:cubicBezTo>
                  <a:cubicBezTo>
                    <a:pt x="28384" y="1193"/>
                    <a:pt x="26542" y="609"/>
                    <a:pt x="24650" y="292"/>
                  </a:cubicBezTo>
                  <a:cubicBezTo>
                    <a:pt x="23456" y="101"/>
                    <a:pt x="22250" y="0"/>
                    <a:pt x="21043" y="12"/>
                  </a:cubicBezTo>
                  <a:lnTo>
                    <a:pt x="19760" y="12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2" name="Free Form 3166">
              <a:extLst>
                <a:ext uri="{FF2B5EF4-FFF2-40B4-BE49-F238E27FC236}">
                  <a16:creationId xmlns:a16="http://schemas.microsoft.com/office/drawing/2014/main" id="{751B1D51-D212-7F2C-A634-BA3750DD6083}"/>
                </a:ext>
              </a:extLst>
            </p:cNvPr>
            <p:cNvSpPr/>
            <p:nvPr/>
          </p:nvSpPr>
          <p:spPr>
            <a:xfrm>
              <a:off x="24872338" y="29951961"/>
              <a:ext cx="23305" cy="32588"/>
            </a:xfrm>
            <a:custGeom>
              <a:avLst/>
              <a:gdLst/>
              <a:ahLst/>
              <a:cxnLst/>
              <a:rect l="0" t="0" r="0" b="0"/>
              <a:pathLst>
                <a:path w="23304" h="32587">
                  <a:moveTo>
                    <a:pt x="15214" y="32308"/>
                  </a:moveTo>
                  <a:lnTo>
                    <a:pt x="15214" y="32029"/>
                  </a:lnTo>
                  <a:lnTo>
                    <a:pt x="15214" y="31203"/>
                  </a:lnTo>
                  <a:lnTo>
                    <a:pt x="14731" y="28079"/>
                  </a:lnTo>
                  <a:cubicBezTo>
                    <a:pt x="14363" y="25234"/>
                    <a:pt x="13766" y="21399"/>
                    <a:pt x="13372" y="16471"/>
                  </a:cubicBezTo>
                  <a:cubicBezTo>
                    <a:pt x="13372" y="15239"/>
                    <a:pt x="13195" y="13969"/>
                    <a:pt x="13144" y="12598"/>
                  </a:cubicBezTo>
                  <a:cubicBezTo>
                    <a:pt x="13080" y="11239"/>
                    <a:pt x="13144" y="9766"/>
                    <a:pt x="13144" y="8432"/>
                  </a:cubicBezTo>
                  <a:cubicBezTo>
                    <a:pt x="13182" y="6908"/>
                    <a:pt x="13512" y="5422"/>
                    <a:pt x="14134" y="4025"/>
                  </a:cubicBezTo>
                  <a:cubicBezTo>
                    <a:pt x="14795" y="2539"/>
                    <a:pt x="15989" y="1333"/>
                    <a:pt x="17487" y="685"/>
                  </a:cubicBezTo>
                  <a:cubicBezTo>
                    <a:pt x="19125" y="0"/>
                    <a:pt x="21005" y="355"/>
                    <a:pt x="22288" y="1587"/>
                  </a:cubicBezTo>
                  <a:cubicBezTo>
                    <a:pt x="22935" y="2209"/>
                    <a:pt x="23304" y="3073"/>
                    <a:pt x="23304" y="3975"/>
                  </a:cubicBezTo>
                  <a:cubicBezTo>
                    <a:pt x="23278" y="4889"/>
                    <a:pt x="22961" y="5778"/>
                    <a:pt x="22402" y="6502"/>
                  </a:cubicBezTo>
                  <a:cubicBezTo>
                    <a:pt x="21843" y="7226"/>
                    <a:pt x="21119" y="7810"/>
                    <a:pt x="20294" y="8204"/>
                  </a:cubicBezTo>
                  <a:cubicBezTo>
                    <a:pt x="19468" y="8610"/>
                    <a:pt x="18592" y="8902"/>
                    <a:pt x="17678" y="9080"/>
                  </a:cubicBezTo>
                  <a:cubicBezTo>
                    <a:pt x="15811" y="9461"/>
                    <a:pt x="13919" y="9664"/>
                    <a:pt x="12001" y="9702"/>
                  </a:cubicBezTo>
                  <a:cubicBezTo>
                    <a:pt x="10109" y="9804"/>
                    <a:pt x="8204" y="9715"/>
                    <a:pt x="6324" y="9448"/>
                  </a:cubicBezTo>
                  <a:cubicBezTo>
                    <a:pt x="5422" y="9309"/>
                    <a:pt x="4533" y="9055"/>
                    <a:pt x="3682" y="8686"/>
                  </a:cubicBezTo>
                  <a:cubicBezTo>
                    <a:pt x="2844" y="8331"/>
                    <a:pt x="2082" y="7785"/>
                    <a:pt x="1473" y="7099"/>
                  </a:cubicBezTo>
                  <a:cubicBezTo>
                    <a:pt x="850" y="6451"/>
                    <a:pt x="406" y="5651"/>
                    <a:pt x="203" y="4775"/>
                  </a:cubicBezTo>
                  <a:cubicBezTo>
                    <a:pt x="0" y="3886"/>
                    <a:pt x="114" y="2971"/>
                    <a:pt x="507" y="2158"/>
                  </a:cubicBezTo>
                  <a:cubicBezTo>
                    <a:pt x="863" y="1346"/>
                    <a:pt x="1523" y="698"/>
                    <a:pt x="2349" y="368"/>
                  </a:cubicBezTo>
                  <a:cubicBezTo>
                    <a:pt x="3149" y="25"/>
                    <a:pt x="4051" y="25"/>
                    <a:pt x="4851" y="368"/>
                  </a:cubicBezTo>
                  <a:cubicBezTo>
                    <a:pt x="5587" y="736"/>
                    <a:pt x="6222" y="1282"/>
                    <a:pt x="6692" y="1955"/>
                  </a:cubicBezTo>
                  <a:cubicBezTo>
                    <a:pt x="7150" y="2616"/>
                    <a:pt x="7467" y="3365"/>
                    <a:pt x="7632" y="4140"/>
                  </a:cubicBezTo>
                  <a:cubicBezTo>
                    <a:pt x="7924" y="5626"/>
                    <a:pt x="8077" y="7124"/>
                    <a:pt x="8089" y="8623"/>
                  </a:cubicBezTo>
                  <a:cubicBezTo>
                    <a:pt x="8089" y="11467"/>
                    <a:pt x="8369" y="14312"/>
                    <a:pt x="8508" y="16662"/>
                  </a:cubicBezTo>
                  <a:cubicBezTo>
                    <a:pt x="8737" y="21577"/>
                    <a:pt x="8940" y="25552"/>
                    <a:pt x="9080" y="28333"/>
                  </a:cubicBezTo>
                  <a:cubicBezTo>
                    <a:pt x="9080" y="29692"/>
                    <a:pt x="9080" y="30746"/>
                    <a:pt x="9220" y="31482"/>
                  </a:cubicBezTo>
                  <a:lnTo>
                    <a:pt x="9220" y="32308"/>
                  </a:lnTo>
                  <a:lnTo>
                    <a:pt x="9220" y="32587"/>
                  </a:lnTo>
                  <a:cubicBezTo>
                    <a:pt x="9207" y="32498"/>
                    <a:pt x="9207" y="32397"/>
                    <a:pt x="9220" y="32308"/>
                  </a:cubicBezTo>
                  <a:lnTo>
                    <a:pt x="9220" y="31482"/>
                  </a:lnTo>
                  <a:cubicBezTo>
                    <a:pt x="9220" y="30771"/>
                    <a:pt x="9220" y="29692"/>
                    <a:pt x="9029" y="28333"/>
                  </a:cubicBezTo>
                  <a:cubicBezTo>
                    <a:pt x="8851" y="25488"/>
                    <a:pt x="8623" y="21602"/>
                    <a:pt x="8343" y="16687"/>
                  </a:cubicBezTo>
                  <a:cubicBezTo>
                    <a:pt x="8343" y="14223"/>
                    <a:pt x="8064" y="11531"/>
                    <a:pt x="7886" y="8623"/>
                  </a:cubicBezTo>
                  <a:cubicBezTo>
                    <a:pt x="7848" y="7150"/>
                    <a:pt x="7696" y="5664"/>
                    <a:pt x="7429" y="4203"/>
                  </a:cubicBezTo>
                  <a:cubicBezTo>
                    <a:pt x="7277" y="3441"/>
                    <a:pt x="6972" y="2730"/>
                    <a:pt x="6527" y="2095"/>
                  </a:cubicBezTo>
                  <a:cubicBezTo>
                    <a:pt x="6083" y="1460"/>
                    <a:pt x="5473" y="939"/>
                    <a:pt x="4762" y="596"/>
                  </a:cubicBezTo>
                  <a:cubicBezTo>
                    <a:pt x="4025" y="292"/>
                    <a:pt x="3200" y="292"/>
                    <a:pt x="2463" y="596"/>
                  </a:cubicBezTo>
                  <a:cubicBezTo>
                    <a:pt x="1727" y="939"/>
                    <a:pt x="1117" y="1523"/>
                    <a:pt x="761" y="2273"/>
                  </a:cubicBezTo>
                  <a:cubicBezTo>
                    <a:pt x="406" y="3035"/>
                    <a:pt x="304" y="3886"/>
                    <a:pt x="482" y="4711"/>
                  </a:cubicBezTo>
                  <a:cubicBezTo>
                    <a:pt x="673" y="5549"/>
                    <a:pt x="1092" y="6311"/>
                    <a:pt x="1701" y="6921"/>
                  </a:cubicBezTo>
                  <a:cubicBezTo>
                    <a:pt x="2959" y="8191"/>
                    <a:pt x="4610" y="8991"/>
                    <a:pt x="6388" y="9169"/>
                  </a:cubicBezTo>
                  <a:cubicBezTo>
                    <a:pt x="8267" y="9423"/>
                    <a:pt x="10172" y="9524"/>
                    <a:pt x="12064" y="9448"/>
                  </a:cubicBezTo>
                  <a:cubicBezTo>
                    <a:pt x="13919" y="9397"/>
                    <a:pt x="15760" y="9182"/>
                    <a:pt x="17576" y="8801"/>
                  </a:cubicBezTo>
                  <a:cubicBezTo>
                    <a:pt x="18440" y="8623"/>
                    <a:pt x="19291" y="8356"/>
                    <a:pt x="20103" y="7975"/>
                  </a:cubicBezTo>
                  <a:cubicBezTo>
                    <a:pt x="20891" y="7594"/>
                    <a:pt x="21589" y="7035"/>
                    <a:pt x="22110" y="6324"/>
                  </a:cubicBezTo>
                  <a:cubicBezTo>
                    <a:pt x="22656" y="5664"/>
                    <a:pt x="22961" y="4838"/>
                    <a:pt x="22961" y="3975"/>
                  </a:cubicBezTo>
                  <a:cubicBezTo>
                    <a:pt x="22974" y="3136"/>
                    <a:pt x="22643" y="2336"/>
                    <a:pt x="22021" y="1752"/>
                  </a:cubicBezTo>
                  <a:cubicBezTo>
                    <a:pt x="20815" y="622"/>
                    <a:pt x="19062" y="292"/>
                    <a:pt x="17513" y="901"/>
                  </a:cubicBezTo>
                  <a:cubicBezTo>
                    <a:pt x="16090" y="1549"/>
                    <a:pt x="14947" y="2692"/>
                    <a:pt x="14300" y="4114"/>
                  </a:cubicBezTo>
                  <a:cubicBezTo>
                    <a:pt x="13639" y="5473"/>
                    <a:pt x="13245" y="6946"/>
                    <a:pt x="13144" y="8458"/>
                  </a:cubicBezTo>
                  <a:cubicBezTo>
                    <a:pt x="13068" y="9855"/>
                    <a:pt x="13068" y="11239"/>
                    <a:pt x="13144" y="12636"/>
                  </a:cubicBezTo>
                  <a:cubicBezTo>
                    <a:pt x="13144" y="13969"/>
                    <a:pt x="13144" y="15277"/>
                    <a:pt x="13347" y="16497"/>
                  </a:cubicBezTo>
                  <a:cubicBezTo>
                    <a:pt x="13715" y="21399"/>
                    <a:pt x="14249" y="25348"/>
                    <a:pt x="14617" y="28079"/>
                  </a:cubicBezTo>
                  <a:lnTo>
                    <a:pt x="15049" y="31228"/>
                  </a:lnTo>
                  <a:lnTo>
                    <a:pt x="15049" y="32054"/>
                  </a:lnTo>
                  <a:cubicBezTo>
                    <a:pt x="15112" y="32130"/>
                    <a:pt x="15163" y="32219"/>
                    <a:pt x="15214" y="3230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3" name="Free Form 3167">
              <a:extLst>
                <a:ext uri="{FF2B5EF4-FFF2-40B4-BE49-F238E27FC236}">
                  <a16:creationId xmlns:a16="http://schemas.microsoft.com/office/drawing/2014/main" id="{D2AC5376-E971-0FEA-5419-2E7C8D1EFD21}"/>
                </a:ext>
              </a:extLst>
            </p:cNvPr>
            <p:cNvSpPr/>
            <p:nvPr/>
          </p:nvSpPr>
          <p:spPr>
            <a:xfrm>
              <a:off x="24875999" y="29984013"/>
              <a:ext cx="18618" cy="18453"/>
            </a:xfrm>
            <a:custGeom>
              <a:avLst/>
              <a:gdLst/>
              <a:ahLst/>
              <a:cxnLst/>
              <a:rect l="0" t="0" r="0" b="0"/>
              <a:pathLst>
                <a:path w="18618" h="18452">
                  <a:moveTo>
                    <a:pt x="0" y="711"/>
                  </a:moveTo>
                  <a:cubicBezTo>
                    <a:pt x="0" y="711"/>
                    <a:pt x="0" y="1790"/>
                    <a:pt x="228" y="3555"/>
                  </a:cubicBezTo>
                  <a:cubicBezTo>
                    <a:pt x="457" y="5308"/>
                    <a:pt x="457" y="8204"/>
                    <a:pt x="596" y="11163"/>
                  </a:cubicBezTo>
                  <a:lnTo>
                    <a:pt x="596" y="10959"/>
                  </a:lnTo>
                  <a:lnTo>
                    <a:pt x="6502" y="17779"/>
                  </a:lnTo>
                  <a:lnTo>
                    <a:pt x="6184" y="17779"/>
                  </a:lnTo>
                  <a:lnTo>
                    <a:pt x="13030" y="17373"/>
                  </a:lnTo>
                  <a:lnTo>
                    <a:pt x="12750" y="17513"/>
                  </a:lnTo>
                  <a:lnTo>
                    <a:pt x="16154" y="13372"/>
                  </a:lnTo>
                  <a:lnTo>
                    <a:pt x="17856" y="11302"/>
                  </a:lnTo>
                  <a:lnTo>
                    <a:pt x="17856" y="11556"/>
                  </a:lnTo>
                  <a:cubicBezTo>
                    <a:pt x="17856" y="7556"/>
                    <a:pt x="17690" y="3746"/>
                    <a:pt x="17602" y="203"/>
                  </a:cubicBezTo>
                  <a:lnTo>
                    <a:pt x="17970" y="571"/>
                  </a:lnTo>
                  <a:lnTo>
                    <a:pt x="5194" y="711"/>
                  </a:lnTo>
                  <a:lnTo>
                    <a:pt x="1498" y="711"/>
                  </a:lnTo>
                  <a:lnTo>
                    <a:pt x="139" y="711"/>
                  </a:lnTo>
                  <a:cubicBezTo>
                    <a:pt x="533" y="673"/>
                    <a:pt x="939" y="673"/>
                    <a:pt x="1333" y="711"/>
                  </a:cubicBezTo>
                  <a:lnTo>
                    <a:pt x="4940" y="507"/>
                  </a:lnTo>
                  <a:lnTo>
                    <a:pt x="17944" y="0"/>
                  </a:lnTo>
                  <a:lnTo>
                    <a:pt x="18313" y="0"/>
                  </a:lnTo>
                  <a:lnTo>
                    <a:pt x="18313" y="368"/>
                  </a:lnTo>
                  <a:cubicBezTo>
                    <a:pt x="18313" y="3809"/>
                    <a:pt x="18516" y="7607"/>
                    <a:pt x="18618" y="11721"/>
                  </a:cubicBezTo>
                  <a:lnTo>
                    <a:pt x="18618" y="11899"/>
                  </a:lnTo>
                  <a:lnTo>
                    <a:pt x="16916" y="13969"/>
                  </a:lnTo>
                  <a:lnTo>
                    <a:pt x="13512" y="18110"/>
                  </a:lnTo>
                  <a:lnTo>
                    <a:pt x="13347" y="18110"/>
                  </a:lnTo>
                  <a:lnTo>
                    <a:pt x="6502" y="18452"/>
                  </a:lnTo>
                  <a:lnTo>
                    <a:pt x="6299" y="18452"/>
                  </a:lnTo>
                  <a:lnTo>
                    <a:pt x="622" y="11556"/>
                  </a:lnTo>
                  <a:lnTo>
                    <a:pt x="622" y="3746"/>
                  </a:lnTo>
                  <a:cubicBezTo>
                    <a:pt x="330" y="2755"/>
                    <a:pt x="126" y="1739"/>
                    <a:pt x="0" y="71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4" name="Free Form 3168">
              <a:extLst>
                <a:ext uri="{FF2B5EF4-FFF2-40B4-BE49-F238E27FC236}">
                  <a16:creationId xmlns:a16="http://schemas.microsoft.com/office/drawing/2014/main" id="{FF94B3CA-50B9-8FE1-3538-387A2B06D44A}"/>
                </a:ext>
              </a:extLst>
            </p:cNvPr>
            <p:cNvSpPr/>
            <p:nvPr/>
          </p:nvSpPr>
          <p:spPr>
            <a:xfrm>
              <a:off x="24876560" y="29991949"/>
              <a:ext cx="17069" cy="3073"/>
            </a:xfrm>
            <a:custGeom>
              <a:avLst/>
              <a:gdLst/>
              <a:ahLst/>
              <a:cxnLst/>
              <a:rect l="0" t="0" r="0" b="0"/>
              <a:pathLst>
                <a:path w="17068" h="3073">
                  <a:moveTo>
                    <a:pt x="17068" y="2539"/>
                  </a:moveTo>
                  <a:cubicBezTo>
                    <a:pt x="16840" y="2476"/>
                    <a:pt x="16624" y="2387"/>
                    <a:pt x="16420" y="2285"/>
                  </a:cubicBezTo>
                  <a:cubicBezTo>
                    <a:pt x="15849" y="2006"/>
                    <a:pt x="15252" y="1765"/>
                    <a:pt x="14655" y="1574"/>
                  </a:cubicBezTo>
                  <a:cubicBezTo>
                    <a:pt x="10020" y="0"/>
                    <a:pt x="4927" y="431"/>
                    <a:pt x="634" y="2768"/>
                  </a:cubicBezTo>
                  <a:lnTo>
                    <a:pt x="0" y="3073"/>
                  </a:lnTo>
                  <a:lnTo>
                    <a:pt x="571" y="2654"/>
                  </a:lnTo>
                  <a:cubicBezTo>
                    <a:pt x="977" y="2425"/>
                    <a:pt x="1536" y="2120"/>
                    <a:pt x="2273" y="1777"/>
                  </a:cubicBezTo>
                  <a:cubicBezTo>
                    <a:pt x="4229" y="914"/>
                    <a:pt x="6337" y="431"/>
                    <a:pt x="8470" y="355"/>
                  </a:cubicBezTo>
                  <a:cubicBezTo>
                    <a:pt x="10591" y="279"/>
                    <a:pt x="12725" y="634"/>
                    <a:pt x="14706" y="1409"/>
                  </a:cubicBezTo>
                  <a:cubicBezTo>
                    <a:pt x="15316" y="1625"/>
                    <a:pt x="15900" y="1879"/>
                    <a:pt x="16471" y="217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5" name="Free Form 3169">
              <a:extLst>
                <a:ext uri="{FF2B5EF4-FFF2-40B4-BE49-F238E27FC236}">
                  <a16:creationId xmlns:a16="http://schemas.microsoft.com/office/drawing/2014/main" id="{80630E27-84B4-3625-DC9B-8FBCD2276A1B}"/>
                </a:ext>
              </a:extLst>
            </p:cNvPr>
            <p:cNvSpPr/>
            <p:nvPr/>
          </p:nvSpPr>
          <p:spPr>
            <a:xfrm>
              <a:off x="24876560" y="29989502"/>
              <a:ext cx="17069" cy="2883"/>
            </a:xfrm>
            <a:custGeom>
              <a:avLst/>
              <a:gdLst/>
              <a:ahLst/>
              <a:cxnLst/>
              <a:rect l="0" t="0" r="0" b="0"/>
              <a:pathLst>
                <a:path w="17068" h="2882">
                  <a:moveTo>
                    <a:pt x="17068" y="2374"/>
                  </a:moveTo>
                  <a:lnTo>
                    <a:pt x="16420" y="2095"/>
                  </a:lnTo>
                  <a:cubicBezTo>
                    <a:pt x="16014" y="1917"/>
                    <a:pt x="15417" y="1663"/>
                    <a:pt x="14655" y="1409"/>
                  </a:cubicBezTo>
                  <a:cubicBezTo>
                    <a:pt x="10655" y="0"/>
                    <a:pt x="6273" y="126"/>
                    <a:pt x="2362" y="1777"/>
                  </a:cubicBezTo>
                  <a:lnTo>
                    <a:pt x="634" y="2578"/>
                  </a:lnTo>
                  <a:cubicBezTo>
                    <a:pt x="444" y="2705"/>
                    <a:pt x="228" y="2819"/>
                    <a:pt x="0" y="2882"/>
                  </a:cubicBezTo>
                  <a:cubicBezTo>
                    <a:pt x="190" y="2743"/>
                    <a:pt x="380" y="2603"/>
                    <a:pt x="571" y="2489"/>
                  </a:cubicBezTo>
                  <a:cubicBezTo>
                    <a:pt x="1117" y="2158"/>
                    <a:pt x="1689" y="1866"/>
                    <a:pt x="2273" y="1612"/>
                  </a:cubicBezTo>
                  <a:cubicBezTo>
                    <a:pt x="4229" y="723"/>
                    <a:pt x="6324" y="241"/>
                    <a:pt x="8470" y="190"/>
                  </a:cubicBezTo>
                  <a:cubicBezTo>
                    <a:pt x="10591" y="126"/>
                    <a:pt x="12712" y="469"/>
                    <a:pt x="14706" y="1206"/>
                  </a:cubicBezTo>
                  <a:cubicBezTo>
                    <a:pt x="15316" y="1435"/>
                    <a:pt x="15912" y="1701"/>
                    <a:pt x="16471" y="2006"/>
                  </a:cubicBezTo>
                  <a:cubicBezTo>
                    <a:pt x="16687" y="2108"/>
                    <a:pt x="16878" y="2235"/>
                    <a:pt x="17068" y="2374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6" name="Free Form 3170">
              <a:extLst>
                <a:ext uri="{FF2B5EF4-FFF2-40B4-BE49-F238E27FC236}">
                  <a16:creationId xmlns:a16="http://schemas.microsoft.com/office/drawing/2014/main" id="{CC14B55E-8B68-1376-8C81-8142EAD12831}"/>
                </a:ext>
              </a:extLst>
            </p:cNvPr>
            <p:cNvSpPr/>
            <p:nvPr/>
          </p:nvSpPr>
          <p:spPr>
            <a:xfrm>
              <a:off x="24876390" y="29986600"/>
              <a:ext cx="17068" cy="3200"/>
            </a:xfrm>
            <a:custGeom>
              <a:avLst/>
              <a:gdLst/>
              <a:ahLst/>
              <a:cxnLst/>
              <a:rect l="0" t="0" r="0" b="0"/>
              <a:pathLst>
                <a:path w="17068" h="3200">
                  <a:moveTo>
                    <a:pt x="17068" y="2666"/>
                  </a:moveTo>
                  <a:lnTo>
                    <a:pt x="16446" y="2412"/>
                  </a:lnTo>
                  <a:cubicBezTo>
                    <a:pt x="15862" y="2133"/>
                    <a:pt x="15265" y="1904"/>
                    <a:pt x="14655" y="1701"/>
                  </a:cubicBezTo>
                  <a:cubicBezTo>
                    <a:pt x="12674" y="1015"/>
                    <a:pt x="10591" y="698"/>
                    <a:pt x="8496" y="761"/>
                  </a:cubicBezTo>
                  <a:cubicBezTo>
                    <a:pt x="6388" y="825"/>
                    <a:pt x="4305" y="1269"/>
                    <a:pt x="2362" y="2070"/>
                  </a:cubicBezTo>
                  <a:cubicBezTo>
                    <a:pt x="1777" y="2311"/>
                    <a:pt x="1206" y="2590"/>
                    <a:pt x="660" y="2895"/>
                  </a:cubicBezTo>
                  <a:lnTo>
                    <a:pt x="0" y="3200"/>
                  </a:lnTo>
                  <a:lnTo>
                    <a:pt x="596" y="2781"/>
                  </a:lnTo>
                  <a:cubicBezTo>
                    <a:pt x="1155" y="2451"/>
                    <a:pt x="1727" y="2158"/>
                    <a:pt x="2311" y="1904"/>
                  </a:cubicBezTo>
                  <a:cubicBezTo>
                    <a:pt x="6222" y="139"/>
                    <a:pt x="10693" y="0"/>
                    <a:pt x="14706" y="1536"/>
                  </a:cubicBezTo>
                  <a:cubicBezTo>
                    <a:pt x="15316" y="1752"/>
                    <a:pt x="15900" y="2006"/>
                    <a:pt x="16471" y="229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7" name="Free Form 3171">
              <a:extLst>
                <a:ext uri="{FF2B5EF4-FFF2-40B4-BE49-F238E27FC236}">
                  <a16:creationId xmlns:a16="http://schemas.microsoft.com/office/drawing/2014/main" id="{3ABD6FC9-51EA-E4E4-9C2E-7FF1574ADD2E}"/>
                </a:ext>
              </a:extLst>
            </p:cNvPr>
            <p:cNvSpPr/>
            <p:nvPr/>
          </p:nvSpPr>
          <p:spPr>
            <a:xfrm>
              <a:off x="24741939" y="29811029"/>
              <a:ext cx="91985" cy="91414"/>
            </a:xfrm>
            <a:custGeom>
              <a:avLst/>
              <a:gdLst/>
              <a:ahLst/>
              <a:cxnLst/>
              <a:rect l="0" t="0" r="0" b="0"/>
              <a:pathLst>
                <a:path w="91985" h="91413">
                  <a:moveTo>
                    <a:pt x="0" y="0"/>
                  </a:moveTo>
                  <a:cubicBezTo>
                    <a:pt x="0" y="0"/>
                    <a:pt x="596" y="70065"/>
                    <a:pt x="4140" y="91413"/>
                  </a:cubicBezTo>
                  <a:lnTo>
                    <a:pt x="91985" y="87273"/>
                  </a:lnTo>
                  <a:cubicBezTo>
                    <a:pt x="91985" y="87273"/>
                    <a:pt x="84289" y="18427"/>
                    <a:pt x="87248" y="0"/>
                  </a:cubicBez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8" name="Free Form 3172">
              <a:extLst>
                <a:ext uri="{FF2B5EF4-FFF2-40B4-BE49-F238E27FC236}">
                  <a16:creationId xmlns:a16="http://schemas.microsoft.com/office/drawing/2014/main" id="{1D49E588-94C2-2807-D910-E836DE84B860}"/>
                </a:ext>
              </a:extLst>
            </p:cNvPr>
            <p:cNvSpPr/>
            <p:nvPr/>
          </p:nvSpPr>
          <p:spPr>
            <a:xfrm>
              <a:off x="24756987" y="29839989"/>
              <a:ext cx="58965" cy="4280"/>
            </a:xfrm>
            <a:custGeom>
              <a:avLst/>
              <a:gdLst/>
              <a:ahLst/>
              <a:cxnLst/>
              <a:rect l="0" t="0" r="0" b="0"/>
              <a:pathLst>
                <a:path w="58965" h="4279">
                  <a:moveTo>
                    <a:pt x="58965" y="482"/>
                  </a:moveTo>
                  <a:cubicBezTo>
                    <a:pt x="58965" y="965"/>
                    <a:pt x="45821" y="2133"/>
                    <a:pt x="29527" y="3124"/>
                  </a:cubicBezTo>
                  <a:cubicBezTo>
                    <a:pt x="19710" y="3975"/>
                    <a:pt x="9855" y="4279"/>
                    <a:pt x="0" y="4025"/>
                  </a:cubicBezTo>
                  <a:cubicBezTo>
                    <a:pt x="0" y="3543"/>
                    <a:pt x="13144" y="2362"/>
                    <a:pt x="29438" y="1396"/>
                  </a:cubicBezTo>
                  <a:cubicBezTo>
                    <a:pt x="45732" y="419"/>
                    <a:pt x="58940" y="0"/>
                    <a:pt x="58965" y="4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09" name="Free Form 3173">
              <a:extLst>
                <a:ext uri="{FF2B5EF4-FFF2-40B4-BE49-F238E27FC236}">
                  <a16:creationId xmlns:a16="http://schemas.microsoft.com/office/drawing/2014/main" id="{A76A2036-76BA-9CAB-E060-AA71175C1F4F}"/>
                </a:ext>
              </a:extLst>
            </p:cNvPr>
            <p:cNvSpPr/>
            <p:nvPr/>
          </p:nvSpPr>
          <p:spPr>
            <a:xfrm>
              <a:off x="24757015" y="29855121"/>
              <a:ext cx="58965" cy="4292"/>
            </a:xfrm>
            <a:custGeom>
              <a:avLst/>
              <a:gdLst/>
              <a:ahLst/>
              <a:cxnLst/>
              <a:rect l="0" t="0" r="0" b="0"/>
              <a:pathLst>
                <a:path w="58965" h="4292">
                  <a:moveTo>
                    <a:pt x="58965" y="253"/>
                  </a:moveTo>
                  <a:cubicBezTo>
                    <a:pt x="58965" y="736"/>
                    <a:pt x="45821" y="1930"/>
                    <a:pt x="29527" y="2895"/>
                  </a:cubicBezTo>
                  <a:cubicBezTo>
                    <a:pt x="13233" y="3860"/>
                    <a:pt x="25" y="4292"/>
                    <a:pt x="0" y="3797"/>
                  </a:cubicBezTo>
                  <a:cubicBezTo>
                    <a:pt x="9753" y="2374"/>
                    <a:pt x="19583" y="1498"/>
                    <a:pt x="29438" y="1193"/>
                  </a:cubicBezTo>
                  <a:cubicBezTo>
                    <a:pt x="39255" y="317"/>
                    <a:pt x="49110" y="0"/>
                    <a:pt x="58965" y="25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0" name="Free Form 3174">
              <a:extLst>
                <a:ext uri="{FF2B5EF4-FFF2-40B4-BE49-F238E27FC236}">
                  <a16:creationId xmlns:a16="http://schemas.microsoft.com/office/drawing/2014/main" id="{3D37BC61-8A3C-9CC1-C194-AA4F7BAF9B5C}"/>
                </a:ext>
              </a:extLst>
            </p:cNvPr>
            <p:cNvSpPr/>
            <p:nvPr/>
          </p:nvSpPr>
          <p:spPr>
            <a:xfrm>
              <a:off x="24767457" y="29869360"/>
              <a:ext cx="33591" cy="3048"/>
            </a:xfrm>
            <a:custGeom>
              <a:avLst/>
              <a:gdLst/>
              <a:ahLst/>
              <a:cxnLst/>
              <a:rect l="0" t="0" r="0" b="0"/>
              <a:pathLst>
                <a:path w="33591" h="3047">
                  <a:moveTo>
                    <a:pt x="33591" y="495"/>
                  </a:moveTo>
                  <a:cubicBezTo>
                    <a:pt x="33591" y="977"/>
                    <a:pt x="26123" y="1828"/>
                    <a:pt x="16840" y="2374"/>
                  </a:cubicBezTo>
                  <a:cubicBezTo>
                    <a:pt x="11252" y="2984"/>
                    <a:pt x="5613" y="3047"/>
                    <a:pt x="0" y="2539"/>
                  </a:cubicBezTo>
                  <a:cubicBezTo>
                    <a:pt x="0" y="2057"/>
                    <a:pt x="7467" y="1206"/>
                    <a:pt x="16725" y="660"/>
                  </a:cubicBezTo>
                  <a:cubicBezTo>
                    <a:pt x="22326" y="50"/>
                    <a:pt x="27977" y="0"/>
                    <a:pt x="33591" y="49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1" name="Free Form 3175">
              <a:extLst>
                <a:ext uri="{FF2B5EF4-FFF2-40B4-BE49-F238E27FC236}">
                  <a16:creationId xmlns:a16="http://schemas.microsoft.com/office/drawing/2014/main" id="{B2CE6926-D11B-6E2E-7D4B-2DA990DE2D35}"/>
                </a:ext>
              </a:extLst>
            </p:cNvPr>
            <p:cNvSpPr/>
            <p:nvPr/>
          </p:nvSpPr>
          <p:spPr>
            <a:xfrm>
              <a:off x="24737849" y="30017203"/>
              <a:ext cx="92011" cy="91413"/>
            </a:xfrm>
            <a:custGeom>
              <a:avLst/>
              <a:gdLst/>
              <a:ahLst/>
              <a:cxnLst/>
              <a:rect l="0" t="0" r="0" b="0"/>
              <a:pathLst>
                <a:path w="92010" h="91413">
                  <a:moveTo>
                    <a:pt x="0" y="0"/>
                  </a:moveTo>
                  <a:cubicBezTo>
                    <a:pt x="0" y="0"/>
                    <a:pt x="596" y="70039"/>
                    <a:pt x="4178" y="91413"/>
                  </a:cubicBezTo>
                  <a:lnTo>
                    <a:pt x="92010" y="87273"/>
                  </a:lnTo>
                  <a:cubicBezTo>
                    <a:pt x="92010" y="87273"/>
                    <a:pt x="84212" y="18313"/>
                    <a:pt x="87184" y="0"/>
                  </a:cubicBez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2" name="Free Form 3176">
              <a:extLst>
                <a:ext uri="{FF2B5EF4-FFF2-40B4-BE49-F238E27FC236}">
                  <a16:creationId xmlns:a16="http://schemas.microsoft.com/office/drawing/2014/main" id="{CD1C7FC4-243F-61BE-01B5-C573E7120386}"/>
                </a:ext>
              </a:extLst>
            </p:cNvPr>
            <p:cNvSpPr/>
            <p:nvPr/>
          </p:nvSpPr>
          <p:spPr>
            <a:xfrm>
              <a:off x="24752726" y="30046277"/>
              <a:ext cx="58940" cy="4279"/>
            </a:xfrm>
            <a:custGeom>
              <a:avLst/>
              <a:gdLst/>
              <a:ahLst/>
              <a:cxnLst/>
              <a:rect l="0" t="0" r="0" b="0"/>
              <a:pathLst>
                <a:path w="58940" h="4279">
                  <a:moveTo>
                    <a:pt x="58940" y="253"/>
                  </a:moveTo>
                  <a:cubicBezTo>
                    <a:pt x="58940" y="736"/>
                    <a:pt x="45795" y="1930"/>
                    <a:pt x="29527" y="2895"/>
                  </a:cubicBezTo>
                  <a:cubicBezTo>
                    <a:pt x="13258" y="3860"/>
                    <a:pt x="25" y="4279"/>
                    <a:pt x="0" y="3797"/>
                  </a:cubicBezTo>
                  <a:cubicBezTo>
                    <a:pt x="9740" y="2374"/>
                    <a:pt x="19570" y="1498"/>
                    <a:pt x="29412" y="1193"/>
                  </a:cubicBezTo>
                  <a:cubicBezTo>
                    <a:pt x="39229" y="317"/>
                    <a:pt x="49084" y="0"/>
                    <a:pt x="58940" y="25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3" name="Free Form 3177">
              <a:extLst>
                <a:ext uri="{FF2B5EF4-FFF2-40B4-BE49-F238E27FC236}">
                  <a16:creationId xmlns:a16="http://schemas.microsoft.com/office/drawing/2014/main" id="{FC547971-894E-3F49-3C15-6FD9FA2797E1}"/>
                </a:ext>
              </a:extLst>
            </p:cNvPr>
            <p:cNvSpPr/>
            <p:nvPr/>
          </p:nvSpPr>
          <p:spPr>
            <a:xfrm>
              <a:off x="24752842" y="30060895"/>
              <a:ext cx="58965" cy="4521"/>
            </a:xfrm>
            <a:custGeom>
              <a:avLst/>
              <a:gdLst/>
              <a:ahLst/>
              <a:cxnLst/>
              <a:rect l="0" t="0" r="0" b="0"/>
              <a:pathLst>
                <a:path w="58965" h="4521">
                  <a:moveTo>
                    <a:pt x="58965" y="482"/>
                  </a:moveTo>
                  <a:cubicBezTo>
                    <a:pt x="58965" y="965"/>
                    <a:pt x="45821" y="2133"/>
                    <a:pt x="29552" y="3124"/>
                  </a:cubicBezTo>
                  <a:cubicBezTo>
                    <a:pt x="13284" y="4114"/>
                    <a:pt x="50" y="4521"/>
                    <a:pt x="25" y="4038"/>
                  </a:cubicBezTo>
                  <a:cubicBezTo>
                    <a:pt x="0" y="3543"/>
                    <a:pt x="13169" y="2387"/>
                    <a:pt x="29438" y="1396"/>
                  </a:cubicBezTo>
                  <a:cubicBezTo>
                    <a:pt x="45706" y="393"/>
                    <a:pt x="58825" y="0"/>
                    <a:pt x="58965" y="4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4" name="Free Form 3178">
              <a:extLst>
                <a:ext uri="{FF2B5EF4-FFF2-40B4-BE49-F238E27FC236}">
                  <a16:creationId xmlns:a16="http://schemas.microsoft.com/office/drawing/2014/main" id="{762EA3CB-9087-D1C1-2D17-E797AF4583FF}"/>
                </a:ext>
              </a:extLst>
            </p:cNvPr>
            <p:cNvSpPr/>
            <p:nvPr/>
          </p:nvSpPr>
          <p:spPr>
            <a:xfrm>
              <a:off x="24763283" y="30075460"/>
              <a:ext cx="33592" cy="2984"/>
            </a:xfrm>
            <a:custGeom>
              <a:avLst/>
              <a:gdLst/>
              <a:ahLst/>
              <a:cxnLst/>
              <a:rect l="0" t="0" r="0" b="0"/>
              <a:pathLst>
                <a:path w="33591" h="2984">
                  <a:moveTo>
                    <a:pt x="33591" y="482"/>
                  </a:moveTo>
                  <a:cubicBezTo>
                    <a:pt x="33591" y="965"/>
                    <a:pt x="26123" y="1790"/>
                    <a:pt x="16865" y="2362"/>
                  </a:cubicBezTo>
                  <a:cubicBezTo>
                    <a:pt x="7607" y="2920"/>
                    <a:pt x="38" y="2984"/>
                    <a:pt x="0" y="2501"/>
                  </a:cubicBezTo>
                  <a:cubicBezTo>
                    <a:pt x="5511" y="1320"/>
                    <a:pt x="11125" y="698"/>
                    <a:pt x="16751" y="622"/>
                  </a:cubicBezTo>
                  <a:cubicBezTo>
                    <a:pt x="26034" y="88"/>
                    <a:pt x="33565" y="0"/>
                    <a:pt x="33591" y="4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5" name="Free Form 3179">
              <a:extLst>
                <a:ext uri="{FF2B5EF4-FFF2-40B4-BE49-F238E27FC236}">
                  <a16:creationId xmlns:a16="http://schemas.microsoft.com/office/drawing/2014/main" id="{559AD8C7-032E-EE23-0315-0C2F221F80EE}"/>
                </a:ext>
              </a:extLst>
            </p:cNvPr>
            <p:cNvSpPr/>
            <p:nvPr/>
          </p:nvSpPr>
          <p:spPr>
            <a:xfrm>
              <a:off x="24977864" y="29829598"/>
              <a:ext cx="260906" cy="205090"/>
            </a:xfrm>
            <a:custGeom>
              <a:avLst/>
              <a:gdLst/>
              <a:ahLst/>
              <a:cxnLst/>
              <a:rect l="0" t="0" r="0" b="0"/>
              <a:pathLst>
                <a:path w="260906" h="205090">
                  <a:moveTo>
                    <a:pt x="0" y="0"/>
                  </a:moveTo>
                  <a:lnTo>
                    <a:pt x="8686" y="202054"/>
                  </a:lnTo>
                  <a:lnTo>
                    <a:pt x="260906" y="205090"/>
                  </a:lnTo>
                  <a:lnTo>
                    <a:pt x="249577" y="2666"/>
                  </a:lnTo>
                  <a:close/>
                </a:path>
              </a:pathLst>
            </a:cu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6" name="Rectangle 3180">
              <a:extLst>
                <a:ext uri="{FF2B5EF4-FFF2-40B4-BE49-F238E27FC236}">
                  <a16:creationId xmlns:a16="http://schemas.microsoft.com/office/drawing/2014/main" id="{7864DE51-DBCB-E2C4-61E3-07F36732F399}"/>
                </a:ext>
              </a:extLst>
            </p:cNvPr>
            <p:cNvSpPr/>
            <p:nvPr/>
          </p:nvSpPr>
          <p:spPr>
            <a:xfrm>
              <a:off x="24974938" y="29728696"/>
              <a:ext cx="250516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7" name="Free Form 3181">
              <a:extLst>
                <a:ext uri="{FF2B5EF4-FFF2-40B4-BE49-F238E27FC236}">
                  <a16:creationId xmlns:a16="http://schemas.microsoft.com/office/drawing/2014/main" id="{71B837ED-4C6C-D63B-8574-56B51956CE4E}"/>
                </a:ext>
              </a:extLst>
            </p:cNvPr>
            <p:cNvSpPr/>
            <p:nvPr/>
          </p:nvSpPr>
          <p:spPr>
            <a:xfrm>
              <a:off x="24974548" y="29826922"/>
              <a:ext cx="251623" cy="190815"/>
            </a:xfrm>
            <a:custGeom>
              <a:avLst/>
              <a:gdLst/>
              <a:ahLst/>
              <a:cxnLst/>
              <a:rect l="0" t="0" r="0" b="0"/>
              <a:pathLst>
                <a:path w="251622" h="190815">
                  <a:moveTo>
                    <a:pt x="250911" y="190421"/>
                  </a:moveTo>
                  <a:lnTo>
                    <a:pt x="250911" y="186903"/>
                  </a:lnTo>
                  <a:lnTo>
                    <a:pt x="250911" y="176820"/>
                  </a:lnTo>
                  <a:cubicBezTo>
                    <a:pt x="250911" y="167930"/>
                    <a:pt x="250911" y="155014"/>
                    <a:pt x="250708" y="138530"/>
                  </a:cubicBezTo>
                  <a:cubicBezTo>
                    <a:pt x="250708" y="105535"/>
                    <a:pt x="250517" y="58343"/>
                    <a:pt x="250339" y="1231"/>
                  </a:cubicBezTo>
                  <a:lnTo>
                    <a:pt x="251050" y="1943"/>
                  </a:lnTo>
                  <a:lnTo>
                    <a:pt x="558" y="2108"/>
                  </a:lnTo>
                  <a:lnTo>
                    <a:pt x="1409" y="1231"/>
                  </a:lnTo>
                  <a:lnTo>
                    <a:pt x="1409" y="190421"/>
                  </a:lnTo>
                  <a:lnTo>
                    <a:pt x="647" y="189634"/>
                  </a:lnTo>
                  <a:lnTo>
                    <a:pt x="181354" y="190028"/>
                  </a:lnTo>
                  <a:lnTo>
                    <a:pt x="232737" y="190218"/>
                  </a:lnTo>
                  <a:lnTo>
                    <a:pt x="246428" y="190218"/>
                  </a:lnTo>
                  <a:lnTo>
                    <a:pt x="249946" y="190218"/>
                  </a:lnTo>
                  <a:lnTo>
                    <a:pt x="251165" y="190218"/>
                  </a:lnTo>
                  <a:lnTo>
                    <a:pt x="250034" y="190218"/>
                  </a:lnTo>
                  <a:lnTo>
                    <a:pt x="246593" y="190218"/>
                  </a:lnTo>
                  <a:lnTo>
                    <a:pt x="233080" y="190218"/>
                  </a:lnTo>
                  <a:lnTo>
                    <a:pt x="181976" y="190421"/>
                  </a:lnTo>
                  <a:lnTo>
                    <a:pt x="761" y="190815"/>
                  </a:lnTo>
                  <a:lnTo>
                    <a:pt x="0" y="190815"/>
                  </a:lnTo>
                  <a:lnTo>
                    <a:pt x="0" y="190053"/>
                  </a:lnTo>
                  <a:lnTo>
                    <a:pt x="0" y="863"/>
                  </a:lnTo>
                  <a:lnTo>
                    <a:pt x="0" y="0"/>
                  </a:lnTo>
                  <a:lnTo>
                    <a:pt x="876" y="0"/>
                  </a:lnTo>
                  <a:lnTo>
                    <a:pt x="251368" y="0"/>
                  </a:lnTo>
                  <a:lnTo>
                    <a:pt x="251622" y="0"/>
                  </a:lnTo>
                  <a:lnTo>
                    <a:pt x="251622" y="685"/>
                  </a:lnTo>
                  <a:cubicBezTo>
                    <a:pt x="251482" y="57974"/>
                    <a:pt x="251330" y="105332"/>
                    <a:pt x="251254" y="138441"/>
                  </a:cubicBezTo>
                  <a:cubicBezTo>
                    <a:pt x="251254" y="154849"/>
                    <a:pt x="251114" y="167714"/>
                    <a:pt x="251076" y="176566"/>
                  </a:cubicBezTo>
                  <a:lnTo>
                    <a:pt x="251076" y="186510"/>
                  </a:lnTo>
                  <a:cubicBezTo>
                    <a:pt x="251076" y="188808"/>
                    <a:pt x="250911" y="190421"/>
                    <a:pt x="250911" y="19042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8" name="Rectangle 3182">
              <a:extLst>
                <a:ext uri="{FF2B5EF4-FFF2-40B4-BE49-F238E27FC236}">
                  <a16:creationId xmlns:a16="http://schemas.microsoft.com/office/drawing/2014/main" id="{72DF82EA-7437-6537-28E7-5A658F5C7EA4}"/>
                </a:ext>
              </a:extLst>
            </p:cNvPr>
            <p:cNvSpPr/>
            <p:nvPr/>
          </p:nvSpPr>
          <p:spPr>
            <a:xfrm>
              <a:off x="25005150" y="29738100"/>
              <a:ext cx="101548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19" name="Free Form 3183">
              <a:extLst>
                <a:ext uri="{FF2B5EF4-FFF2-40B4-BE49-F238E27FC236}">
                  <a16:creationId xmlns:a16="http://schemas.microsoft.com/office/drawing/2014/main" id="{FADE66A4-3552-AB61-EC1A-7D21CCC6A380}"/>
                </a:ext>
              </a:extLst>
            </p:cNvPr>
            <p:cNvSpPr/>
            <p:nvPr/>
          </p:nvSpPr>
          <p:spPr>
            <a:xfrm>
              <a:off x="25004013" y="29867212"/>
              <a:ext cx="103961" cy="129094"/>
            </a:xfrm>
            <a:custGeom>
              <a:avLst/>
              <a:gdLst/>
              <a:ahLst/>
              <a:cxnLst/>
              <a:rect l="0" t="0" r="0" b="0"/>
              <a:pathLst>
                <a:path w="103961" h="129094">
                  <a:moveTo>
                    <a:pt x="102716" y="128840"/>
                  </a:moveTo>
                  <a:cubicBezTo>
                    <a:pt x="102691" y="128624"/>
                    <a:pt x="102691" y="128408"/>
                    <a:pt x="102716" y="128179"/>
                  </a:cubicBezTo>
                  <a:lnTo>
                    <a:pt x="102716" y="126363"/>
                  </a:lnTo>
                  <a:lnTo>
                    <a:pt x="102716" y="119378"/>
                  </a:lnTo>
                  <a:cubicBezTo>
                    <a:pt x="102716" y="113219"/>
                    <a:pt x="102716" y="104342"/>
                    <a:pt x="102513" y="93153"/>
                  </a:cubicBezTo>
                  <a:cubicBezTo>
                    <a:pt x="102513" y="70662"/>
                    <a:pt x="102284" y="38836"/>
                    <a:pt x="102119" y="1028"/>
                  </a:cubicBezTo>
                  <a:lnTo>
                    <a:pt x="102919" y="1790"/>
                  </a:lnTo>
                  <a:lnTo>
                    <a:pt x="1358" y="1790"/>
                  </a:lnTo>
                  <a:cubicBezTo>
                    <a:pt x="1168" y="1993"/>
                    <a:pt x="2984" y="177"/>
                    <a:pt x="2209" y="965"/>
                  </a:cubicBezTo>
                  <a:lnTo>
                    <a:pt x="2209" y="18491"/>
                  </a:lnTo>
                  <a:lnTo>
                    <a:pt x="2209" y="35712"/>
                  </a:lnTo>
                  <a:lnTo>
                    <a:pt x="2209" y="68884"/>
                  </a:lnTo>
                  <a:lnTo>
                    <a:pt x="2209" y="128725"/>
                  </a:lnTo>
                  <a:lnTo>
                    <a:pt x="1473" y="128014"/>
                  </a:lnTo>
                  <a:lnTo>
                    <a:pt x="75005" y="128382"/>
                  </a:lnTo>
                  <a:lnTo>
                    <a:pt x="95642" y="128560"/>
                  </a:lnTo>
                  <a:lnTo>
                    <a:pt x="101129" y="128560"/>
                  </a:lnTo>
                  <a:lnTo>
                    <a:pt x="103059" y="128560"/>
                  </a:lnTo>
                  <a:cubicBezTo>
                    <a:pt x="102462" y="128598"/>
                    <a:pt x="101865" y="128598"/>
                    <a:pt x="101268" y="128560"/>
                  </a:cubicBezTo>
                  <a:lnTo>
                    <a:pt x="95934" y="128560"/>
                  </a:lnTo>
                  <a:lnTo>
                    <a:pt x="75462" y="128725"/>
                  </a:lnTo>
                  <a:lnTo>
                    <a:pt x="1473" y="129094"/>
                  </a:lnTo>
                  <a:lnTo>
                    <a:pt x="761" y="129094"/>
                  </a:lnTo>
                  <a:lnTo>
                    <a:pt x="761" y="128382"/>
                  </a:lnTo>
                  <a:lnTo>
                    <a:pt x="761" y="68541"/>
                  </a:lnTo>
                  <a:lnTo>
                    <a:pt x="761" y="35381"/>
                  </a:lnTo>
                  <a:lnTo>
                    <a:pt x="761" y="1079"/>
                  </a:lnTo>
                  <a:cubicBezTo>
                    <a:pt x="0" y="1841"/>
                    <a:pt x="1816" y="0"/>
                    <a:pt x="1650" y="203"/>
                  </a:cubicBezTo>
                  <a:lnTo>
                    <a:pt x="103199" y="203"/>
                  </a:lnTo>
                  <a:lnTo>
                    <a:pt x="103961" y="203"/>
                  </a:lnTo>
                  <a:lnTo>
                    <a:pt x="103961" y="965"/>
                  </a:lnTo>
                  <a:cubicBezTo>
                    <a:pt x="103795" y="38988"/>
                    <a:pt x="103681" y="70979"/>
                    <a:pt x="103567" y="93610"/>
                  </a:cubicBezTo>
                  <a:cubicBezTo>
                    <a:pt x="103567" y="104710"/>
                    <a:pt x="103427" y="113485"/>
                    <a:pt x="103364" y="119670"/>
                  </a:cubicBezTo>
                  <a:lnTo>
                    <a:pt x="103364" y="126477"/>
                  </a:lnTo>
                  <a:lnTo>
                    <a:pt x="103364" y="128217"/>
                  </a:lnTo>
                  <a:cubicBezTo>
                    <a:pt x="103173" y="128446"/>
                    <a:pt x="102957" y="128662"/>
                    <a:pt x="102716" y="12884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0" name="Rectangle 3184">
              <a:extLst>
                <a:ext uri="{FF2B5EF4-FFF2-40B4-BE49-F238E27FC236}">
                  <a16:creationId xmlns:a16="http://schemas.microsoft.com/office/drawing/2014/main" id="{C8B24C48-A3C4-A213-CD6E-C8BD7F34C815}"/>
                </a:ext>
              </a:extLst>
            </p:cNvPr>
            <p:cNvSpPr/>
            <p:nvPr/>
          </p:nvSpPr>
          <p:spPr>
            <a:xfrm>
              <a:off x="25009037" y="29654172"/>
              <a:ext cx="194651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1" name="Free Form 3185">
              <a:extLst>
                <a:ext uri="{FF2B5EF4-FFF2-40B4-BE49-F238E27FC236}">
                  <a16:creationId xmlns:a16="http://schemas.microsoft.com/office/drawing/2014/main" id="{E99E9C10-79C7-72BF-5B14-0A45850FFA86}"/>
                </a:ext>
              </a:extLst>
            </p:cNvPr>
            <p:cNvSpPr/>
            <p:nvPr/>
          </p:nvSpPr>
          <p:spPr>
            <a:xfrm>
              <a:off x="25008332" y="29837660"/>
              <a:ext cx="195807" cy="20078"/>
            </a:xfrm>
            <a:custGeom>
              <a:avLst/>
              <a:gdLst/>
              <a:ahLst/>
              <a:cxnLst/>
              <a:rect l="0" t="0" r="0" b="0"/>
              <a:pathLst>
                <a:path w="195806" h="20078">
                  <a:moveTo>
                    <a:pt x="195349" y="19760"/>
                  </a:moveTo>
                  <a:cubicBezTo>
                    <a:pt x="195311" y="19341"/>
                    <a:pt x="195311" y="18910"/>
                    <a:pt x="195349" y="18478"/>
                  </a:cubicBezTo>
                  <a:lnTo>
                    <a:pt x="195349" y="14909"/>
                  </a:lnTo>
                  <a:cubicBezTo>
                    <a:pt x="195349" y="11721"/>
                    <a:pt x="195349" y="7188"/>
                    <a:pt x="195146" y="1333"/>
                  </a:cubicBezTo>
                  <a:lnTo>
                    <a:pt x="195489" y="1676"/>
                  </a:lnTo>
                  <a:cubicBezTo>
                    <a:pt x="162672" y="1993"/>
                    <a:pt x="87857" y="2184"/>
                    <a:pt x="876" y="2184"/>
                  </a:cubicBezTo>
                  <a:lnTo>
                    <a:pt x="1752" y="1333"/>
                  </a:lnTo>
                  <a:lnTo>
                    <a:pt x="1752" y="19697"/>
                  </a:lnTo>
                  <a:lnTo>
                    <a:pt x="876" y="18821"/>
                  </a:lnTo>
                  <a:lnTo>
                    <a:pt x="138847" y="19189"/>
                  </a:lnTo>
                  <a:lnTo>
                    <a:pt x="180249" y="19443"/>
                  </a:lnTo>
                  <a:lnTo>
                    <a:pt x="191602" y="19443"/>
                  </a:lnTo>
                  <a:lnTo>
                    <a:pt x="194434" y="19443"/>
                  </a:lnTo>
                  <a:lnTo>
                    <a:pt x="195489" y="19443"/>
                  </a:lnTo>
                  <a:lnTo>
                    <a:pt x="194561" y="19443"/>
                  </a:lnTo>
                  <a:lnTo>
                    <a:pt x="191717" y="19443"/>
                  </a:lnTo>
                  <a:lnTo>
                    <a:pt x="180642" y="19443"/>
                  </a:lnTo>
                  <a:lnTo>
                    <a:pt x="139444" y="19697"/>
                  </a:lnTo>
                  <a:lnTo>
                    <a:pt x="850" y="20078"/>
                  </a:lnTo>
                  <a:lnTo>
                    <a:pt x="0" y="20078"/>
                  </a:lnTo>
                  <a:lnTo>
                    <a:pt x="0" y="850"/>
                  </a:lnTo>
                  <a:lnTo>
                    <a:pt x="850" y="0"/>
                  </a:lnTo>
                  <a:cubicBezTo>
                    <a:pt x="87832" y="0"/>
                    <a:pt x="162672" y="203"/>
                    <a:pt x="195463" y="507"/>
                  </a:cubicBezTo>
                  <a:lnTo>
                    <a:pt x="195806" y="507"/>
                  </a:lnTo>
                  <a:lnTo>
                    <a:pt x="195806" y="850"/>
                  </a:lnTo>
                  <a:cubicBezTo>
                    <a:pt x="195806" y="6781"/>
                    <a:pt x="195806" y="11379"/>
                    <a:pt x="195603" y="14617"/>
                  </a:cubicBezTo>
                  <a:lnTo>
                    <a:pt x="195603" y="18148"/>
                  </a:lnTo>
                  <a:cubicBezTo>
                    <a:pt x="195577" y="18694"/>
                    <a:pt x="195489" y="19227"/>
                    <a:pt x="195349" y="197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2" name="Rectangle 3186">
              <a:extLst>
                <a:ext uri="{FF2B5EF4-FFF2-40B4-BE49-F238E27FC236}">
                  <a16:creationId xmlns:a16="http://schemas.microsoft.com/office/drawing/2014/main" id="{BC9C985C-C08F-92C5-01B9-4DF2EDAC309C}"/>
                </a:ext>
              </a:extLst>
            </p:cNvPr>
            <p:cNvSpPr/>
            <p:nvPr/>
          </p:nvSpPr>
          <p:spPr>
            <a:xfrm>
              <a:off x="25119171" y="29712706"/>
              <a:ext cx="84519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3" name="Free Form 3187">
              <a:extLst>
                <a:ext uri="{FF2B5EF4-FFF2-40B4-BE49-F238E27FC236}">
                  <a16:creationId xmlns:a16="http://schemas.microsoft.com/office/drawing/2014/main" id="{B516672F-5179-D567-78AC-118D9CC4235C}"/>
                </a:ext>
              </a:extLst>
            </p:cNvPr>
            <p:cNvSpPr/>
            <p:nvPr/>
          </p:nvSpPr>
          <p:spPr>
            <a:xfrm>
              <a:off x="25117513" y="29866699"/>
              <a:ext cx="86905" cy="78816"/>
            </a:xfrm>
            <a:custGeom>
              <a:avLst/>
              <a:gdLst/>
              <a:ahLst/>
              <a:cxnLst/>
              <a:rect l="0" t="0" r="0" b="0"/>
              <a:pathLst>
                <a:path w="86905" h="78815">
                  <a:moveTo>
                    <a:pt x="86168" y="78561"/>
                  </a:moveTo>
                  <a:cubicBezTo>
                    <a:pt x="86130" y="78066"/>
                    <a:pt x="86130" y="77570"/>
                    <a:pt x="86168" y="77088"/>
                  </a:cubicBezTo>
                  <a:lnTo>
                    <a:pt x="86168" y="72909"/>
                  </a:lnTo>
                  <a:cubicBezTo>
                    <a:pt x="86168" y="69138"/>
                    <a:pt x="86168" y="63854"/>
                    <a:pt x="85965" y="57212"/>
                  </a:cubicBezTo>
                  <a:cubicBezTo>
                    <a:pt x="85965" y="43636"/>
                    <a:pt x="85774" y="24510"/>
                    <a:pt x="85597" y="1536"/>
                  </a:cubicBezTo>
                  <a:lnTo>
                    <a:pt x="86333" y="2273"/>
                  </a:lnTo>
                  <a:lnTo>
                    <a:pt x="1816" y="2273"/>
                  </a:lnTo>
                  <a:lnTo>
                    <a:pt x="2666" y="1422"/>
                  </a:lnTo>
                  <a:lnTo>
                    <a:pt x="2666" y="22097"/>
                  </a:lnTo>
                  <a:lnTo>
                    <a:pt x="2666" y="41960"/>
                  </a:lnTo>
                  <a:lnTo>
                    <a:pt x="2666" y="78421"/>
                  </a:lnTo>
                  <a:lnTo>
                    <a:pt x="1930" y="77685"/>
                  </a:lnTo>
                  <a:lnTo>
                    <a:pt x="62889" y="78053"/>
                  </a:lnTo>
                  <a:lnTo>
                    <a:pt x="80212" y="78243"/>
                  </a:lnTo>
                  <a:lnTo>
                    <a:pt x="84809" y="78243"/>
                  </a:lnTo>
                  <a:lnTo>
                    <a:pt x="86447" y="78243"/>
                  </a:lnTo>
                  <a:cubicBezTo>
                    <a:pt x="85965" y="78294"/>
                    <a:pt x="85470" y="78294"/>
                    <a:pt x="84974" y="78243"/>
                  </a:cubicBezTo>
                  <a:lnTo>
                    <a:pt x="80517" y="78243"/>
                  </a:lnTo>
                  <a:lnTo>
                    <a:pt x="63486" y="78447"/>
                  </a:lnTo>
                  <a:lnTo>
                    <a:pt x="2044" y="78815"/>
                  </a:lnTo>
                  <a:lnTo>
                    <a:pt x="774" y="78815"/>
                  </a:lnTo>
                  <a:lnTo>
                    <a:pt x="774" y="78053"/>
                  </a:lnTo>
                  <a:lnTo>
                    <a:pt x="774" y="41592"/>
                  </a:lnTo>
                  <a:lnTo>
                    <a:pt x="774" y="21729"/>
                  </a:lnTo>
                  <a:lnTo>
                    <a:pt x="774" y="1054"/>
                  </a:lnTo>
                  <a:cubicBezTo>
                    <a:pt x="0" y="1816"/>
                    <a:pt x="1816" y="0"/>
                    <a:pt x="1650" y="203"/>
                  </a:cubicBezTo>
                  <a:lnTo>
                    <a:pt x="86168" y="203"/>
                  </a:lnTo>
                  <a:lnTo>
                    <a:pt x="86905" y="203"/>
                  </a:lnTo>
                  <a:lnTo>
                    <a:pt x="86905" y="939"/>
                  </a:lnTo>
                  <a:cubicBezTo>
                    <a:pt x="86740" y="24104"/>
                    <a:pt x="86625" y="43522"/>
                    <a:pt x="86536" y="57073"/>
                  </a:cubicBezTo>
                  <a:cubicBezTo>
                    <a:pt x="86536" y="63651"/>
                    <a:pt x="86371" y="68884"/>
                    <a:pt x="86333" y="72605"/>
                  </a:cubicBezTo>
                  <a:lnTo>
                    <a:pt x="86333" y="76656"/>
                  </a:lnTo>
                  <a:cubicBezTo>
                    <a:pt x="86371" y="77304"/>
                    <a:pt x="86308" y="77939"/>
                    <a:pt x="86168" y="7856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4" name="Rectangle 3188">
              <a:extLst>
                <a:ext uri="{FF2B5EF4-FFF2-40B4-BE49-F238E27FC236}">
                  <a16:creationId xmlns:a16="http://schemas.microsoft.com/office/drawing/2014/main" id="{D89FF686-3467-B75D-6063-B93B841C7D89}"/>
                </a:ext>
              </a:extLst>
            </p:cNvPr>
            <p:cNvSpPr/>
            <p:nvPr/>
          </p:nvSpPr>
          <p:spPr>
            <a:xfrm>
              <a:off x="25119171" y="29782670"/>
              <a:ext cx="84519" cy="388078"/>
            </a:xfrm>
            <a:prstGeom prst="rect">
              <a:avLst/>
            </a:pr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5" name="Free Form 3189">
              <a:extLst>
                <a:ext uri="{FF2B5EF4-FFF2-40B4-BE49-F238E27FC236}">
                  <a16:creationId xmlns:a16="http://schemas.microsoft.com/office/drawing/2014/main" id="{F2C5538D-300B-DD05-D8DE-19CA8678DA70}"/>
                </a:ext>
              </a:extLst>
            </p:cNvPr>
            <p:cNvSpPr/>
            <p:nvPr/>
          </p:nvSpPr>
          <p:spPr>
            <a:xfrm>
              <a:off x="25118288" y="29956048"/>
              <a:ext cx="86016" cy="40347"/>
            </a:xfrm>
            <a:custGeom>
              <a:avLst/>
              <a:gdLst/>
              <a:ahLst/>
              <a:cxnLst/>
              <a:rect l="0" t="0" r="0" b="0"/>
              <a:pathLst>
                <a:path w="86016" h="40347">
                  <a:moveTo>
                    <a:pt x="85393" y="40004"/>
                  </a:moveTo>
                  <a:cubicBezTo>
                    <a:pt x="85292" y="39064"/>
                    <a:pt x="85241" y="38112"/>
                    <a:pt x="85254" y="37159"/>
                  </a:cubicBezTo>
                  <a:cubicBezTo>
                    <a:pt x="85254" y="35229"/>
                    <a:pt x="85254" y="32651"/>
                    <a:pt x="85114" y="29387"/>
                  </a:cubicBezTo>
                  <a:cubicBezTo>
                    <a:pt x="85114" y="22567"/>
                    <a:pt x="84911" y="13004"/>
                    <a:pt x="84771" y="1282"/>
                  </a:cubicBezTo>
                  <a:lnTo>
                    <a:pt x="85393" y="1904"/>
                  </a:lnTo>
                  <a:lnTo>
                    <a:pt x="876" y="2133"/>
                  </a:lnTo>
                  <a:cubicBezTo>
                    <a:pt x="114" y="2895"/>
                    <a:pt x="1892" y="1079"/>
                    <a:pt x="1727" y="1282"/>
                  </a:cubicBezTo>
                  <a:lnTo>
                    <a:pt x="1727" y="11302"/>
                  </a:lnTo>
                  <a:lnTo>
                    <a:pt x="1727" y="21157"/>
                  </a:lnTo>
                  <a:lnTo>
                    <a:pt x="1727" y="39915"/>
                  </a:lnTo>
                  <a:lnTo>
                    <a:pt x="927" y="39090"/>
                  </a:lnTo>
                  <a:lnTo>
                    <a:pt x="61378" y="39496"/>
                  </a:lnTo>
                  <a:lnTo>
                    <a:pt x="78980" y="39725"/>
                  </a:lnTo>
                  <a:lnTo>
                    <a:pt x="83742" y="39725"/>
                  </a:lnTo>
                  <a:lnTo>
                    <a:pt x="85457" y="39725"/>
                  </a:lnTo>
                  <a:cubicBezTo>
                    <a:pt x="84949" y="39750"/>
                    <a:pt x="84454" y="39750"/>
                    <a:pt x="83946" y="39725"/>
                  </a:cubicBezTo>
                  <a:lnTo>
                    <a:pt x="79348" y="39725"/>
                  </a:lnTo>
                  <a:lnTo>
                    <a:pt x="61911" y="39941"/>
                  </a:lnTo>
                  <a:lnTo>
                    <a:pt x="927" y="40347"/>
                  </a:lnTo>
                  <a:lnTo>
                    <a:pt x="0" y="40347"/>
                  </a:lnTo>
                  <a:lnTo>
                    <a:pt x="0" y="39521"/>
                  </a:lnTo>
                  <a:lnTo>
                    <a:pt x="0" y="20751"/>
                  </a:lnTo>
                  <a:lnTo>
                    <a:pt x="0" y="10896"/>
                  </a:lnTo>
                  <a:lnTo>
                    <a:pt x="0" y="876"/>
                  </a:lnTo>
                  <a:lnTo>
                    <a:pt x="876" y="0"/>
                  </a:lnTo>
                  <a:lnTo>
                    <a:pt x="85393" y="253"/>
                  </a:lnTo>
                  <a:lnTo>
                    <a:pt x="86016" y="253"/>
                  </a:lnTo>
                  <a:lnTo>
                    <a:pt x="86016" y="876"/>
                  </a:lnTo>
                  <a:cubicBezTo>
                    <a:pt x="85876" y="12776"/>
                    <a:pt x="85762" y="22453"/>
                    <a:pt x="85673" y="29273"/>
                  </a:cubicBezTo>
                  <a:cubicBezTo>
                    <a:pt x="85673" y="32448"/>
                    <a:pt x="85673" y="34950"/>
                    <a:pt x="85533" y="36905"/>
                  </a:cubicBezTo>
                  <a:cubicBezTo>
                    <a:pt x="85558" y="37947"/>
                    <a:pt x="85508" y="38975"/>
                    <a:pt x="85393" y="4000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6" name="Free Form 3190">
              <a:extLst>
                <a:ext uri="{FF2B5EF4-FFF2-40B4-BE49-F238E27FC236}">
                  <a16:creationId xmlns:a16="http://schemas.microsoft.com/office/drawing/2014/main" id="{7EE41E5B-04B2-A34C-0E58-1B5696060BF6}"/>
                </a:ext>
              </a:extLst>
            </p:cNvPr>
            <p:cNvSpPr/>
            <p:nvPr/>
          </p:nvSpPr>
          <p:spPr>
            <a:xfrm>
              <a:off x="25005029" y="29868464"/>
              <a:ext cx="99059" cy="127583"/>
            </a:xfrm>
            <a:custGeom>
              <a:avLst/>
              <a:gdLst/>
              <a:ahLst/>
              <a:cxnLst/>
              <a:rect l="0" t="0" r="0" b="0"/>
              <a:pathLst>
                <a:path w="99058" h="127582">
                  <a:moveTo>
                    <a:pt x="99058" y="0"/>
                  </a:moveTo>
                  <a:cubicBezTo>
                    <a:pt x="67626" y="43408"/>
                    <a:pt x="31457" y="84149"/>
                    <a:pt x="0" y="127582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7" name="Free Form 3191">
              <a:extLst>
                <a:ext uri="{FF2B5EF4-FFF2-40B4-BE49-F238E27FC236}">
                  <a16:creationId xmlns:a16="http://schemas.microsoft.com/office/drawing/2014/main" id="{031EA6DA-274C-ABC4-F4F3-7E539A37B047}"/>
                </a:ext>
              </a:extLst>
            </p:cNvPr>
            <p:cNvSpPr/>
            <p:nvPr/>
          </p:nvSpPr>
          <p:spPr>
            <a:xfrm>
              <a:off x="25005147" y="29868431"/>
              <a:ext cx="98970" cy="127621"/>
            </a:xfrm>
            <a:custGeom>
              <a:avLst/>
              <a:gdLst/>
              <a:ahLst/>
              <a:cxnLst/>
              <a:rect l="0" t="0" r="0" b="0"/>
              <a:pathLst>
                <a:path w="98970" h="127620">
                  <a:moveTo>
                    <a:pt x="0" y="127620"/>
                  </a:moveTo>
                  <a:cubicBezTo>
                    <a:pt x="241" y="127125"/>
                    <a:pt x="520" y="126643"/>
                    <a:pt x="850" y="126198"/>
                  </a:cubicBezTo>
                  <a:lnTo>
                    <a:pt x="3492" y="122312"/>
                  </a:lnTo>
                  <a:cubicBezTo>
                    <a:pt x="5816" y="118934"/>
                    <a:pt x="9169" y="114133"/>
                    <a:pt x="13652" y="108291"/>
                  </a:cubicBezTo>
                  <a:cubicBezTo>
                    <a:pt x="22402" y="96531"/>
                    <a:pt x="34861" y="80656"/>
                    <a:pt x="48856" y="63283"/>
                  </a:cubicBezTo>
                  <a:cubicBezTo>
                    <a:pt x="62851" y="45910"/>
                    <a:pt x="75462" y="30149"/>
                    <a:pt x="84428" y="18630"/>
                  </a:cubicBezTo>
                  <a:lnTo>
                    <a:pt x="95020" y="4940"/>
                  </a:lnTo>
                  <a:lnTo>
                    <a:pt x="97865" y="1257"/>
                  </a:lnTo>
                  <a:cubicBezTo>
                    <a:pt x="98538" y="406"/>
                    <a:pt x="98906" y="0"/>
                    <a:pt x="98970" y="38"/>
                  </a:cubicBezTo>
                  <a:cubicBezTo>
                    <a:pt x="98766" y="546"/>
                    <a:pt x="98487" y="1015"/>
                    <a:pt x="98144" y="1447"/>
                  </a:cubicBezTo>
                  <a:lnTo>
                    <a:pt x="95477" y="5346"/>
                  </a:lnTo>
                  <a:cubicBezTo>
                    <a:pt x="93178" y="8724"/>
                    <a:pt x="89800" y="13487"/>
                    <a:pt x="85317" y="19367"/>
                  </a:cubicBezTo>
                  <a:cubicBezTo>
                    <a:pt x="76592" y="31089"/>
                    <a:pt x="64108" y="46989"/>
                    <a:pt x="50113" y="64362"/>
                  </a:cubicBezTo>
                  <a:cubicBezTo>
                    <a:pt x="36118" y="81736"/>
                    <a:pt x="23596" y="97496"/>
                    <a:pt x="14617" y="109028"/>
                  </a:cubicBezTo>
                  <a:lnTo>
                    <a:pt x="4025" y="122706"/>
                  </a:lnTo>
                  <a:lnTo>
                    <a:pt x="1193" y="126401"/>
                  </a:lnTo>
                  <a:cubicBezTo>
                    <a:pt x="850" y="126858"/>
                    <a:pt x="457" y="127278"/>
                    <a:pt x="0" y="12762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8" name="Free Form 3192">
              <a:extLst>
                <a:ext uri="{FF2B5EF4-FFF2-40B4-BE49-F238E27FC236}">
                  <a16:creationId xmlns:a16="http://schemas.microsoft.com/office/drawing/2014/main" id="{E2F8F3D4-6C44-AD08-4D8E-BF7D82656C3E}"/>
                </a:ext>
              </a:extLst>
            </p:cNvPr>
            <p:cNvSpPr/>
            <p:nvPr/>
          </p:nvSpPr>
          <p:spPr>
            <a:xfrm>
              <a:off x="25004775" y="29867949"/>
              <a:ext cx="102323" cy="128383"/>
            </a:xfrm>
            <a:custGeom>
              <a:avLst/>
              <a:gdLst/>
              <a:ahLst/>
              <a:cxnLst/>
              <a:rect l="0" t="0" r="0" b="0"/>
              <a:pathLst>
                <a:path w="102322" h="128382">
                  <a:moveTo>
                    <a:pt x="101954" y="128103"/>
                  </a:moveTo>
                  <a:cubicBezTo>
                    <a:pt x="101560" y="128382"/>
                    <a:pt x="78535" y="100024"/>
                    <a:pt x="50481" y="64731"/>
                  </a:cubicBezTo>
                  <a:cubicBezTo>
                    <a:pt x="22427" y="29450"/>
                    <a:pt x="0" y="571"/>
                    <a:pt x="368" y="292"/>
                  </a:cubicBezTo>
                  <a:cubicBezTo>
                    <a:pt x="736" y="0"/>
                    <a:pt x="23799" y="28371"/>
                    <a:pt x="51840" y="63651"/>
                  </a:cubicBezTo>
                  <a:cubicBezTo>
                    <a:pt x="79894" y="98944"/>
                    <a:pt x="102322" y="127824"/>
                    <a:pt x="101954" y="12810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29" name="Free Form 3193">
              <a:extLst>
                <a:ext uri="{FF2B5EF4-FFF2-40B4-BE49-F238E27FC236}">
                  <a16:creationId xmlns:a16="http://schemas.microsoft.com/office/drawing/2014/main" id="{568919DD-96E1-C2F4-48D7-9718AF3C6FD8}"/>
                </a:ext>
              </a:extLst>
            </p:cNvPr>
            <p:cNvSpPr/>
            <p:nvPr/>
          </p:nvSpPr>
          <p:spPr>
            <a:xfrm>
              <a:off x="24954714" y="29852519"/>
              <a:ext cx="31838" cy="31863"/>
            </a:xfrm>
            <a:custGeom>
              <a:avLst/>
              <a:gdLst/>
              <a:ahLst/>
              <a:cxnLst/>
              <a:rect l="0" t="0" r="0" b="0"/>
              <a:pathLst>
                <a:path w="31838" h="31863">
                  <a:moveTo>
                    <a:pt x="31838" y="16001"/>
                  </a:moveTo>
                  <a:cubicBezTo>
                    <a:pt x="31787" y="24777"/>
                    <a:pt x="24637" y="31863"/>
                    <a:pt x="15849" y="31813"/>
                  </a:cubicBezTo>
                  <a:cubicBezTo>
                    <a:pt x="7073" y="31762"/>
                    <a:pt x="0" y="24612"/>
                    <a:pt x="38" y="15836"/>
                  </a:cubicBezTo>
                  <a:cubicBezTo>
                    <a:pt x="88" y="7086"/>
                    <a:pt x="7188" y="12"/>
                    <a:pt x="15938" y="12"/>
                  </a:cubicBezTo>
                  <a:cubicBezTo>
                    <a:pt x="24701" y="0"/>
                    <a:pt x="31825" y="7099"/>
                    <a:pt x="31838" y="15862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0" name="Free Form 3194">
              <a:extLst>
                <a:ext uri="{FF2B5EF4-FFF2-40B4-BE49-F238E27FC236}">
                  <a16:creationId xmlns:a16="http://schemas.microsoft.com/office/drawing/2014/main" id="{71E7A61B-DD9F-2AE6-C052-DF067C4D5348}"/>
                </a:ext>
              </a:extLst>
            </p:cNvPr>
            <p:cNvSpPr/>
            <p:nvPr/>
          </p:nvSpPr>
          <p:spPr>
            <a:xfrm>
              <a:off x="25214599" y="29813949"/>
              <a:ext cx="31825" cy="31813"/>
            </a:xfrm>
            <a:custGeom>
              <a:avLst/>
              <a:gdLst/>
              <a:ahLst/>
              <a:cxnLst/>
              <a:rect l="0" t="0" r="0" b="0"/>
              <a:pathLst>
                <a:path w="31825" h="31813">
                  <a:moveTo>
                    <a:pt x="31813" y="15874"/>
                  </a:moveTo>
                  <a:cubicBezTo>
                    <a:pt x="31825" y="24650"/>
                    <a:pt x="24726" y="31787"/>
                    <a:pt x="15938" y="31800"/>
                  </a:cubicBezTo>
                  <a:cubicBezTo>
                    <a:pt x="7162" y="31813"/>
                    <a:pt x="25" y="24713"/>
                    <a:pt x="12" y="15938"/>
                  </a:cubicBezTo>
                  <a:cubicBezTo>
                    <a:pt x="0" y="7150"/>
                    <a:pt x="7099" y="25"/>
                    <a:pt x="15887" y="0"/>
                  </a:cubicBezTo>
                  <a:lnTo>
                    <a:pt x="15912" y="0"/>
                  </a:lnTo>
                  <a:cubicBezTo>
                    <a:pt x="24688" y="0"/>
                    <a:pt x="31800" y="7111"/>
                    <a:pt x="31813" y="1587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1" name="Rectangle 3195">
              <a:extLst>
                <a:ext uri="{FF2B5EF4-FFF2-40B4-BE49-F238E27FC236}">
                  <a16:creationId xmlns:a16="http://schemas.microsoft.com/office/drawing/2014/main" id="{8469092A-B9A5-C001-C690-6BBD1AB96945}"/>
                </a:ext>
              </a:extLst>
            </p:cNvPr>
            <p:cNvSpPr/>
            <p:nvPr/>
          </p:nvSpPr>
          <p:spPr>
            <a:xfrm>
              <a:off x="25703275" y="30077452"/>
              <a:ext cx="931471" cy="388078"/>
            </a:xfrm>
            <a:prstGeom prst="rect">
              <a:avLst/>
            </a:pr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2" name="Free Form 3196">
              <a:extLst>
                <a:ext uri="{FF2B5EF4-FFF2-40B4-BE49-F238E27FC236}">
                  <a16:creationId xmlns:a16="http://schemas.microsoft.com/office/drawing/2014/main" id="{7465D19E-C714-753C-3866-B72FE7C9A8DA}"/>
                </a:ext>
              </a:extLst>
            </p:cNvPr>
            <p:cNvSpPr/>
            <p:nvPr/>
          </p:nvSpPr>
          <p:spPr>
            <a:xfrm>
              <a:off x="25748726" y="30479742"/>
              <a:ext cx="49910" cy="49910"/>
            </a:xfrm>
            <a:custGeom>
              <a:avLst/>
              <a:gdLst/>
              <a:ahLst/>
              <a:cxnLst/>
              <a:rect l="0" t="0" r="0" b="0"/>
              <a:pathLst>
                <a:path w="49910" h="49910">
                  <a:moveTo>
                    <a:pt x="49910" y="24955"/>
                  </a:moveTo>
                  <a:cubicBezTo>
                    <a:pt x="49910" y="38734"/>
                    <a:pt x="38734" y="49910"/>
                    <a:pt x="24955" y="49910"/>
                  </a:cubicBezTo>
                  <a:cubicBezTo>
                    <a:pt x="11175" y="49910"/>
                    <a:pt x="0" y="38734"/>
                    <a:pt x="0" y="24955"/>
                  </a:cubicBezTo>
                  <a:cubicBezTo>
                    <a:pt x="0" y="11175"/>
                    <a:pt x="11175" y="0"/>
                    <a:pt x="24955" y="0"/>
                  </a:cubicBezTo>
                  <a:cubicBezTo>
                    <a:pt x="38734" y="0"/>
                    <a:pt x="49910" y="11175"/>
                    <a:pt x="49910" y="2495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3" name="Free Form 3197">
              <a:extLst>
                <a:ext uri="{FF2B5EF4-FFF2-40B4-BE49-F238E27FC236}">
                  <a16:creationId xmlns:a16="http://schemas.microsoft.com/office/drawing/2014/main" id="{A0EC2A1C-52A2-A07B-A283-4657CD09EBD2}"/>
                </a:ext>
              </a:extLst>
            </p:cNvPr>
            <p:cNvSpPr/>
            <p:nvPr/>
          </p:nvSpPr>
          <p:spPr>
            <a:xfrm>
              <a:off x="25764767" y="30493700"/>
              <a:ext cx="17856" cy="21158"/>
            </a:xfrm>
            <a:custGeom>
              <a:avLst/>
              <a:gdLst/>
              <a:ahLst/>
              <a:cxnLst/>
              <a:rect l="0" t="0" r="0" b="0"/>
              <a:pathLst>
                <a:path w="17856" h="21157">
                  <a:moveTo>
                    <a:pt x="11696" y="12445"/>
                  </a:moveTo>
                  <a:cubicBezTo>
                    <a:pt x="14706" y="10896"/>
                    <a:pt x="15887" y="7188"/>
                    <a:pt x="14325" y="4178"/>
                  </a:cubicBezTo>
                  <a:cubicBezTo>
                    <a:pt x="12776" y="1168"/>
                    <a:pt x="9080" y="0"/>
                    <a:pt x="6070" y="1549"/>
                  </a:cubicBezTo>
                  <a:cubicBezTo>
                    <a:pt x="3060" y="3098"/>
                    <a:pt x="1879" y="6807"/>
                    <a:pt x="3428" y="9816"/>
                  </a:cubicBezTo>
                  <a:cubicBezTo>
                    <a:pt x="4102" y="11112"/>
                    <a:pt x="5206" y="12115"/>
                    <a:pt x="6553" y="12674"/>
                  </a:cubicBezTo>
                  <a:cubicBezTo>
                    <a:pt x="3047" y="14058"/>
                    <a:pt x="546" y="17221"/>
                    <a:pt x="0" y="20967"/>
                  </a:cubicBezTo>
                  <a:lnTo>
                    <a:pt x="0" y="21157"/>
                  </a:lnTo>
                  <a:lnTo>
                    <a:pt x="17856" y="21157"/>
                  </a:lnTo>
                  <a:lnTo>
                    <a:pt x="17856" y="20967"/>
                  </a:lnTo>
                  <a:cubicBezTo>
                    <a:pt x="17475" y="17233"/>
                    <a:pt x="15125" y="13982"/>
                    <a:pt x="11696" y="1244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4" name="Free Form 3198">
              <a:extLst>
                <a:ext uri="{FF2B5EF4-FFF2-40B4-BE49-F238E27FC236}">
                  <a16:creationId xmlns:a16="http://schemas.microsoft.com/office/drawing/2014/main" id="{0CB9FC6C-5FFB-AC00-607E-F48091D42584}"/>
                </a:ext>
              </a:extLst>
            </p:cNvPr>
            <p:cNvSpPr/>
            <p:nvPr/>
          </p:nvSpPr>
          <p:spPr>
            <a:xfrm>
              <a:off x="25821065" y="30499074"/>
              <a:ext cx="230363" cy="889"/>
            </a:xfrm>
            <a:custGeom>
              <a:avLst/>
              <a:gdLst/>
              <a:ahLst/>
              <a:cxnLst/>
              <a:rect l="0" t="0" r="0" b="0"/>
              <a:pathLst>
                <a:path w="230362" h="888">
                  <a:moveTo>
                    <a:pt x="230362" y="457"/>
                  </a:moveTo>
                  <a:cubicBezTo>
                    <a:pt x="230362" y="685"/>
                    <a:pt x="178801" y="888"/>
                    <a:pt x="115213" y="888"/>
                  </a:cubicBezTo>
                  <a:cubicBezTo>
                    <a:pt x="51612" y="888"/>
                    <a:pt x="0" y="685"/>
                    <a:pt x="0" y="457"/>
                  </a:cubicBezTo>
                  <a:cubicBezTo>
                    <a:pt x="0" y="228"/>
                    <a:pt x="51561" y="0"/>
                    <a:pt x="115213" y="0"/>
                  </a:cubicBezTo>
                  <a:cubicBezTo>
                    <a:pt x="178864" y="0"/>
                    <a:pt x="230362" y="203"/>
                    <a:pt x="230362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5" name="Free Form 3199">
              <a:extLst>
                <a:ext uri="{FF2B5EF4-FFF2-40B4-BE49-F238E27FC236}">
                  <a16:creationId xmlns:a16="http://schemas.microsoft.com/office/drawing/2014/main" id="{1D113755-75D3-4526-B0CA-E7F02EC11076}"/>
                </a:ext>
              </a:extLst>
            </p:cNvPr>
            <p:cNvSpPr/>
            <p:nvPr/>
          </p:nvSpPr>
          <p:spPr>
            <a:xfrm>
              <a:off x="25817888" y="30514429"/>
              <a:ext cx="62458" cy="889"/>
            </a:xfrm>
            <a:custGeom>
              <a:avLst/>
              <a:gdLst/>
              <a:ahLst/>
              <a:cxnLst/>
              <a:rect l="0" t="0" r="0" b="0"/>
              <a:pathLst>
                <a:path w="62457" h="888">
                  <a:moveTo>
                    <a:pt x="62457" y="431"/>
                  </a:moveTo>
                  <a:cubicBezTo>
                    <a:pt x="62457" y="685"/>
                    <a:pt x="48462" y="888"/>
                    <a:pt x="31228" y="888"/>
                  </a:cubicBezTo>
                  <a:cubicBezTo>
                    <a:pt x="13995" y="888"/>
                    <a:pt x="0" y="685"/>
                    <a:pt x="0" y="431"/>
                  </a:cubicBezTo>
                  <a:cubicBezTo>
                    <a:pt x="0" y="177"/>
                    <a:pt x="13969" y="0"/>
                    <a:pt x="31228" y="0"/>
                  </a:cubicBezTo>
                  <a:cubicBezTo>
                    <a:pt x="48488" y="0"/>
                    <a:pt x="62457" y="203"/>
                    <a:pt x="6245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6" name="Free Form 3200">
              <a:extLst>
                <a:ext uri="{FF2B5EF4-FFF2-40B4-BE49-F238E27FC236}">
                  <a16:creationId xmlns:a16="http://schemas.microsoft.com/office/drawing/2014/main" id="{1F1F4644-7910-8B28-A1E8-23B74962348B}"/>
                </a:ext>
              </a:extLst>
            </p:cNvPr>
            <p:cNvSpPr/>
            <p:nvPr/>
          </p:nvSpPr>
          <p:spPr>
            <a:xfrm>
              <a:off x="26236872" y="30491723"/>
              <a:ext cx="2641" cy="7556"/>
            </a:xfrm>
            <a:custGeom>
              <a:avLst/>
              <a:gdLst/>
              <a:ahLst/>
              <a:cxnLst/>
              <a:rect l="0" t="0" r="0" b="0"/>
              <a:pathLst>
                <a:path w="2641" h="7556">
                  <a:moveTo>
                    <a:pt x="2641" y="0"/>
                  </a:moveTo>
                  <a:lnTo>
                    <a:pt x="2641" y="7556"/>
                  </a:lnTo>
                  <a:lnTo>
                    <a:pt x="1562" y="7556"/>
                  </a:lnTo>
                  <a:lnTo>
                    <a:pt x="1562" y="939"/>
                  </a:lnTo>
                  <a:lnTo>
                    <a:pt x="0" y="9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7" name="Free Form 3201">
              <a:extLst>
                <a:ext uri="{FF2B5EF4-FFF2-40B4-BE49-F238E27FC236}">
                  <a16:creationId xmlns:a16="http://schemas.microsoft.com/office/drawing/2014/main" id="{65C2E46A-79C7-0FB6-1D81-53DA77539EEE}"/>
                </a:ext>
              </a:extLst>
            </p:cNvPr>
            <p:cNvSpPr/>
            <p:nvPr/>
          </p:nvSpPr>
          <p:spPr>
            <a:xfrm>
              <a:off x="26241165" y="30491638"/>
              <a:ext cx="6160" cy="7721"/>
            </a:xfrm>
            <a:custGeom>
              <a:avLst/>
              <a:gdLst/>
              <a:ahLst/>
              <a:cxnLst/>
              <a:rect l="0" t="0" r="0" b="0"/>
              <a:pathLst>
                <a:path w="6159" h="7721">
                  <a:moveTo>
                    <a:pt x="0" y="3860"/>
                  </a:moveTo>
                  <a:cubicBezTo>
                    <a:pt x="0" y="1396"/>
                    <a:pt x="1308" y="0"/>
                    <a:pt x="3098" y="0"/>
                  </a:cubicBezTo>
                  <a:cubicBezTo>
                    <a:pt x="4876" y="0"/>
                    <a:pt x="6159" y="1396"/>
                    <a:pt x="6159" y="3860"/>
                  </a:cubicBezTo>
                  <a:cubicBezTo>
                    <a:pt x="6159" y="6337"/>
                    <a:pt x="4851" y="7721"/>
                    <a:pt x="3098" y="7721"/>
                  </a:cubicBezTo>
                  <a:cubicBezTo>
                    <a:pt x="1333" y="7721"/>
                    <a:pt x="0" y="6337"/>
                    <a:pt x="0" y="3860"/>
                  </a:cubicBezTo>
                  <a:close/>
                  <a:moveTo>
                    <a:pt x="5079" y="3860"/>
                  </a:moveTo>
                  <a:cubicBezTo>
                    <a:pt x="5079" y="1930"/>
                    <a:pt x="4254" y="1015"/>
                    <a:pt x="3098" y="1015"/>
                  </a:cubicBezTo>
                  <a:cubicBezTo>
                    <a:pt x="1930" y="1015"/>
                    <a:pt x="1079" y="1993"/>
                    <a:pt x="1079" y="3860"/>
                  </a:cubicBezTo>
                  <a:cubicBezTo>
                    <a:pt x="1079" y="5740"/>
                    <a:pt x="1904" y="6705"/>
                    <a:pt x="3098" y="6705"/>
                  </a:cubicBezTo>
                  <a:cubicBezTo>
                    <a:pt x="4279" y="6705"/>
                    <a:pt x="5079" y="5791"/>
                    <a:pt x="5079" y="38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8" name="Free Form 3202">
              <a:extLst>
                <a:ext uri="{FF2B5EF4-FFF2-40B4-BE49-F238E27FC236}">
                  <a16:creationId xmlns:a16="http://schemas.microsoft.com/office/drawing/2014/main" id="{E6D2B2DE-E411-9377-7DF9-99B3B45D896F}"/>
                </a:ext>
              </a:extLst>
            </p:cNvPr>
            <p:cNvSpPr/>
            <p:nvPr/>
          </p:nvSpPr>
          <p:spPr>
            <a:xfrm>
              <a:off x="26248975" y="30491720"/>
              <a:ext cx="6603" cy="7557"/>
            </a:xfrm>
            <a:custGeom>
              <a:avLst/>
              <a:gdLst/>
              <a:ahLst/>
              <a:cxnLst/>
              <a:rect l="0" t="0" r="0" b="0"/>
              <a:pathLst>
                <a:path w="6603" h="7556">
                  <a:moveTo>
                    <a:pt x="2463" y="4203"/>
                  </a:moveTo>
                  <a:lnTo>
                    <a:pt x="1079" y="5587"/>
                  </a:lnTo>
                  <a:lnTo>
                    <a:pt x="1079" y="7556"/>
                  </a:lnTo>
                  <a:lnTo>
                    <a:pt x="0" y="7556"/>
                  </a:lnTo>
                  <a:lnTo>
                    <a:pt x="0" y="0"/>
                  </a:lnTo>
                  <a:lnTo>
                    <a:pt x="1079" y="0"/>
                  </a:lnTo>
                  <a:lnTo>
                    <a:pt x="1079" y="4229"/>
                  </a:lnTo>
                  <a:lnTo>
                    <a:pt x="5156" y="0"/>
                  </a:lnTo>
                  <a:lnTo>
                    <a:pt x="6413" y="0"/>
                  </a:lnTo>
                  <a:lnTo>
                    <a:pt x="3174" y="3403"/>
                  </a:lnTo>
                  <a:lnTo>
                    <a:pt x="6603" y="7556"/>
                  </a:lnTo>
                  <a:lnTo>
                    <a:pt x="5333" y="7556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39" name="Free Form 3203">
              <a:extLst>
                <a:ext uri="{FF2B5EF4-FFF2-40B4-BE49-F238E27FC236}">
                  <a16:creationId xmlns:a16="http://schemas.microsoft.com/office/drawing/2014/main" id="{7EEDA36D-E62D-60B2-3E5E-1D298108A17A}"/>
                </a:ext>
              </a:extLst>
            </p:cNvPr>
            <p:cNvSpPr/>
            <p:nvPr/>
          </p:nvSpPr>
          <p:spPr>
            <a:xfrm>
              <a:off x="26301144" y="30491728"/>
              <a:ext cx="6706" cy="7544"/>
            </a:xfrm>
            <a:custGeom>
              <a:avLst/>
              <a:gdLst/>
              <a:ahLst/>
              <a:cxnLst/>
              <a:rect l="0" t="0" r="0" b="0"/>
              <a:pathLst>
                <a:path w="6705" h="7543">
                  <a:moveTo>
                    <a:pt x="6705" y="5702"/>
                  </a:moveTo>
                  <a:lnTo>
                    <a:pt x="5257" y="5702"/>
                  </a:lnTo>
                  <a:lnTo>
                    <a:pt x="5257" y="7543"/>
                  </a:lnTo>
                  <a:lnTo>
                    <a:pt x="4203" y="7543"/>
                  </a:lnTo>
                  <a:lnTo>
                    <a:pt x="4203" y="5702"/>
                  </a:lnTo>
                  <a:lnTo>
                    <a:pt x="0" y="5702"/>
                  </a:lnTo>
                  <a:lnTo>
                    <a:pt x="0" y="4940"/>
                  </a:lnTo>
                  <a:lnTo>
                    <a:pt x="3873" y="0"/>
                  </a:lnTo>
                  <a:lnTo>
                    <a:pt x="5029" y="0"/>
                  </a:lnTo>
                  <a:lnTo>
                    <a:pt x="1346" y="4762"/>
                  </a:lnTo>
                  <a:lnTo>
                    <a:pt x="4178" y="4762"/>
                  </a:lnTo>
                  <a:lnTo>
                    <a:pt x="4178" y="3124"/>
                  </a:lnTo>
                  <a:lnTo>
                    <a:pt x="5206" y="3124"/>
                  </a:lnTo>
                  <a:lnTo>
                    <a:pt x="5206" y="4762"/>
                  </a:lnTo>
                  <a:lnTo>
                    <a:pt x="6705" y="476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0" name="Free Form 3204">
              <a:extLst>
                <a:ext uri="{FF2B5EF4-FFF2-40B4-BE49-F238E27FC236}">
                  <a16:creationId xmlns:a16="http://schemas.microsoft.com/office/drawing/2014/main" id="{2D2DE4A0-25EE-5549-F12F-6222CC3FA1F5}"/>
                </a:ext>
              </a:extLst>
            </p:cNvPr>
            <p:cNvSpPr/>
            <p:nvPr/>
          </p:nvSpPr>
          <p:spPr>
            <a:xfrm>
              <a:off x="26308561" y="30491638"/>
              <a:ext cx="6159" cy="7721"/>
            </a:xfrm>
            <a:custGeom>
              <a:avLst/>
              <a:gdLst/>
              <a:ahLst/>
              <a:cxnLst/>
              <a:rect l="0" t="0" r="0" b="0"/>
              <a:pathLst>
                <a:path w="6159" h="7721">
                  <a:moveTo>
                    <a:pt x="0" y="3860"/>
                  </a:moveTo>
                  <a:cubicBezTo>
                    <a:pt x="0" y="1396"/>
                    <a:pt x="1333" y="0"/>
                    <a:pt x="3098" y="0"/>
                  </a:cubicBezTo>
                  <a:cubicBezTo>
                    <a:pt x="4851" y="0"/>
                    <a:pt x="6159" y="1396"/>
                    <a:pt x="6159" y="3860"/>
                  </a:cubicBezTo>
                  <a:cubicBezTo>
                    <a:pt x="6159" y="6337"/>
                    <a:pt x="4851" y="7721"/>
                    <a:pt x="3098" y="7721"/>
                  </a:cubicBezTo>
                  <a:cubicBezTo>
                    <a:pt x="1333" y="7721"/>
                    <a:pt x="0" y="6337"/>
                    <a:pt x="0" y="3860"/>
                  </a:cubicBezTo>
                  <a:close/>
                  <a:moveTo>
                    <a:pt x="5079" y="3860"/>
                  </a:moveTo>
                  <a:cubicBezTo>
                    <a:pt x="5079" y="1930"/>
                    <a:pt x="4254" y="1015"/>
                    <a:pt x="3098" y="1015"/>
                  </a:cubicBezTo>
                  <a:cubicBezTo>
                    <a:pt x="1930" y="1015"/>
                    <a:pt x="1079" y="1993"/>
                    <a:pt x="1079" y="3860"/>
                  </a:cubicBezTo>
                  <a:cubicBezTo>
                    <a:pt x="1079" y="5740"/>
                    <a:pt x="1904" y="6705"/>
                    <a:pt x="3098" y="6705"/>
                  </a:cubicBezTo>
                  <a:cubicBezTo>
                    <a:pt x="4292" y="6705"/>
                    <a:pt x="4965" y="5791"/>
                    <a:pt x="4965" y="38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1" name="Free Form 3205">
              <a:extLst>
                <a:ext uri="{FF2B5EF4-FFF2-40B4-BE49-F238E27FC236}">
                  <a16:creationId xmlns:a16="http://schemas.microsoft.com/office/drawing/2014/main" id="{549D9AB2-AE24-7662-7174-B63BE25223BD}"/>
                </a:ext>
              </a:extLst>
            </p:cNvPr>
            <p:cNvSpPr/>
            <p:nvPr/>
          </p:nvSpPr>
          <p:spPr>
            <a:xfrm>
              <a:off x="26315745" y="30491638"/>
              <a:ext cx="6160" cy="7721"/>
            </a:xfrm>
            <a:custGeom>
              <a:avLst/>
              <a:gdLst/>
              <a:ahLst/>
              <a:cxnLst/>
              <a:rect l="0" t="0" r="0" b="0"/>
              <a:pathLst>
                <a:path w="6159" h="7721">
                  <a:moveTo>
                    <a:pt x="0" y="3860"/>
                  </a:moveTo>
                  <a:cubicBezTo>
                    <a:pt x="0" y="1396"/>
                    <a:pt x="1333" y="0"/>
                    <a:pt x="3098" y="0"/>
                  </a:cubicBezTo>
                  <a:cubicBezTo>
                    <a:pt x="4851" y="0"/>
                    <a:pt x="6159" y="1396"/>
                    <a:pt x="6159" y="3860"/>
                  </a:cubicBezTo>
                  <a:cubicBezTo>
                    <a:pt x="6159" y="6337"/>
                    <a:pt x="4851" y="7721"/>
                    <a:pt x="3098" y="7721"/>
                  </a:cubicBezTo>
                  <a:cubicBezTo>
                    <a:pt x="1333" y="7721"/>
                    <a:pt x="0" y="6337"/>
                    <a:pt x="0" y="3860"/>
                  </a:cubicBezTo>
                  <a:close/>
                  <a:moveTo>
                    <a:pt x="5079" y="3860"/>
                  </a:moveTo>
                  <a:cubicBezTo>
                    <a:pt x="5079" y="1930"/>
                    <a:pt x="4254" y="1015"/>
                    <a:pt x="3098" y="1015"/>
                  </a:cubicBezTo>
                  <a:cubicBezTo>
                    <a:pt x="1930" y="1015"/>
                    <a:pt x="1079" y="1993"/>
                    <a:pt x="1079" y="3860"/>
                  </a:cubicBezTo>
                  <a:cubicBezTo>
                    <a:pt x="1079" y="5740"/>
                    <a:pt x="1904" y="6705"/>
                    <a:pt x="3098" y="6705"/>
                  </a:cubicBezTo>
                  <a:cubicBezTo>
                    <a:pt x="4292" y="6705"/>
                    <a:pt x="5079" y="5791"/>
                    <a:pt x="5079" y="386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2" name="Free Form 3206">
              <a:extLst>
                <a:ext uri="{FF2B5EF4-FFF2-40B4-BE49-F238E27FC236}">
                  <a16:creationId xmlns:a16="http://schemas.microsoft.com/office/drawing/2014/main" id="{B5D56F31-F3E8-2D3C-D13C-2E462A4D80BC}"/>
                </a:ext>
              </a:extLst>
            </p:cNvPr>
            <p:cNvSpPr/>
            <p:nvPr/>
          </p:nvSpPr>
          <p:spPr>
            <a:xfrm>
              <a:off x="26343394" y="30493741"/>
              <a:ext cx="3467" cy="3467"/>
            </a:xfrm>
            <a:custGeom>
              <a:avLst/>
              <a:gdLst/>
              <a:ahLst/>
              <a:cxnLst/>
              <a:rect l="0" t="0" r="0" b="0"/>
              <a:pathLst>
                <a:path w="3467" h="3467">
                  <a:moveTo>
                    <a:pt x="3467" y="1701"/>
                  </a:moveTo>
                  <a:cubicBezTo>
                    <a:pt x="3467" y="761"/>
                    <a:pt x="2705" y="0"/>
                    <a:pt x="1765" y="0"/>
                  </a:cubicBezTo>
                  <a:lnTo>
                    <a:pt x="1739" y="0"/>
                  </a:lnTo>
                  <a:cubicBezTo>
                    <a:pt x="774" y="0"/>
                    <a:pt x="0" y="774"/>
                    <a:pt x="0" y="1727"/>
                  </a:cubicBezTo>
                  <a:cubicBezTo>
                    <a:pt x="0" y="2692"/>
                    <a:pt x="774" y="3467"/>
                    <a:pt x="1739" y="3467"/>
                  </a:cubicBezTo>
                  <a:cubicBezTo>
                    <a:pt x="2692" y="3467"/>
                    <a:pt x="3467" y="2692"/>
                    <a:pt x="3467" y="172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3" name="Free Form 3207">
              <a:extLst>
                <a:ext uri="{FF2B5EF4-FFF2-40B4-BE49-F238E27FC236}">
                  <a16:creationId xmlns:a16="http://schemas.microsoft.com/office/drawing/2014/main" id="{589765F0-D10B-E0CF-E86C-4B3099BB8546}"/>
                </a:ext>
              </a:extLst>
            </p:cNvPr>
            <p:cNvSpPr/>
            <p:nvPr/>
          </p:nvSpPr>
          <p:spPr>
            <a:xfrm>
              <a:off x="26349951" y="30493741"/>
              <a:ext cx="3467" cy="3467"/>
            </a:xfrm>
            <a:custGeom>
              <a:avLst/>
              <a:gdLst/>
              <a:ahLst/>
              <a:cxnLst/>
              <a:rect l="0" t="0" r="0" b="0"/>
              <a:pathLst>
                <a:path w="3467" h="3467">
                  <a:moveTo>
                    <a:pt x="3467" y="1701"/>
                  </a:moveTo>
                  <a:cubicBezTo>
                    <a:pt x="3467" y="761"/>
                    <a:pt x="2705" y="0"/>
                    <a:pt x="1765" y="0"/>
                  </a:cubicBezTo>
                  <a:lnTo>
                    <a:pt x="1739" y="0"/>
                  </a:lnTo>
                  <a:cubicBezTo>
                    <a:pt x="774" y="0"/>
                    <a:pt x="0" y="774"/>
                    <a:pt x="0" y="1727"/>
                  </a:cubicBezTo>
                  <a:cubicBezTo>
                    <a:pt x="0" y="2692"/>
                    <a:pt x="774" y="3467"/>
                    <a:pt x="1739" y="3467"/>
                  </a:cubicBezTo>
                  <a:cubicBezTo>
                    <a:pt x="2692" y="3467"/>
                    <a:pt x="3467" y="2692"/>
                    <a:pt x="3467" y="172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4" name="Free Form 3208">
              <a:extLst>
                <a:ext uri="{FF2B5EF4-FFF2-40B4-BE49-F238E27FC236}">
                  <a16:creationId xmlns:a16="http://schemas.microsoft.com/office/drawing/2014/main" id="{236094D7-3FC9-B921-161F-2B06767DBA0F}"/>
                </a:ext>
              </a:extLst>
            </p:cNvPr>
            <p:cNvSpPr/>
            <p:nvPr/>
          </p:nvSpPr>
          <p:spPr>
            <a:xfrm>
              <a:off x="26356509" y="30493741"/>
              <a:ext cx="3467" cy="3467"/>
            </a:xfrm>
            <a:custGeom>
              <a:avLst/>
              <a:gdLst/>
              <a:ahLst/>
              <a:cxnLst/>
              <a:rect l="0" t="0" r="0" b="0"/>
              <a:pathLst>
                <a:path w="3467" h="3467">
                  <a:moveTo>
                    <a:pt x="3467" y="1701"/>
                  </a:moveTo>
                  <a:cubicBezTo>
                    <a:pt x="3467" y="761"/>
                    <a:pt x="2705" y="0"/>
                    <a:pt x="1765" y="0"/>
                  </a:cubicBezTo>
                  <a:lnTo>
                    <a:pt x="1739" y="0"/>
                  </a:lnTo>
                  <a:cubicBezTo>
                    <a:pt x="774" y="0"/>
                    <a:pt x="0" y="774"/>
                    <a:pt x="0" y="1727"/>
                  </a:cubicBezTo>
                  <a:cubicBezTo>
                    <a:pt x="0" y="2692"/>
                    <a:pt x="774" y="3467"/>
                    <a:pt x="1739" y="3467"/>
                  </a:cubicBezTo>
                  <a:cubicBezTo>
                    <a:pt x="2692" y="3467"/>
                    <a:pt x="3467" y="2692"/>
                    <a:pt x="3467" y="172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5" name="Free Form 3209">
              <a:extLst>
                <a:ext uri="{FF2B5EF4-FFF2-40B4-BE49-F238E27FC236}">
                  <a16:creationId xmlns:a16="http://schemas.microsoft.com/office/drawing/2014/main" id="{3F0D91BB-5D3D-805F-47DE-D574CDC79BE3}"/>
                </a:ext>
              </a:extLst>
            </p:cNvPr>
            <p:cNvSpPr/>
            <p:nvPr/>
          </p:nvSpPr>
          <p:spPr>
            <a:xfrm>
              <a:off x="26209375" y="30481157"/>
              <a:ext cx="14440" cy="20535"/>
            </a:xfrm>
            <a:custGeom>
              <a:avLst/>
              <a:gdLst/>
              <a:ahLst/>
              <a:cxnLst/>
              <a:rect l="0" t="0" r="0" b="0"/>
              <a:pathLst>
                <a:path w="14439" h="20535">
                  <a:moveTo>
                    <a:pt x="14439" y="8750"/>
                  </a:moveTo>
                  <a:lnTo>
                    <a:pt x="12737" y="8750"/>
                  </a:lnTo>
                  <a:lnTo>
                    <a:pt x="8991" y="3581"/>
                  </a:lnTo>
                  <a:lnTo>
                    <a:pt x="8991" y="177"/>
                  </a:lnTo>
                  <a:cubicBezTo>
                    <a:pt x="8991" y="177"/>
                    <a:pt x="6375" y="0"/>
                    <a:pt x="6692" y="4457"/>
                  </a:cubicBezTo>
                  <a:cubicBezTo>
                    <a:pt x="6997" y="8915"/>
                    <a:pt x="6692" y="7785"/>
                    <a:pt x="6692" y="7785"/>
                  </a:cubicBezTo>
                  <a:cubicBezTo>
                    <a:pt x="4648" y="7734"/>
                    <a:pt x="2616" y="7899"/>
                    <a:pt x="609" y="8293"/>
                  </a:cubicBezTo>
                  <a:cubicBezTo>
                    <a:pt x="203" y="11264"/>
                    <a:pt x="25" y="14249"/>
                    <a:pt x="76" y="17233"/>
                  </a:cubicBezTo>
                  <a:cubicBezTo>
                    <a:pt x="0" y="18732"/>
                    <a:pt x="952" y="20078"/>
                    <a:pt x="2374" y="20497"/>
                  </a:cubicBezTo>
                  <a:cubicBezTo>
                    <a:pt x="2565" y="20535"/>
                    <a:pt x="2768" y="20535"/>
                    <a:pt x="2971" y="20497"/>
                  </a:cubicBezTo>
                  <a:cubicBezTo>
                    <a:pt x="4381" y="20497"/>
                    <a:pt x="11493" y="19367"/>
                    <a:pt x="11493" y="19367"/>
                  </a:cubicBezTo>
                  <a:lnTo>
                    <a:pt x="14325" y="19367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6" name="Free Form 3210">
              <a:extLst>
                <a:ext uri="{FF2B5EF4-FFF2-40B4-BE49-F238E27FC236}">
                  <a16:creationId xmlns:a16="http://schemas.microsoft.com/office/drawing/2014/main" id="{8B702EAF-055A-7F29-DB88-05A366D760D3}"/>
                </a:ext>
              </a:extLst>
            </p:cNvPr>
            <p:cNvSpPr/>
            <p:nvPr/>
          </p:nvSpPr>
          <p:spPr>
            <a:xfrm>
              <a:off x="26225574" y="30488998"/>
              <a:ext cx="3975" cy="11645"/>
            </a:xfrm>
            <a:custGeom>
              <a:avLst/>
              <a:gdLst/>
              <a:ahLst/>
              <a:cxnLst/>
              <a:rect l="0" t="0" r="0" b="0"/>
              <a:pathLst>
                <a:path w="3975" h="11645">
                  <a:moveTo>
                    <a:pt x="3975" y="0"/>
                  </a:moveTo>
                  <a:lnTo>
                    <a:pt x="2920" y="11645"/>
                  </a:lnTo>
                  <a:lnTo>
                    <a:pt x="0" y="11645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7" name="Free Form 3211">
              <a:extLst>
                <a:ext uri="{FF2B5EF4-FFF2-40B4-BE49-F238E27FC236}">
                  <a16:creationId xmlns:a16="http://schemas.microsoft.com/office/drawing/2014/main" id="{EACD3EF1-86BD-80FE-6B78-8039FD6BBFD8}"/>
                </a:ext>
              </a:extLst>
            </p:cNvPr>
            <p:cNvSpPr/>
            <p:nvPr/>
          </p:nvSpPr>
          <p:spPr>
            <a:xfrm>
              <a:off x="26276363" y="30487033"/>
              <a:ext cx="14453" cy="20498"/>
            </a:xfrm>
            <a:custGeom>
              <a:avLst/>
              <a:gdLst/>
              <a:ahLst/>
              <a:cxnLst/>
              <a:rect l="0" t="0" r="0" b="0"/>
              <a:pathLst>
                <a:path w="14452" h="20497">
                  <a:moveTo>
                    <a:pt x="14452" y="11760"/>
                  </a:moveTo>
                  <a:lnTo>
                    <a:pt x="12750" y="11760"/>
                  </a:lnTo>
                  <a:lnTo>
                    <a:pt x="9029" y="16928"/>
                  </a:lnTo>
                  <a:lnTo>
                    <a:pt x="9029" y="20332"/>
                  </a:lnTo>
                  <a:cubicBezTo>
                    <a:pt x="9029" y="20332"/>
                    <a:pt x="6388" y="20497"/>
                    <a:pt x="6705" y="16052"/>
                  </a:cubicBezTo>
                  <a:cubicBezTo>
                    <a:pt x="7010" y="11594"/>
                    <a:pt x="6705" y="12725"/>
                    <a:pt x="6705" y="12725"/>
                  </a:cubicBezTo>
                  <a:cubicBezTo>
                    <a:pt x="4673" y="12776"/>
                    <a:pt x="2641" y="12610"/>
                    <a:pt x="660" y="12217"/>
                  </a:cubicBezTo>
                  <a:cubicBezTo>
                    <a:pt x="228" y="9258"/>
                    <a:pt x="38" y="6286"/>
                    <a:pt x="88" y="3301"/>
                  </a:cubicBezTo>
                  <a:cubicBezTo>
                    <a:pt x="0" y="1790"/>
                    <a:pt x="965" y="431"/>
                    <a:pt x="2412" y="0"/>
                  </a:cubicBezTo>
                  <a:lnTo>
                    <a:pt x="3009" y="0"/>
                  </a:lnTo>
                  <a:cubicBezTo>
                    <a:pt x="4406" y="0"/>
                    <a:pt x="11531" y="1142"/>
                    <a:pt x="11531" y="1142"/>
                  </a:cubicBezTo>
                  <a:lnTo>
                    <a:pt x="14363" y="1142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8" name="Free Form 3212">
              <a:extLst>
                <a:ext uri="{FF2B5EF4-FFF2-40B4-BE49-F238E27FC236}">
                  <a16:creationId xmlns:a16="http://schemas.microsoft.com/office/drawing/2014/main" id="{ABEA0202-3254-012B-CA86-019D2D79A07F}"/>
                </a:ext>
              </a:extLst>
            </p:cNvPr>
            <p:cNvSpPr/>
            <p:nvPr/>
          </p:nvSpPr>
          <p:spPr>
            <a:xfrm>
              <a:off x="26292691" y="30488058"/>
              <a:ext cx="3975" cy="11671"/>
            </a:xfrm>
            <a:custGeom>
              <a:avLst/>
              <a:gdLst/>
              <a:ahLst/>
              <a:cxnLst/>
              <a:rect l="0" t="0" r="0" b="0"/>
              <a:pathLst>
                <a:path w="3975" h="11671">
                  <a:moveTo>
                    <a:pt x="3975" y="11671"/>
                  </a:moveTo>
                  <a:lnTo>
                    <a:pt x="2920" y="0"/>
                  </a:lnTo>
                  <a:lnTo>
                    <a:pt x="0" y="0"/>
                  </a:lnTo>
                  <a:lnTo>
                    <a:pt x="0" y="11417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49" name="Rectangle 3213">
              <a:extLst>
                <a:ext uri="{FF2B5EF4-FFF2-40B4-BE49-F238E27FC236}">
                  <a16:creationId xmlns:a16="http://schemas.microsoft.com/office/drawing/2014/main" id="{1C60448B-0546-A820-EA0E-335D55A2993F}"/>
                </a:ext>
              </a:extLst>
            </p:cNvPr>
            <p:cNvSpPr/>
            <p:nvPr/>
          </p:nvSpPr>
          <p:spPr>
            <a:xfrm>
              <a:off x="25703275" y="29811555"/>
              <a:ext cx="931471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0" name="Free Form 3214">
              <a:extLst>
                <a:ext uri="{FF2B5EF4-FFF2-40B4-BE49-F238E27FC236}">
                  <a16:creationId xmlns:a16="http://schemas.microsoft.com/office/drawing/2014/main" id="{64ABBB14-5C2C-8D08-3965-80570A8A5B58}"/>
                </a:ext>
              </a:extLst>
            </p:cNvPr>
            <p:cNvSpPr/>
            <p:nvPr/>
          </p:nvSpPr>
          <p:spPr>
            <a:xfrm>
              <a:off x="26406817" y="30063819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1" name="Free Form 3215">
              <a:extLst>
                <a:ext uri="{FF2B5EF4-FFF2-40B4-BE49-F238E27FC236}">
                  <a16:creationId xmlns:a16="http://schemas.microsoft.com/office/drawing/2014/main" id="{BBF9F7C1-5789-936C-00BA-A3DBFEBD77EE}"/>
                </a:ext>
              </a:extLst>
            </p:cNvPr>
            <p:cNvSpPr/>
            <p:nvPr/>
          </p:nvSpPr>
          <p:spPr>
            <a:xfrm>
              <a:off x="26447934" y="30086027"/>
              <a:ext cx="16866" cy="19329"/>
            </a:xfrm>
            <a:custGeom>
              <a:avLst/>
              <a:gdLst/>
              <a:ahLst/>
              <a:cxnLst/>
              <a:rect l="0" t="0" r="0" b="0"/>
              <a:pathLst>
                <a:path w="16865" h="19329">
                  <a:moveTo>
                    <a:pt x="16065" y="8483"/>
                  </a:moveTo>
                  <a:cubicBezTo>
                    <a:pt x="16662" y="8826"/>
                    <a:pt x="16865" y="9601"/>
                    <a:pt x="16509" y="10197"/>
                  </a:cubicBezTo>
                  <a:cubicBezTo>
                    <a:pt x="16408" y="10375"/>
                    <a:pt x="16255" y="10528"/>
                    <a:pt x="16065" y="10642"/>
                  </a:cubicBezTo>
                  <a:lnTo>
                    <a:pt x="8851" y="14820"/>
                  </a:lnTo>
                  <a:lnTo>
                    <a:pt x="1866" y="18986"/>
                  </a:lnTo>
                  <a:cubicBezTo>
                    <a:pt x="1269" y="19329"/>
                    <a:pt x="507" y="19125"/>
                    <a:pt x="165" y="18529"/>
                  </a:cubicBezTo>
                  <a:cubicBezTo>
                    <a:pt x="50" y="18338"/>
                    <a:pt x="0" y="18122"/>
                    <a:pt x="0" y="17906"/>
                  </a:cubicBezTo>
                  <a:lnTo>
                    <a:pt x="0" y="1244"/>
                  </a:lnTo>
                  <a:cubicBezTo>
                    <a:pt x="0" y="558"/>
                    <a:pt x="558" y="0"/>
                    <a:pt x="1244" y="0"/>
                  </a:cubicBezTo>
                  <a:cubicBezTo>
                    <a:pt x="1473" y="0"/>
                    <a:pt x="1676" y="50"/>
                    <a:pt x="1866" y="165"/>
                  </a:cubicBezTo>
                  <a:lnTo>
                    <a:pt x="9080" y="4343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2" name="Free Form 3216">
              <a:extLst>
                <a:ext uri="{FF2B5EF4-FFF2-40B4-BE49-F238E27FC236}">
                  <a16:creationId xmlns:a16="http://schemas.microsoft.com/office/drawing/2014/main" id="{FCF231EA-F7AB-3808-F700-F4BE1930E7CB}"/>
                </a:ext>
              </a:extLst>
            </p:cNvPr>
            <p:cNvSpPr/>
            <p:nvPr/>
          </p:nvSpPr>
          <p:spPr>
            <a:xfrm>
              <a:off x="26517968" y="30070232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57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57"/>
                  </a:cubicBezTo>
                  <a:cubicBezTo>
                    <a:pt x="0" y="228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3" name="Free Form 3217">
              <a:extLst>
                <a:ext uri="{FF2B5EF4-FFF2-40B4-BE49-F238E27FC236}">
                  <a16:creationId xmlns:a16="http://schemas.microsoft.com/office/drawing/2014/main" id="{7F75CDA1-CCC2-9257-CF9B-3058790FF0B7}"/>
                </a:ext>
              </a:extLst>
            </p:cNvPr>
            <p:cNvSpPr/>
            <p:nvPr/>
          </p:nvSpPr>
          <p:spPr>
            <a:xfrm>
              <a:off x="26517968" y="30082697"/>
              <a:ext cx="75437" cy="876"/>
            </a:xfrm>
            <a:custGeom>
              <a:avLst/>
              <a:gdLst/>
              <a:ahLst/>
              <a:cxnLst/>
              <a:rect l="0" t="0" r="0" b="0"/>
              <a:pathLst>
                <a:path w="75437" h="876">
                  <a:moveTo>
                    <a:pt x="75437" y="457"/>
                  </a:moveTo>
                  <a:cubicBezTo>
                    <a:pt x="75437" y="685"/>
                    <a:pt x="58406" y="876"/>
                    <a:pt x="37705" y="876"/>
                  </a:cubicBezTo>
                  <a:cubicBezTo>
                    <a:pt x="17005" y="876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4" name="Free Form 3218">
              <a:extLst>
                <a:ext uri="{FF2B5EF4-FFF2-40B4-BE49-F238E27FC236}">
                  <a16:creationId xmlns:a16="http://schemas.microsoft.com/office/drawing/2014/main" id="{86DAA917-0E41-DCCD-4ACD-9EC35BBD30FC}"/>
                </a:ext>
              </a:extLst>
            </p:cNvPr>
            <p:cNvSpPr/>
            <p:nvPr/>
          </p:nvSpPr>
          <p:spPr>
            <a:xfrm>
              <a:off x="26517942" y="30095157"/>
              <a:ext cx="75463" cy="889"/>
            </a:xfrm>
            <a:custGeom>
              <a:avLst/>
              <a:gdLst/>
              <a:ahLst/>
              <a:cxnLst/>
              <a:rect l="0" t="0" r="0" b="0"/>
              <a:pathLst>
                <a:path w="75462" h="888">
                  <a:moveTo>
                    <a:pt x="75462" y="431"/>
                  </a:moveTo>
                  <a:cubicBezTo>
                    <a:pt x="75462" y="685"/>
                    <a:pt x="58432" y="888"/>
                    <a:pt x="37731" y="888"/>
                  </a:cubicBezTo>
                  <a:cubicBezTo>
                    <a:pt x="17030" y="888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62" y="203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5" name="Free Form 3219">
              <a:extLst>
                <a:ext uri="{FF2B5EF4-FFF2-40B4-BE49-F238E27FC236}">
                  <a16:creationId xmlns:a16="http://schemas.microsoft.com/office/drawing/2014/main" id="{12FF22E8-7065-E6A0-806D-1A221F1D0845}"/>
                </a:ext>
              </a:extLst>
            </p:cNvPr>
            <p:cNvSpPr/>
            <p:nvPr/>
          </p:nvSpPr>
          <p:spPr>
            <a:xfrm>
              <a:off x="26517942" y="30107632"/>
              <a:ext cx="75463" cy="876"/>
            </a:xfrm>
            <a:custGeom>
              <a:avLst/>
              <a:gdLst/>
              <a:ahLst/>
              <a:cxnLst/>
              <a:rect l="0" t="0" r="0" b="0"/>
              <a:pathLst>
                <a:path w="75462" h="876">
                  <a:moveTo>
                    <a:pt x="75462" y="419"/>
                  </a:moveTo>
                  <a:cubicBezTo>
                    <a:pt x="75462" y="673"/>
                    <a:pt x="58432" y="876"/>
                    <a:pt x="37731" y="876"/>
                  </a:cubicBezTo>
                  <a:cubicBezTo>
                    <a:pt x="17030" y="876"/>
                    <a:pt x="0" y="673"/>
                    <a:pt x="0" y="419"/>
                  </a:cubicBezTo>
                  <a:cubicBezTo>
                    <a:pt x="0" y="165"/>
                    <a:pt x="16865" y="0"/>
                    <a:pt x="37705" y="0"/>
                  </a:cubicBezTo>
                  <a:cubicBezTo>
                    <a:pt x="58546" y="0"/>
                    <a:pt x="75462" y="190"/>
                    <a:pt x="75462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6" name="Free Form 3220">
              <a:extLst>
                <a:ext uri="{FF2B5EF4-FFF2-40B4-BE49-F238E27FC236}">
                  <a16:creationId xmlns:a16="http://schemas.microsoft.com/office/drawing/2014/main" id="{D4E4E6E8-39FC-63A4-105C-70127FC5D98D}"/>
                </a:ext>
              </a:extLst>
            </p:cNvPr>
            <p:cNvSpPr/>
            <p:nvPr/>
          </p:nvSpPr>
          <p:spPr>
            <a:xfrm>
              <a:off x="26517968" y="30120084"/>
              <a:ext cx="75437" cy="889"/>
            </a:xfrm>
            <a:custGeom>
              <a:avLst/>
              <a:gdLst/>
              <a:ahLst/>
              <a:cxnLst/>
              <a:rect l="0" t="0" r="0" b="0"/>
              <a:pathLst>
                <a:path w="75437" h="888">
                  <a:moveTo>
                    <a:pt x="75437" y="431"/>
                  </a:moveTo>
                  <a:cubicBezTo>
                    <a:pt x="75437" y="685"/>
                    <a:pt x="58406" y="888"/>
                    <a:pt x="37705" y="888"/>
                  </a:cubicBezTo>
                  <a:cubicBezTo>
                    <a:pt x="17005" y="888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7" name="Free Form 3221">
              <a:extLst>
                <a:ext uri="{FF2B5EF4-FFF2-40B4-BE49-F238E27FC236}">
                  <a16:creationId xmlns:a16="http://schemas.microsoft.com/office/drawing/2014/main" id="{6743E44B-DA3D-4800-B529-E2597A3C6A73}"/>
                </a:ext>
              </a:extLst>
            </p:cNvPr>
            <p:cNvSpPr/>
            <p:nvPr/>
          </p:nvSpPr>
          <p:spPr>
            <a:xfrm>
              <a:off x="26406817" y="30156883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8" name="Free Form 3222">
              <a:extLst>
                <a:ext uri="{FF2B5EF4-FFF2-40B4-BE49-F238E27FC236}">
                  <a16:creationId xmlns:a16="http://schemas.microsoft.com/office/drawing/2014/main" id="{3CE627D0-ABDE-6FE1-AE2A-84C8A87AA569}"/>
                </a:ext>
              </a:extLst>
            </p:cNvPr>
            <p:cNvSpPr/>
            <p:nvPr/>
          </p:nvSpPr>
          <p:spPr>
            <a:xfrm>
              <a:off x="26447934" y="30179115"/>
              <a:ext cx="16866" cy="19303"/>
            </a:xfrm>
            <a:custGeom>
              <a:avLst/>
              <a:gdLst/>
              <a:ahLst/>
              <a:cxnLst/>
              <a:rect l="0" t="0" r="0" b="0"/>
              <a:pathLst>
                <a:path w="16865" h="19303">
                  <a:moveTo>
                    <a:pt x="16065" y="8432"/>
                  </a:moveTo>
                  <a:cubicBezTo>
                    <a:pt x="16662" y="8775"/>
                    <a:pt x="16865" y="9550"/>
                    <a:pt x="16509" y="10147"/>
                  </a:cubicBezTo>
                  <a:cubicBezTo>
                    <a:pt x="16408" y="10324"/>
                    <a:pt x="16255" y="10477"/>
                    <a:pt x="16065" y="10591"/>
                  </a:cubicBezTo>
                  <a:lnTo>
                    <a:pt x="8851" y="14757"/>
                  </a:lnTo>
                  <a:lnTo>
                    <a:pt x="1866" y="18960"/>
                  </a:lnTo>
                  <a:cubicBezTo>
                    <a:pt x="1269" y="19303"/>
                    <a:pt x="507" y="19100"/>
                    <a:pt x="165" y="18503"/>
                  </a:cubicBezTo>
                  <a:cubicBezTo>
                    <a:pt x="50" y="18313"/>
                    <a:pt x="0" y="18110"/>
                    <a:pt x="0" y="17881"/>
                  </a:cubicBezTo>
                  <a:lnTo>
                    <a:pt x="0" y="1244"/>
                  </a:lnTo>
                  <a:cubicBezTo>
                    <a:pt x="0" y="558"/>
                    <a:pt x="558" y="0"/>
                    <a:pt x="1244" y="0"/>
                  </a:cubicBezTo>
                  <a:cubicBezTo>
                    <a:pt x="1473" y="0"/>
                    <a:pt x="1676" y="63"/>
                    <a:pt x="1866" y="165"/>
                  </a:cubicBezTo>
                  <a:lnTo>
                    <a:pt x="9080" y="4317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59" name="Free Form 3223">
              <a:extLst>
                <a:ext uri="{FF2B5EF4-FFF2-40B4-BE49-F238E27FC236}">
                  <a16:creationId xmlns:a16="http://schemas.microsoft.com/office/drawing/2014/main" id="{B2BDA997-7BDE-3AC1-4E7C-F209156403F6}"/>
                </a:ext>
              </a:extLst>
            </p:cNvPr>
            <p:cNvSpPr/>
            <p:nvPr/>
          </p:nvSpPr>
          <p:spPr>
            <a:xfrm>
              <a:off x="26517968" y="30163322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31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31"/>
                  </a:cubicBezTo>
                  <a:cubicBezTo>
                    <a:pt x="0" y="177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0" name="Free Form 3224">
              <a:extLst>
                <a:ext uri="{FF2B5EF4-FFF2-40B4-BE49-F238E27FC236}">
                  <a16:creationId xmlns:a16="http://schemas.microsoft.com/office/drawing/2014/main" id="{C3AF3C28-64E9-4E63-35CD-E44EE4F5721A}"/>
                </a:ext>
              </a:extLst>
            </p:cNvPr>
            <p:cNvSpPr/>
            <p:nvPr/>
          </p:nvSpPr>
          <p:spPr>
            <a:xfrm>
              <a:off x="26517942" y="30175771"/>
              <a:ext cx="75463" cy="851"/>
            </a:xfrm>
            <a:custGeom>
              <a:avLst/>
              <a:gdLst/>
              <a:ahLst/>
              <a:cxnLst/>
              <a:rect l="0" t="0" r="0" b="0"/>
              <a:pathLst>
                <a:path w="75462" h="850">
                  <a:moveTo>
                    <a:pt x="75462" y="419"/>
                  </a:moveTo>
                  <a:cubicBezTo>
                    <a:pt x="75462" y="673"/>
                    <a:pt x="58432" y="850"/>
                    <a:pt x="37731" y="850"/>
                  </a:cubicBezTo>
                  <a:cubicBezTo>
                    <a:pt x="17030" y="850"/>
                    <a:pt x="0" y="698"/>
                    <a:pt x="0" y="419"/>
                  </a:cubicBezTo>
                  <a:cubicBezTo>
                    <a:pt x="0" y="139"/>
                    <a:pt x="16865" y="0"/>
                    <a:pt x="37705" y="0"/>
                  </a:cubicBezTo>
                  <a:cubicBezTo>
                    <a:pt x="58546" y="0"/>
                    <a:pt x="75462" y="215"/>
                    <a:pt x="75462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1" name="Free Form 3225">
              <a:extLst>
                <a:ext uri="{FF2B5EF4-FFF2-40B4-BE49-F238E27FC236}">
                  <a16:creationId xmlns:a16="http://schemas.microsoft.com/office/drawing/2014/main" id="{BA009A19-D6B4-867F-B853-8DD0DD24B8CF}"/>
                </a:ext>
              </a:extLst>
            </p:cNvPr>
            <p:cNvSpPr/>
            <p:nvPr/>
          </p:nvSpPr>
          <p:spPr>
            <a:xfrm>
              <a:off x="26517942" y="30188250"/>
              <a:ext cx="75463" cy="863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60"/>
                    <a:pt x="58432" y="863"/>
                    <a:pt x="37731" y="863"/>
                  </a:cubicBezTo>
                  <a:cubicBezTo>
                    <a:pt x="17030" y="863"/>
                    <a:pt x="0" y="660"/>
                    <a:pt x="0" y="431"/>
                  </a:cubicBezTo>
                  <a:cubicBezTo>
                    <a:pt x="0" y="203"/>
                    <a:pt x="16865" y="0"/>
                    <a:pt x="37705" y="0"/>
                  </a:cubicBezTo>
                  <a:cubicBezTo>
                    <a:pt x="58546" y="0"/>
                    <a:pt x="75462" y="177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2" name="Free Form 3226">
              <a:extLst>
                <a:ext uri="{FF2B5EF4-FFF2-40B4-BE49-F238E27FC236}">
                  <a16:creationId xmlns:a16="http://schemas.microsoft.com/office/drawing/2014/main" id="{25790696-4C36-CDB0-CCE0-A6E5DA43F48D}"/>
                </a:ext>
              </a:extLst>
            </p:cNvPr>
            <p:cNvSpPr/>
            <p:nvPr/>
          </p:nvSpPr>
          <p:spPr>
            <a:xfrm>
              <a:off x="26517968" y="30200689"/>
              <a:ext cx="75437" cy="876"/>
            </a:xfrm>
            <a:custGeom>
              <a:avLst/>
              <a:gdLst/>
              <a:ahLst/>
              <a:cxnLst/>
              <a:rect l="0" t="0" r="0" b="0"/>
              <a:pathLst>
                <a:path w="75437" h="876">
                  <a:moveTo>
                    <a:pt x="75437" y="457"/>
                  </a:moveTo>
                  <a:cubicBezTo>
                    <a:pt x="75437" y="685"/>
                    <a:pt x="58406" y="876"/>
                    <a:pt x="37705" y="876"/>
                  </a:cubicBezTo>
                  <a:cubicBezTo>
                    <a:pt x="17005" y="876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3" name="Free Form 3227">
              <a:extLst>
                <a:ext uri="{FF2B5EF4-FFF2-40B4-BE49-F238E27FC236}">
                  <a16:creationId xmlns:a16="http://schemas.microsoft.com/office/drawing/2014/main" id="{000971A7-42FE-AB13-EECF-D62DE2B20C4C}"/>
                </a:ext>
              </a:extLst>
            </p:cNvPr>
            <p:cNvSpPr/>
            <p:nvPr/>
          </p:nvSpPr>
          <p:spPr>
            <a:xfrm>
              <a:off x="26517968" y="30213101"/>
              <a:ext cx="75437" cy="939"/>
            </a:xfrm>
            <a:custGeom>
              <a:avLst/>
              <a:gdLst/>
              <a:ahLst/>
              <a:cxnLst/>
              <a:rect l="0" t="0" r="0" b="0"/>
              <a:pathLst>
                <a:path w="75437" h="939">
                  <a:moveTo>
                    <a:pt x="75437" y="507"/>
                  </a:moveTo>
                  <a:cubicBezTo>
                    <a:pt x="75437" y="736"/>
                    <a:pt x="58406" y="939"/>
                    <a:pt x="37705" y="939"/>
                  </a:cubicBezTo>
                  <a:cubicBezTo>
                    <a:pt x="17005" y="939"/>
                    <a:pt x="0" y="736"/>
                    <a:pt x="0" y="507"/>
                  </a:cubicBezTo>
                  <a:cubicBezTo>
                    <a:pt x="0" y="279"/>
                    <a:pt x="17005" y="0"/>
                    <a:pt x="37705" y="0"/>
                  </a:cubicBezTo>
                  <a:cubicBezTo>
                    <a:pt x="58406" y="0"/>
                    <a:pt x="75437" y="253"/>
                    <a:pt x="75437" y="50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4" name="Free Form 3228">
              <a:extLst>
                <a:ext uri="{FF2B5EF4-FFF2-40B4-BE49-F238E27FC236}">
                  <a16:creationId xmlns:a16="http://schemas.microsoft.com/office/drawing/2014/main" id="{10AD26BE-A339-430E-BC5E-2F13C6A1CB40}"/>
                </a:ext>
              </a:extLst>
            </p:cNvPr>
            <p:cNvSpPr/>
            <p:nvPr/>
          </p:nvSpPr>
          <p:spPr>
            <a:xfrm>
              <a:off x="26406817" y="30249976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5" name="Free Form 3229">
              <a:extLst>
                <a:ext uri="{FF2B5EF4-FFF2-40B4-BE49-F238E27FC236}">
                  <a16:creationId xmlns:a16="http://schemas.microsoft.com/office/drawing/2014/main" id="{DB20D219-2E42-8FDF-CAEB-5A7D93B483F0}"/>
                </a:ext>
              </a:extLst>
            </p:cNvPr>
            <p:cNvSpPr/>
            <p:nvPr/>
          </p:nvSpPr>
          <p:spPr>
            <a:xfrm>
              <a:off x="26447934" y="30272174"/>
              <a:ext cx="16866" cy="19342"/>
            </a:xfrm>
            <a:custGeom>
              <a:avLst/>
              <a:gdLst/>
              <a:ahLst/>
              <a:cxnLst/>
              <a:rect l="0" t="0" r="0" b="0"/>
              <a:pathLst>
                <a:path w="16865" h="19341">
                  <a:moveTo>
                    <a:pt x="16065" y="8521"/>
                  </a:moveTo>
                  <a:cubicBezTo>
                    <a:pt x="16649" y="8851"/>
                    <a:pt x="16865" y="9601"/>
                    <a:pt x="16535" y="10185"/>
                  </a:cubicBezTo>
                  <a:cubicBezTo>
                    <a:pt x="16420" y="10375"/>
                    <a:pt x="16255" y="10540"/>
                    <a:pt x="16065" y="10655"/>
                  </a:cubicBezTo>
                  <a:lnTo>
                    <a:pt x="8940" y="14744"/>
                  </a:lnTo>
                  <a:lnTo>
                    <a:pt x="1866" y="18998"/>
                  </a:lnTo>
                  <a:cubicBezTo>
                    <a:pt x="1269" y="19341"/>
                    <a:pt x="507" y="19138"/>
                    <a:pt x="165" y="18541"/>
                  </a:cubicBezTo>
                  <a:cubicBezTo>
                    <a:pt x="50" y="18351"/>
                    <a:pt x="0" y="18135"/>
                    <a:pt x="0" y="17919"/>
                  </a:cubicBezTo>
                  <a:lnTo>
                    <a:pt x="0" y="1257"/>
                  </a:lnTo>
                  <a:cubicBezTo>
                    <a:pt x="0" y="558"/>
                    <a:pt x="558" y="0"/>
                    <a:pt x="1244" y="12"/>
                  </a:cubicBezTo>
                  <a:cubicBezTo>
                    <a:pt x="1473" y="12"/>
                    <a:pt x="1676" y="63"/>
                    <a:pt x="1866" y="177"/>
                  </a:cubicBezTo>
                  <a:lnTo>
                    <a:pt x="9080" y="4343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6" name="Free Form 3230">
              <a:extLst>
                <a:ext uri="{FF2B5EF4-FFF2-40B4-BE49-F238E27FC236}">
                  <a16:creationId xmlns:a16="http://schemas.microsoft.com/office/drawing/2014/main" id="{CAB69A18-94DA-1D8B-8A74-AD9CA33CD24C}"/>
                </a:ext>
              </a:extLst>
            </p:cNvPr>
            <p:cNvSpPr/>
            <p:nvPr/>
          </p:nvSpPr>
          <p:spPr>
            <a:xfrm>
              <a:off x="26517968" y="30256391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57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57"/>
                  </a:cubicBezTo>
                  <a:cubicBezTo>
                    <a:pt x="0" y="228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7" name="Free Form 3231">
              <a:extLst>
                <a:ext uri="{FF2B5EF4-FFF2-40B4-BE49-F238E27FC236}">
                  <a16:creationId xmlns:a16="http://schemas.microsoft.com/office/drawing/2014/main" id="{73E355F4-287E-0C4E-59E7-C7E1230CBD5A}"/>
                </a:ext>
              </a:extLst>
            </p:cNvPr>
            <p:cNvSpPr/>
            <p:nvPr/>
          </p:nvSpPr>
          <p:spPr>
            <a:xfrm>
              <a:off x="26517942" y="30268854"/>
              <a:ext cx="75463" cy="877"/>
            </a:xfrm>
            <a:custGeom>
              <a:avLst/>
              <a:gdLst/>
              <a:ahLst/>
              <a:cxnLst/>
              <a:rect l="0" t="0" r="0" b="0"/>
              <a:pathLst>
                <a:path w="75462" h="876">
                  <a:moveTo>
                    <a:pt x="75462" y="457"/>
                  </a:moveTo>
                  <a:cubicBezTo>
                    <a:pt x="75462" y="685"/>
                    <a:pt x="58432" y="876"/>
                    <a:pt x="37731" y="876"/>
                  </a:cubicBezTo>
                  <a:cubicBezTo>
                    <a:pt x="17030" y="876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62" y="203"/>
                    <a:pt x="75462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8" name="Free Form 3232">
              <a:extLst>
                <a:ext uri="{FF2B5EF4-FFF2-40B4-BE49-F238E27FC236}">
                  <a16:creationId xmlns:a16="http://schemas.microsoft.com/office/drawing/2014/main" id="{01131101-3520-625A-93CC-38F862465CDD}"/>
                </a:ext>
              </a:extLst>
            </p:cNvPr>
            <p:cNvSpPr/>
            <p:nvPr/>
          </p:nvSpPr>
          <p:spPr>
            <a:xfrm>
              <a:off x="26517968" y="30281241"/>
              <a:ext cx="75437" cy="965"/>
            </a:xfrm>
            <a:custGeom>
              <a:avLst/>
              <a:gdLst/>
              <a:ahLst/>
              <a:cxnLst/>
              <a:rect l="0" t="0" r="0" b="0"/>
              <a:pathLst>
                <a:path w="75437" h="965">
                  <a:moveTo>
                    <a:pt x="75437" y="533"/>
                  </a:moveTo>
                  <a:cubicBezTo>
                    <a:pt x="75437" y="761"/>
                    <a:pt x="58406" y="965"/>
                    <a:pt x="37705" y="965"/>
                  </a:cubicBezTo>
                  <a:cubicBezTo>
                    <a:pt x="17005" y="965"/>
                    <a:pt x="0" y="761"/>
                    <a:pt x="0" y="533"/>
                  </a:cubicBezTo>
                  <a:cubicBezTo>
                    <a:pt x="0" y="304"/>
                    <a:pt x="17005" y="0"/>
                    <a:pt x="37705" y="0"/>
                  </a:cubicBezTo>
                  <a:cubicBezTo>
                    <a:pt x="58406" y="0"/>
                    <a:pt x="75437" y="279"/>
                    <a:pt x="75437" y="533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69" name="Free Form 3233">
              <a:extLst>
                <a:ext uri="{FF2B5EF4-FFF2-40B4-BE49-F238E27FC236}">
                  <a16:creationId xmlns:a16="http://schemas.microsoft.com/office/drawing/2014/main" id="{5594AB9E-A22E-BD05-20D5-531DA76833AE}"/>
                </a:ext>
              </a:extLst>
            </p:cNvPr>
            <p:cNvSpPr/>
            <p:nvPr/>
          </p:nvSpPr>
          <p:spPr>
            <a:xfrm>
              <a:off x="26517968" y="30293789"/>
              <a:ext cx="75437" cy="877"/>
            </a:xfrm>
            <a:custGeom>
              <a:avLst/>
              <a:gdLst/>
              <a:ahLst/>
              <a:cxnLst/>
              <a:rect l="0" t="0" r="0" b="0"/>
              <a:pathLst>
                <a:path w="75437" h="876">
                  <a:moveTo>
                    <a:pt x="75437" y="419"/>
                  </a:moveTo>
                  <a:cubicBezTo>
                    <a:pt x="75437" y="673"/>
                    <a:pt x="58406" y="876"/>
                    <a:pt x="37705" y="876"/>
                  </a:cubicBezTo>
                  <a:cubicBezTo>
                    <a:pt x="17005" y="876"/>
                    <a:pt x="0" y="673"/>
                    <a:pt x="0" y="419"/>
                  </a:cubicBezTo>
                  <a:cubicBezTo>
                    <a:pt x="0" y="165"/>
                    <a:pt x="16865" y="0"/>
                    <a:pt x="37705" y="0"/>
                  </a:cubicBezTo>
                  <a:cubicBezTo>
                    <a:pt x="58546" y="0"/>
                    <a:pt x="75437" y="190"/>
                    <a:pt x="75437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0" name="Free Form 3234">
              <a:extLst>
                <a:ext uri="{FF2B5EF4-FFF2-40B4-BE49-F238E27FC236}">
                  <a16:creationId xmlns:a16="http://schemas.microsoft.com/office/drawing/2014/main" id="{5E089B7C-9781-913C-7A1A-D04D80E7FDAA}"/>
                </a:ext>
              </a:extLst>
            </p:cNvPr>
            <p:cNvSpPr/>
            <p:nvPr/>
          </p:nvSpPr>
          <p:spPr>
            <a:xfrm>
              <a:off x="26517942" y="30306367"/>
              <a:ext cx="75463" cy="877"/>
            </a:xfrm>
            <a:custGeom>
              <a:avLst/>
              <a:gdLst/>
              <a:ahLst/>
              <a:cxnLst/>
              <a:rect l="0" t="0" r="0" b="0"/>
              <a:pathLst>
                <a:path w="75462" h="876">
                  <a:moveTo>
                    <a:pt x="75462" y="419"/>
                  </a:moveTo>
                  <a:cubicBezTo>
                    <a:pt x="75462" y="673"/>
                    <a:pt x="58432" y="876"/>
                    <a:pt x="37731" y="876"/>
                  </a:cubicBezTo>
                  <a:cubicBezTo>
                    <a:pt x="17030" y="876"/>
                    <a:pt x="0" y="558"/>
                    <a:pt x="0" y="419"/>
                  </a:cubicBezTo>
                  <a:cubicBezTo>
                    <a:pt x="0" y="279"/>
                    <a:pt x="16865" y="0"/>
                    <a:pt x="37705" y="0"/>
                  </a:cubicBezTo>
                  <a:cubicBezTo>
                    <a:pt x="58546" y="0"/>
                    <a:pt x="75462" y="76"/>
                    <a:pt x="75462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1" name="Free Form 3235">
              <a:extLst>
                <a:ext uri="{FF2B5EF4-FFF2-40B4-BE49-F238E27FC236}">
                  <a16:creationId xmlns:a16="http://schemas.microsoft.com/office/drawing/2014/main" id="{E96932DA-C772-6526-FB60-B813D0DC2B7A}"/>
                </a:ext>
              </a:extLst>
            </p:cNvPr>
            <p:cNvSpPr/>
            <p:nvPr/>
          </p:nvSpPr>
          <p:spPr>
            <a:xfrm>
              <a:off x="26406817" y="30343041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2" name="Free Form 3236">
              <a:extLst>
                <a:ext uri="{FF2B5EF4-FFF2-40B4-BE49-F238E27FC236}">
                  <a16:creationId xmlns:a16="http://schemas.microsoft.com/office/drawing/2014/main" id="{D4357701-6690-D6B1-F122-D31E8F47BD67}"/>
                </a:ext>
              </a:extLst>
            </p:cNvPr>
            <p:cNvSpPr/>
            <p:nvPr/>
          </p:nvSpPr>
          <p:spPr>
            <a:xfrm>
              <a:off x="26447934" y="30365163"/>
              <a:ext cx="16866" cy="19418"/>
            </a:xfrm>
            <a:custGeom>
              <a:avLst/>
              <a:gdLst/>
              <a:ahLst/>
              <a:cxnLst/>
              <a:rect l="0" t="0" r="0" b="0"/>
              <a:pathLst>
                <a:path w="16865" h="19418">
                  <a:moveTo>
                    <a:pt x="16065" y="8597"/>
                  </a:moveTo>
                  <a:cubicBezTo>
                    <a:pt x="16662" y="8940"/>
                    <a:pt x="16865" y="9715"/>
                    <a:pt x="16509" y="10312"/>
                  </a:cubicBezTo>
                  <a:cubicBezTo>
                    <a:pt x="16408" y="10490"/>
                    <a:pt x="16255" y="10642"/>
                    <a:pt x="16065" y="10756"/>
                  </a:cubicBezTo>
                  <a:lnTo>
                    <a:pt x="8851" y="14935"/>
                  </a:lnTo>
                  <a:lnTo>
                    <a:pt x="1866" y="19075"/>
                  </a:lnTo>
                  <a:cubicBezTo>
                    <a:pt x="1269" y="19418"/>
                    <a:pt x="507" y="19214"/>
                    <a:pt x="165" y="18618"/>
                  </a:cubicBezTo>
                  <a:cubicBezTo>
                    <a:pt x="50" y="18427"/>
                    <a:pt x="0" y="18211"/>
                    <a:pt x="0" y="17995"/>
                  </a:cubicBezTo>
                  <a:lnTo>
                    <a:pt x="0" y="1244"/>
                  </a:lnTo>
                  <a:cubicBezTo>
                    <a:pt x="0" y="558"/>
                    <a:pt x="558" y="0"/>
                    <a:pt x="1244" y="0"/>
                  </a:cubicBezTo>
                  <a:cubicBezTo>
                    <a:pt x="1473" y="0"/>
                    <a:pt x="1676" y="63"/>
                    <a:pt x="1866" y="165"/>
                  </a:cubicBezTo>
                  <a:lnTo>
                    <a:pt x="9080" y="4305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3" name="Free Form 3237">
              <a:extLst>
                <a:ext uri="{FF2B5EF4-FFF2-40B4-BE49-F238E27FC236}">
                  <a16:creationId xmlns:a16="http://schemas.microsoft.com/office/drawing/2014/main" id="{EAA8988F-6EC9-F715-B13D-BA6C13E4BE5E}"/>
                </a:ext>
              </a:extLst>
            </p:cNvPr>
            <p:cNvSpPr/>
            <p:nvPr/>
          </p:nvSpPr>
          <p:spPr>
            <a:xfrm>
              <a:off x="26517968" y="30349481"/>
              <a:ext cx="65074" cy="889"/>
            </a:xfrm>
            <a:custGeom>
              <a:avLst/>
              <a:gdLst/>
              <a:ahLst/>
              <a:cxnLst/>
              <a:rect l="0" t="0" r="0" b="0"/>
              <a:pathLst>
                <a:path w="65074" h="888">
                  <a:moveTo>
                    <a:pt x="65074" y="431"/>
                  </a:moveTo>
                  <a:cubicBezTo>
                    <a:pt x="65074" y="685"/>
                    <a:pt x="50507" y="888"/>
                    <a:pt x="32537" y="888"/>
                  </a:cubicBezTo>
                  <a:cubicBezTo>
                    <a:pt x="14566" y="888"/>
                    <a:pt x="0" y="685"/>
                    <a:pt x="0" y="431"/>
                  </a:cubicBezTo>
                  <a:cubicBezTo>
                    <a:pt x="0" y="177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4" name="Free Form 3238">
              <a:extLst>
                <a:ext uri="{FF2B5EF4-FFF2-40B4-BE49-F238E27FC236}">
                  <a16:creationId xmlns:a16="http://schemas.microsoft.com/office/drawing/2014/main" id="{54B7E01E-375E-A70F-C1FC-5B1B2F7C15D4}"/>
                </a:ext>
              </a:extLst>
            </p:cNvPr>
            <p:cNvSpPr/>
            <p:nvPr/>
          </p:nvSpPr>
          <p:spPr>
            <a:xfrm>
              <a:off x="26517968" y="30361944"/>
              <a:ext cx="75437" cy="889"/>
            </a:xfrm>
            <a:custGeom>
              <a:avLst/>
              <a:gdLst/>
              <a:ahLst/>
              <a:cxnLst/>
              <a:rect l="0" t="0" r="0" b="0"/>
              <a:pathLst>
                <a:path w="75437" h="888">
                  <a:moveTo>
                    <a:pt x="75437" y="431"/>
                  </a:moveTo>
                  <a:cubicBezTo>
                    <a:pt x="75437" y="685"/>
                    <a:pt x="58406" y="888"/>
                    <a:pt x="37705" y="888"/>
                  </a:cubicBezTo>
                  <a:cubicBezTo>
                    <a:pt x="17005" y="888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5" name="Free Form 3239">
              <a:extLst>
                <a:ext uri="{FF2B5EF4-FFF2-40B4-BE49-F238E27FC236}">
                  <a16:creationId xmlns:a16="http://schemas.microsoft.com/office/drawing/2014/main" id="{78E630FB-99FB-01B7-0D01-FA4C412D21D0}"/>
                </a:ext>
              </a:extLst>
            </p:cNvPr>
            <p:cNvSpPr/>
            <p:nvPr/>
          </p:nvSpPr>
          <p:spPr>
            <a:xfrm>
              <a:off x="26517942" y="30374492"/>
              <a:ext cx="75463" cy="863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85"/>
                    <a:pt x="58432" y="863"/>
                    <a:pt x="37731" y="863"/>
                  </a:cubicBezTo>
                  <a:cubicBezTo>
                    <a:pt x="17030" y="863"/>
                    <a:pt x="0" y="596"/>
                    <a:pt x="0" y="431"/>
                  </a:cubicBezTo>
                  <a:cubicBezTo>
                    <a:pt x="0" y="266"/>
                    <a:pt x="16865" y="0"/>
                    <a:pt x="37705" y="0"/>
                  </a:cubicBezTo>
                  <a:cubicBezTo>
                    <a:pt x="58546" y="0"/>
                    <a:pt x="75462" y="114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6" name="Free Form 3240">
              <a:extLst>
                <a:ext uri="{FF2B5EF4-FFF2-40B4-BE49-F238E27FC236}">
                  <a16:creationId xmlns:a16="http://schemas.microsoft.com/office/drawing/2014/main" id="{CC5F0C7D-DCB1-14E5-F36D-E00EBE1819F3}"/>
                </a:ext>
              </a:extLst>
            </p:cNvPr>
            <p:cNvSpPr/>
            <p:nvPr/>
          </p:nvSpPr>
          <p:spPr>
            <a:xfrm>
              <a:off x="26517968" y="30386872"/>
              <a:ext cx="75437" cy="851"/>
            </a:xfrm>
            <a:custGeom>
              <a:avLst/>
              <a:gdLst/>
              <a:ahLst/>
              <a:cxnLst/>
              <a:rect l="0" t="0" r="0" b="0"/>
              <a:pathLst>
                <a:path w="75437" h="850">
                  <a:moveTo>
                    <a:pt x="75437" y="431"/>
                  </a:moveTo>
                  <a:cubicBezTo>
                    <a:pt x="75437" y="660"/>
                    <a:pt x="58406" y="850"/>
                    <a:pt x="37705" y="850"/>
                  </a:cubicBezTo>
                  <a:cubicBezTo>
                    <a:pt x="17005" y="850"/>
                    <a:pt x="0" y="660"/>
                    <a:pt x="0" y="431"/>
                  </a:cubicBezTo>
                  <a:cubicBezTo>
                    <a:pt x="0" y="203"/>
                    <a:pt x="16865" y="0"/>
                    <a:pt x="37705" y="0"/>
                  </a:cubicBezTo>
                  <a:cubicBezTo>
                    <a:pt x="58546" y="0"/>
                    <a:pt x="75437" y="177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7" name="Free Form 3241">
              <a:extLst>
                <a:ext uri="{FF2B5EF4-FFF2-40B4-BE49-F238E27FC236}">
                  <a16:creationId xmlns:a16="http://schemas.microsoft.com/office/drawing/2014/main" id="{6AB23822-A6AB-C7A9-5687-97D570FE0058}"/>
                </a:ext>
              </a:extLst>
            </p:cNvPr>
            <p:cNvSpPr/>
            <p:nvPr/>
          </p:nvSpPr>
          <p:spPr>
            <a:xfrm>
              <a:off x="26517968" y="30399309"/>
              <a:ext cx="75437" cy="889"/>
            </a:xfrm>
            <a:custGeom>
              <a:avLst/>
              <a:gdLst/>
              <a:ahLst/>
              <a:cxnLst/>
              <a:rect l="0" t="0" r="0" b="0"/>
              <a:pathLst>
                <a:path w="75437" h="888">
                  <a:moveTo>
                    <a:pt x="75437" y="457"/>
                  </a:moveTo>
                  <a:cubicBezTo>
                    <a:pt x="75437" y="685"/>
                    <a:pt x="58406" y="888"/>
                    <a:pt x="37705" y="888"/>
                  </a:cubicBezTo>
                  <a:cubicBezTo>
                    <a:pt x="17005" y="888"/>
                    <a:pt x="0" y="685"/>
                    <a:pt x="0" y="457"/>
                  </a:cubicBezTo>
                  <a:cubicBezTo>
                    <a:pt x="0" y="228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5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8" name="Free Form 3242">
              <a:extLst>
                <a:ext uri="{FF2B5EF4-FFF2-40B4-BE49-F238E27FC236}">
                  <a16:creationId xmlns:a16="http://schemas.microsoft.com/office/drawing/2014/main" id="{7F87CF00-4791-3ACB-42E9-973F0BE5778F}"/>
                </a:ext>
              </a:extLst>
            </p:cNvPr>
            <p:cNvSpPr/>
            <p:nvPr/>
          </p:nvSpPr>
          <p:spPr>
            <a:xfrm>
              <a:off x="26406817" y="30436133"/>
              <a:ext cx="98831" cy="63601"/>
            </a:xfrm>
            <a:custGeom>
              <a:avLst/>
              <a:gdLst/>
              <a:ahLst/>
              <a:cxnLst/>
              <a:rect l="0" t="0" r="0" b="0"/>
              <a:pathLst>
                <a:path w="98830" h="63600">
                  <a:moveTo>
                    <a:pt x="16497" y="0"/>
                  </a:moveTo>
                  <a:lnTo>
                    <a:pt x="82333" y="0"/>
                  </a:lnTo>
                  <a:cubicBezTo>
                    <a:pt x="91451" y="0"/>
                    <a:pt x="98830" y="7391"/>
                    <a:pt x="98830" y="16497"/>
                  </a:cubicBezTo>
                  <a:lnTo>
                    <a:pt x="98830" y="47103"/>
                  </a:lnTo>
                  <a:cubicBezTo>
                    <a:pt x="98830" y="56209"/>
                    <a:pt x="91451" y="63600"/>
                    <a:pt x="82333" y="63600"/>
                  </a:cubicBezTo>
                  <a:lnTo>
                    <a:pt x="16497" y="63600"/>
                  </a:lnTo>
                  <a:cubicBezTo>
                    <a:pt x="7391" y="63600"/>
                    <a:pt x="0" y="56209"/>
                    <a:pt x="0" y="47103"/>
                  </a:cubicBezTo>
                  <a:lnTo>
                    <a:pt x="0" y="16497"/>
                  </a:lnTo>
                  <a:cubicBezTo>
                    <a:pt x="0" y="7391"/>
                    <a:pt x="7391" y="0"/>
                    <a:pt x="16497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79" name="Free Form 3243">
              <a:extLst>
                <a:ext uri="{FF2B5EF4-FFF2-40B4-BE49-F238E27FC236}">
                  <a16:creationId xmlns:a16="http://schemas.microsoft.com/office/drawing/2014/main" id="{802E78AD-BEEC-0815-981F-980E7D0565E8}"/>
                </a:ext>
              </a:extLst>
            </p:cNvPr>
            <p:cNvSpPr/>
            <p:nvPr/>
          </p:nvSpPr>
          <p:spPr>
            <a:xfrm>
              <a:off x="26447934" y="30458331"/>
              <a:ext cx="16866" cy="19342"/>
            </a:xfrm>
            <a:custGeom>
              <a:avLst/>
              <a:gdLst/>
              <a:ahLst/>
              <a:cxnLst/>
              <a:rect l="0" t="0" r="0" b="0"/>
              <a:pathLst>
                <a:path w="16865" h="19341">
                  <a:moveTo>
                    <a:pt x="16065" y="8521"/>
                  </a:moveTo>
                  <a:cubicBezTo>
                    <a:pt x="16662" y="8864"/>
                    <a:pt x="16865" y="9639"/>
                    <a:pt x="16509" y="10236"/>
                  </a:cubicBezTo>
                  <a:cubicBezTo>
                    <a:pt x="16408" y="10413"/>
                    <a:pt x="16255" y="10566"/>
                    <a:pt x="16065" y="10680"/>
                  </a:cubicBezTo>
                  <a:lnTo>
                    <a:pt x="8851" y="14820"/>
                  </a:lnTo>
                  <a:lnTo>
                    <a:pt x="1866" y="18998"/>
                  </a:lnTo>
                  <a:cubicBezTo>
                    <a:pt x="1269" y="19341"/>
                    <a:pt x="507" y="19138"/>
                    <a:pt x="165" y="18541"/>
                  </a:cubicBezTo>
                  <a:cubicBezTo>
                    <a:pt x="50" y="18351"/>
                    <a:pt x="0" y="18135"/>
                    <a:pt x="0" y="17919"/>
                  </a:cubicBezTo>
                  <a:lnTo>
                    <a:pt x="0" y="1257"/>
                  </a:lnTo>
                  <a:cubicBezTo>
                    <a:pt x="0" y="558"/>
                    <a:pt x="558" y="0"/>
                    <a:pt x="1244" y="12"/>
                  </a:cubicBezTo>
                  <a:cubicBezTo>
                    <a:pt x="1473" y="12"/>
                    <a:pt x="1676" y="63"/>
                    <a:pt x="1866" y="177"/>
                  </a:cubicBezTo>
                  <a:lnTo>
                    <a:pt x="9080" y="4343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0" name="Free Form 3244">
              <a:extLst>
                <a:ext uri="{FF2B5EF4-FFF2-40B4-BE49-F238E27FC236}">
                  <a16:creationId xmlns:a16="http://schemas.microsoft.com/office/drawing/2014/main" id="{4ED75E51-97D2-079B-95A6-A872588698A3}"/>
                </a:ext>
              </a:extLst>
            </p:cNvPr>
            <p:cNvSpPr/>
            <p:nvPr/>
          </p:nvSpPr>
          <p:spPr>
            <a:xfrm>
              <a:off x="26517968" y="30443425"/>
              <a:ext cx="65074" cy="851"/>
            </a:xfrm>
            <a:custGeom>
              <a:avLst/>
              <a:gdLst/>
              <a:ahLst/>
              <a:cxnLst/>
              <a:rect l="0" t="0" r="0" b="0"/>
              <a:pathLst>
                <a:path w="65074" h="850">
                  <a:moveTo>
                    <a:pt x="65074" y="431"/>
                  </a:moveTo>
                  <a:cubicBezTo>
                    <a:pt x="65074" y="685"/>
                    <a:pt x="50507" y="850"/>
                    <a:pt x="32537" y="850"/>
                  </a:cubicBezTo>
                  <a:cubicBezTo>
                    <a:pt x="14566" y="850"/>
                    <a:pt x="0" y="685"/>
                    <a:pt x="0" y="431"/>
                  </a:cubicBezTo>
                  <a:cubicBezTo>
                    <a:pt x="0" y="177"/>
                    <a:pt x="14566" y="0"/>
                    <a:pt x="32537" y="0"/>
                  </a:cubicBezTo>
                  <a:cubicBezTo>
                    <a:pt x="50507" y="0"/>
                    <a:pt x="65074" y="203"/>
                    <a:pt x="65074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1" name="Free Form 3245">
              <a:extLst>
                <a:ext uri="{FF2B5EF4-FFF2-40B4-BE49-F238E27FC236}">
                  <a16:creationId xmlns:a16="http://schemas.microsoft.com/office/drawing/2014/main" id="{28A20472-5B8E-B219-F494-660BB73B0BD0}"/>
                </a:ext>
              </a:extLst>
            </p:cNvPr>
            <p:cNvSpPr/>
            <p:nvPr/>
          </p:nvSpPr>
          <p:spPr>
            <a:xfrm>
              <a:off x="26517942" y="30455690"/>
              <a:ext cx="75463" cy="863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60"/>
                    <a:pt x="58432" y="863"/>
                    <a:pt x="37731" y="863"/>
                  </a:cubicBezTo>
                  <a:cubicBezTo>
                    <a:pt x="17030" y="863"/>
                    <a:pt x="0" y="660"/>
                    <a:pt x="0" y="431"/>
                  </a:cubicBezTo>
                  <a:cubicBezTo>
                    <a:pt x="0" y="203"/>
                    <a:pt x="16865" y="0"/>
                    <a:pt x="37705" y="0"/>
                  </a:cubicBezTo>
                  <a:cubicBezTo>
                    <a:pt x="58546" y="0"/>
                    <a:pt x="75462" y="177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2" name="Free Form 3246">
              <a:extLst>
                <a:ext uri="{FF2B5EF4-FFF2-40B4-BE49-F238E27FC236}">
                  <a16:creationId xmlns:a16="http://schemas.microsoft.com/office/drawing/2014/main" id="{DDDC447F-C9E6-25AF-CCD1-78AFA377C89F}"/>
                </a:ext>
              </a:extLst>
            </p:cNvPr>
            <p:cNvSpPr/>
            <p:nvPr/>
          </p:nvSpPr>
          <p:spPr>
            <a:xfrm>
              <a:off x="26517942" y="30467926"/>
              <a:ext cx="75463" cy="864"/>
            </a:xfrm>
            <a:custGeom>
              <a:avLst/>
              <a:gdLst/>
              <a:ahLst/>
              <a:cxnLst/>
              <a:rect l="0" t="0" r="0" b="0"/>
              <a:pathLst>
                <a:path w="75462" h="863">
                  <a:moveTo>
                    <a:pt x="75462" y="431"/>
                  </a:moveTo>
                  <a:cubicBezTo>
                    <a:pt x="75462" y="660"/>
                    <a:pt x="58432" y="863"/>
                    <a:pt x="37731" y="863"/>
                  </a:cubicBezTo>
                  <a:cubicBezTo>
                    <a:pt x="17030" y="863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62" y="203"/>
                    <a:pt x="75462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3" name="Free Form 3247">
              <a:extLst>
                <a:ext uri="{FF2B5EF4-FFF2-40B4-BE49-F238E27FC236}">
                  <a16:creationId xmlns:a16="http://schemas.microsoft.com/office/drawing/2014/main" id="{DAFE1D9F-FB46-FB91-1478-525E9AB23D88}"/>
                </a:ext>
              </a:extLst>
            </p:cNvPr>
            <p:cNvSpPr/>
            <p:nvPr/>
          </p:nvSpPr>
          <p:spPr>
            <a:xfrm>
              <a:off x="26517968" y="30480162"/>
              <a:ext cx="75437" cy="864"/>
            </a:xfrm>
            <a:custGeom>
              <a:avLst/>
              <a:gdLst/>
              <a:ahLst/>
              <a:cxnLst/>
              <a:rect l="0" t="0" r="0" b="0"/>
              <a:pathLst>
                <a:path w="75437" h="863">
                  <a:moveTo>
                    <a:pt x="75437" y="431"/>
                  </a:moveTo>
                  <a:cubicBezTo>
                    <a:pt x="75437" y="685"/>
                    <a:pt x="58406" y="863"/>
                    <a:pt x="37705" y="863"/>
                  </a:cubicBezTo>
                  <a:cubicBezTo>
                    <a:pt x="17005" y="863"/>
                    <a:pt x="0" y="685"/>
                    <a:pt x="0" y="431"/>
                  </a:cubicBezTo>
                  <a:cubicBezTo>
                    <a:pt x="0" y="177"/>
                    <a:pt x="16865" y="0"/>
                    <a:pt x="37705" y="0"/>
                  </a:cubicBezTo>
                  <a:cubicBezTo>
                    <a:pt x="58546" y="0"/>
                    <a:pt x="75437" y="203"/>
                    <a:pt x="75437" y="43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4" name="Free Form 3248">
              <a:extLst>
                <a:ext uri="{FF2B5EF4-FFF2-40B4-BE49-F238E27FC236}">
                  <a16:creationId xmlns:a16="http://schemas.microsoft.com/office/drawing/2014/main" id="{C31BEAE5-CE8F-E91F-F1F8-2FBF5E01689D}"/>
                </a:ext>
              </a:extLst>
            </p:cNvPr>
            <p:cNvSpPr/>
            <p:nvPr/>
          </p:nvSpPr>
          <p:spPr>
            <a:xfrm>
              <a:off x="26517968" y="30492439"/>
              <a:ext cx="75437" cy="851"/>
            </a:xfrm>
            <a:custGeom>
              <a:avLst/>
              <a:gdLst/>
              <a:ahLst/>
              <a:cxnLst/>
              <a:rect l="0" t="0" r="0" b="0"/>
              <a:pathLst>
                <a:path w="75437" h="850">
                  <a:moveTo>
                    <a:pt x="75437" y="419"/>
                  </a:moveTo>
                  <a:cubicBezTo>
                    <a:pt x="75437" y="647"/>
                    <a:pt x="58406" y="850"/>
                    <a:pt x="37705" y="850"/>
                  </a:cubicBezTo>
                  <a:cubicBezTo>
                    <a:pt x="17005" y="850"/>
                    <a:pt x="0" y="647"/>
                    <a:pt x="0" y="419"/>
                  </a:cubicBezTo>
                  <a:cubicBezTo>
                    <a:pt x="0" y="190"/>
                    <a:pt x="16865" y="0"/>
                    <a:pt x="37705" y="0"/>
                  </a:cubicBezTo>
                  <a:cubicBezTo>
                    <a:pt x="58546" y="0"/>
                    <a:pt x="75437" y="165"/>
                    <a:pt x="75437" y="41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5" name="Free Form 3249">
              <a:extLst>
                <a:ext uri="{FF2B5EF4-FFF2-40B4-BE49-F238E27FC236}">
                  <a16:creationId xmlns:a16="http://schemas.microsoft.com/office/drawing/2014/main" id="{4F8CA64C-96F3-7C0F-6F85-8564A0F72F35}"/>
                </a:ext>
              </a:extLst>
            </p:cNvPr>
            <p:cNvSpPr/>
            <p:nvPr/>
          </p:nvSpPr>
          <p:spPr>
            <a:xfrm>
              <a:off x="25713972" y="29990123"/>
              <a:ext cx="8293" cy="8280"/>
            </a:xfrm>
            <a:custGeom>
              <a:avLst/>
              <a:gdLst/>
              <a:ahLst/>
              <a:cxnLst/>
              <a:rect l="0" t="0" r="0" b="0"/>
              <a:pathLst>
                <a:path w="8293" h="8280">
                  <a:moveTo>
                    <a:pt x="8293" y="4140"/>
                  </a:moveTo>
                  <a:cubicBezTo>
                    <a:pt x="8293" y="6426"/>
                    <a:pt x="6438" y="8280"/>
                    <a:pt x="4152" y="8280"/>
                  </a:cubicBezTo>
                  <a:cubicBezTo>
                    <a:pt x="1854" y="8280"/>
                    <a:pt x="0" y="6426"/>
                    <a:pt x="0" y="4140"/>
                  </a:cubicBezTo>
                  <a:cubicBezTo>
                    <a:pt x="0" y="1854"/>
                    <a:pt x="1854" y="0"/>
                    <a:pt x="4152" y="0"/>
                  </a:cubicBezTo>
                  <a:cubicBezTo>
                    <a:pt x="6438" y="0"/>
                    <a:pt x="8293" y="1854"/>
                    <a:pt x="8293" y="414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6" name="Free Form 3250">
              <a:extLst>
                <a:ext uri="{FF2B5EF4-FFF2-40B4-BE49-F238E27FC236}">
                  <a16:creationId xmlns:a16="http://schemas.microsoft.com/office/drawing/2014/main" id="{55795A2A-FF99-8BA6-10D2-4EB9095DA65B}"/>
                </a:ext>
              </a:extLst>
            </p:cNvPr>
            <p:cNvSpPr/>
            <p:nvPr/>
          </p:nvSpPr>
          <p:spPr>
            <a:xfrm>
              <a:off x="25727239" y="29990118"/>
              <a:ext cx="8280" cy="8293"/>
            </a:xfrm>
            <a:custGeom>
              <a:avLst/>
              <a:gdLst/>
              <a:ahLst/>
              <a:cxnLst/>
              <a:rect l="0" t="0" r="0" b="0"/>
              <a:pathLst>
                <a:path w="8280" h="8293">
                  <a:moveTo>
                    <a:pt x="4140" y="0"/>
                  </a:moveTo>
                  <a:cubicBezTo>
                    <a:pt x="6426" y="0"/>
                    <a:pt x="8280" y="1854"/>
                    <a:pt x="8280" y="4140"/>
                  </a:cubicBezTo>
                  <a:cubicBezTo>
                    <a:pt x="8280" y="6438"/>
                    <a:pt x="6426" y="8293"/>
                    <a:pt x="4140" y="8293"/>
                  </a:cubicBezTo>
                  <a:cubicBezTo>
                    <a:pt x="1854" y="8293"/>
                    <a:pt x="0" y="6438"/>
                    <a:pt x="0" y="4140"/>
                  </a:cubicBezTo>
                  <a:cubicBezTo>
                    <a:pt x="0" y="1854"/>
                    <a:pt x="1854" y="0"/>
                    <a:pt x="4140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7" name="Free Form 3251">
              <a:extLst>
                <a:ext uri="{FF2B5EF4-FFF2-40B4-BE49-F238E27FC236}">
                  <a16:creationId xmlns:a16="http://schemas.microsoft.com/office/drawing/2014/main" id="{0B8D24D9-014D-51AC-2435-E80D453217B1}"/>
                </a:ext>
              </a:extLst>
            </p:cNvPr>
            <p:cNvSpPr/>
            <p:nvPr/>
          </p:nvSpPr>
          <p:spPr>
            <a:xfrm>
              <a:off x="25740469" y="29990118"/>
              <a:ext cx="8281" cy="8293"/>
            </a:xfrm>
            <a:custGeom>
              <a:avLst/>
              <a:gdLst/>
              <a:ahLst/>
              <a:cxnLst/>
              <a:rect l="0" t="0" r="0" b="0"/>
              <a:pathLst>
                <a:path w="8280" h="8293">
                  <a:moveTo>
                    <a:pt x="4140" y="0"/>
                  </a:moveTo>
                  <a:cubicBezTo>
                    <a:pt x="6426" y="0"/>
                    <a:pt x="8280" y="1854"/>
                    <a:pt x="8280" y="4140"/>
                  </a:cubicBezTo>
                  <a:cubicBezTo>
                    <a:pt x="8280" y="6438"/>
                    <a:pt x="6426" y="8293"/>
                    <a:pt x="4140" y="8293"/>
                  </a:cubicBezTo>
                  <a:cubicBezTo>
                    <a:pt x="1854" y="8293"/>
                    <a:pt x="0" y="6438"/>
                    <a:pt x="0" y="4140"/>
                  </a:cubicBezTo>
                  <a:cubicBezTo>
                    <a:pt x="0" y="1854"/>
                    <a:pt x="1854" y="0"/>
                    <a:pt x="4140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8" name="Rectangle 3252">
              <a:extLst>
                <a:ext uri="{FF2B5EF4-FFF2-40B4-BE49-F238E27FC236}">
                  <a16:creationId xmlns:a16="http://schemas.microsoft.com/office/drawing/2014/main" id="{A6D4D927-A109-B7CB-AC02-910355DA389D}"/>
                </a:ext>
              </a:extLst>
            </p:cNvPr>
            <p:cNvSpPr/>
            <p:nvPr/>
          </p:nvSpPr>
          <p:spPr>
            <a:xfrm>
              <a:off x="25760741" y="30057616"/>
              <a:ext cx="593566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89" name="Rectangle 3254">
              <a:extLst>
                <a:ext uri="{FF2B5EF4-FFF2-40B4-BE49-F238E27FC236}">
                  <a16:creationId xmlns:a16="http://schemas.microsoft.com/office/drawing/2014/main" id="{B4BD1902-F714-17D0-66E8-0F91A6E21B7A}"/>
                </a:ext>
              </a:extLst>
            </p:cNvPr>
            <p:cNvSpPr/>
            <p:nvPr/>
          </p:nvSpPr>
          <p:spPr>
            <a:xfrm>
              <a:off x="25402109" y="29850545"/>
              <a:ext cx="981891" cy="388078"/>
            </a:xfrm>
            <a:prstGeom prst="rect">
              <a:avLst/>
            </a:pr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0" name="Rectangle 3255">
              <a:extLst>
                <a:ext uri="{FF2B5EF4-FFF2-40B4-BE49-F238E27FC236}">
                  <a16:creationId xmlns:a16="http://schemas.microsoft.com/office/drawing/2014/main" id="{5E20B2EC-5094-FDC8-964C-AE222578D017}"/>
                </a:ext>
              </a:extLst>
            </p:cNvPr>
            <p:cNvSpPr/>
            <p:nvPr/>
          </p:nvSpPr>
          <p:spPr>
            <a:xfrm>
              <a:off x="25462890" y="29801603"/>
              <a:ext cx="515603" cy="388078"/>
            </a:xfrm>
            <a:prstGeom prst="rect">
              <a:avLst/>
            </a:pr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1" name="Free Form 3256">
              <a:extLst>
                <a:ext uri="{FF2B5EF4-FFF2-40B4-BE49-F238E27FC236}">
                  <a16:creationId xmlns:a16="http://schemas.microsoft.com/office/drawing/2014/main" id="{4D0EE076-C8A6-4E4F-E287-326AC8B3E364}"/>
                </a:ext>
              </a:extLst>
            </p:cNvPr>
            <p:cNvSpPr/>
            <p:nvPr/>
          </p:nvSpPr>
          <p:spPr>
            <a:xfrm>
              <a:off x="25462346" y="29773584"/>
              <a:ext cx="516936" cy="443149"/>
            </a:xfrm>
            <a:custGeom>
              <a:avLst/>
              <a:gdLst/>
              <a:ahLst/>
              <a:cxnLst/>
              <a:rect l="0" t="0" r="0" b="0"/>
              <a:pathLst>
                <a:path w="516935" h="443149">
                  <a:moveTo>
                    <a:pt x="516173" y="442920"/>
                  </a:moveTo>
                  <a:lnTo>
                    <a:pt x="516173" y="434805"/>
                  </a:lnTo>
                  <a:lnTo>
                    <a:pt x="516173" y="411208"/>
                  </a:lnTo>
                  <a:cubicBezTo>
                    <a:pt x="516173" y="390533"/>
                    <a:pt x="516173" y="360244"/>
                    <a:pt x="516033" y="321636"/>
                  </a:cubicBezTo>
                  <a:cubicBezTo>
                    <a:pt x="516033" y="244497"/>
                    <a:pt x="515830" y="134262"/>
                    <a:pt x="515716" y="1168"/>
                  </a:cubicBezTo>
                  <a:lnTo>
                    <a:pt x="516312" y="1790"/>
                  </a:lnTo>
                  <a:lnTo>
                    <a:pt x="774" y="1790"/>
                  </a:lnTo>
                  <a:lnTo>
                    <a:pt x="1511" y="1054"/>
                  </a:lnTo>
                  <a:lnTo>
                    <a:pt x="1511" y="442806"/>
                  </a:lnTo>
                  <a:lnTo>
                    <a:pt x="850" y="442158"/>
                  </a:lnTo>
                  <a:lnTo>
                    <a:pt x="373731" y="442488"/>
                  </a:lnTo>
                  <a:lnTo>
                    <a:pt x="478988" y="442666"/>
                  </a:lnTo>
                  <a:lnTo>
                    <a:pt x="506838" y="442666"/>
                  </a:lnTo>
                  <a:lnTo>
                    <a:pt x="516173" y="442666"/>
                  </a:lnTo>
                  <a:lnTo>
                    <a:pt x="513811" y="442666"/>
                  </a:lnTo>
                  <a:lnTo>
                    <a:pt x="506724" y="442666"/>
                  </a:lnTo>
                  <a:lnTo>
                    <a:pt x="479013" y="442666"/>
                  </a:lnTo>
                  <a:lnTo>
                    <a:pt x="373960" y="442831"/>
                  </a:lnTo>
                  <a:lnTo>
                    <a:pt x="660" y="443149"/>
                  </a:lnTo>
                  <a:lnTo>
                    <a:pt x="0" y="443149"/>
                  </a:lnTo>
                  <a:lnTo>
                    <a:pt x="0" y="442488"/>
                  </a:lnTo>
                  <a:lnTo>
                    <a:pt x="0" y="736"/>
                  </a:lnTo>
                  <a:lnTo>
                    <a:pt x="0" y="0"/>
                  </a:lnTo>
                  <a:lnTo>
                    <a:pt x="774" y="0"/>
                  </a:lnTo>
                  <a:lnTo>
                    <a:pt x="516312" y="0"/>
                  </a:lnTo>
                  <a:lnTo>
                    <a:pt x="516935" y="0"/>
                  </a:lnTo>
                  <a:lnTo>
                    <a:pt x="516935" y="622"/>
                  </a:lnTo>
                  <a:cubicBezTo>
                    <a:pt x="516935" y="133742"/>
                    <a:pt x="516706" y="244243"/>
                    <a:pt x="516630" y="321433"/>
                  </a:cubicBezTo>
                  <a:cubicBezTo>
                    <a:pt x="516630" y="359990"/>
                    <a:pt x="516630" y="390228"/>
                    <a:pt x="516452" y="410866"/>
                  </a:cubicBezTo>
                  <a:lnTo>
                    <a:pt x="516452" y="434348"/>
                  </a:lnTo>
                  <a:cubicBezTo>
                    <a:pt x="516452" y="439682"/>
                    <a:pt x="516173" y="442920"/>
                    <a:pt x="516173" y="44292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2" name="Free Form 3257">
              <a:extLst>
                <a:ext uri="{FF2B5EF4-FFF2-40B4-BE49-F238E27FC236}">
                  <a16:creationId xmlns:a16="http://schemas.microsoft.com/office/drawing/2014/main" id="{6F625488-0E9D-422F-7C80-C097DB23246E}"/>
                </a:ext>
              </a:extLst>
            </p:cNvPr>
            <p:cNvSpPr/>
            <p:nvPr/>
          </p:nvSpPr>
          <p:spPr>
            <a:xfrm>
              <a:off x="25504082" y="30099191"/>
              <a:ext cx="76974" cy="77278"/>
            </a:xfrm>
            <a:custGeom>
              <a:avLst/>
              <a:gdLst/>
              <a:ahLst/>
              <a:cxnLst/>
              <a:rect l="0" t="0" r="0" b="0"/>
              <a:pathLst>
                <a:path w="76973" h="77278">
                  <a:moveTo>
                    <a:pt x="76770" y="76999"/>
                  </a:moveTo>
                  <a:lnTo>
                    <a:pt x="76770" y="76630"/>
                  </a:lnTo>
                  <a:lnTo>
                    <a:pt x="76770" y="75551"/>
                  </a:lnTo>
                  <a:lnTo>
                    <a:pt x="76770" y="71436"/>
                  </a:lnTo>
                  <a:lnTo>
                    <a:pt x="76770" y="55854"/>
                  </a:lnTo>
                  <a:cubicBezTo>
                    <a:pt x="76770" y="42442"/>
                    <a:pt x="76770" y="23367"/>
                    <a:pt x="76605" y="457"/>
                  </a:cubicBezTo>
                  <a:lnTo>
                    <a:pt x="76910" y="800"/>
                  </a:lnTo>
                  <a:lnTo>
                    <a:pt x="317" y="800"/>
                  </a:lnTo>
                  <a:lnTo>
                    <a:pt x="685" y="431"/>
                  </a:lnTo>
                  <a:lnTo>
                    <a:pt x="685" y="77088"/>
                  </a:lnTo>
                  <a:lnTo>
                    <a:pt x="368" y="76770"/>
                  </a:lnTo>
                  <a:lnTo>
                    <a:pt x="55739" y="76948"/>
                  </a:lnTo>
                  <a:lnTo>
                    <a:pt x="71322" y="76948"/>
                  </a:lnTo>
                  <a:lnTo>
                    <a:pt x="75462" y="76948"/>
                  </a:lnTo>
                  <a:lnTo>
                    <a:pt x="71297" y="76999"/>
                  </a:lnTo>
                  <a:lnTo>
                    <a:pt x="55765" y="76999"/>
                  </a:lnTo>
                  <a:lnTo>
                    <a:pt x="317" y="77278"/>
                  </a:lnTo>
                  <a:lnTo>
                    <a:pt x="0" y="77278"/>
                  </a:lnTo>
                  <a:lnTo>
                    <a:pt x="0" y="76999"/>
                  </a:lnTo>
                  <a:lnTo>
                    <a:pt x="0" y="342"/>
                  </a:lnTo>
                  <a:lnTo>
                    <a:pt x="0" y="0"/>
                  </a:lnTo>
                  <a:lnTo>
                    <a:pt x="76973" y="0"/>
                  </a:lnTo>
                  <a:lnTo>
                    <a:pt x="76973" y="342"/>
                  </a:lnTo>
                  <a:cubicBezTo>
                    <a:pt x="76973" y="23342"/>
                    <a:pt x="76973" y="42481"/>
                    <a:pt x="76834" y="55930"/>
                  </a:cubicBezTo>
                  <a:lnTo>
                    <a:pt x="76834" y="71436"/>
                  </a:lnTo>
                  <a:lnTo>
                    <a:pt x="76834" y="75526"/>
                  </a:lnTo>
                  <a:lnTo>
                    <a:pt x="76834" y="76542"/>
                  </a:lnTo>
                  <a:cubicBezTo>
                    <a:pt x="76834" y="76694"/>
                    <a:pt x="76808" y="76846"/>
                    <a:pt x="76770" y="7699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3" name="Free Form 3258">
              <a:extLst>
                <a:ext uri="{FF2B5EF4-FFF2-40B4-BE49-F238E27FC236}">
                  <a16:creationId xmlns:a16="http://schemas.microsoft.com/office/drawing/2014/main" id="{5A775541-9F97-98DC-03B9-1ECF9D4D623B}"/>
                </a:ext>
              </a:extLst>
            </p:cNvPr>
            <p:cNvSpPr/>
            <p:nvPr/>
          </p:nvSpPr>
          <p:spPr>
            <a:xfrm>
              <a:off x="25504399" y="30079379"/>
              <a:ext cx="110896" cy="96811"/>
            </a:xfrm>
            <a:custGeom>
              <a:avLst/>
              <a:gdLst/>
              <a:ahLst/>
              <a:cxnLst/>
              <a:rect l="0" t="0" r="0" b="0"/>
              <a:pathLst>
                <a:path w="110895" h="96811">
                  <a:moveTo>
                    <a:pt x="76453" y="96811"/>
                  </a:moveTo>
                  <a:lnTo>
                    <a:pt x="77050" y="96417"/>
                  </a:lnTo>
                  <a:lnTo>
                    <a:pt x="78815" y="95274"/>
                  </a:lnTo>
                  <a:lnTo>
                    <a:pt x="85571" y="91019"/>
                  </a:lnTo>
                  <a:lnTo>
                    <a:pt x="110488" y="75487"/>
                  </a:lnTo>
                  <a:lnTo>
                    <a:pt x="110349" y="75716"/>
                  </a:lnTo>
                  <a:lnTo>
                    <a:pt x="110349" y="342"/>
                  </a:lnTo>
                  <a:lnTo>
                    <a:pt x="110717" y="711"/>
                  </a:lnTo>
                  <a:lnTo>
                    <a:pt x="110526" y="711"/>
                  </a:lnTo>
                  <a:lnTo>
                    <a:pt x="35089" y="711"/>
                  </a:lnTo>
                  <a:lnTo>
                    <a:pt x="9537" y="15189"/>
                  </a:lnTo>
                  <a:lnTo>
                    <a:pt x="2501" y="19100"/>
                  </a:lnTo>
                  <a:lnTo>
                    <a:pt x="647" y="20103"/>
                  </a:lnTo>
                  <a:lnTo>
                    <a:pt x="0" y="20154"/>
                  </a:lnTo>
                  <a:lnTo>
                    <a:pt x="596" y="19786"/>
                  </a:lnTo>
                  <a:lnTo>
                    <a:pt x="2387" y="18706"/>
                  </a:lnTo>
                  <a:lnTo>
                    <a:pt x="9334" y="14681"/>
                  </a:lnTo>
                  <a:lnTo>
                    <a:pt x="34886" y="0"/>
                  </a:lnTo>
                  <a:lnTo>
                    <a:pt x="110323" y="0"/>
                  </a:lnTo>
                  <a:lnTo>
                    <a:pt x="110895" y="0"/>
                  </a:lnTo>
                  <a:lnTo>
                    <a:pt x="110895" y="279"/>
                  </a:lnTo>
                  <a:lnTo>
                    <a:pt x="110895" y="75665"/>
                  </a:lnTo>
                  <a:lnTo>
                    <a:pt x="110895" y="75805"/>
                  </a:lnTo>
                  <a:lnTo>
                    <a:pt x="110755" y="75805"/>
                  </a:lnTo>
                  <a:lnTo>
                    <a:pt x="85736" y="91134"/>
                  </a:lnTo>
                  <a:cubicBezTo>
                    <a:pt x="82892" y="92899"/>
                    <a:pt x="80491" y="94309"/>
                    <a:pt x="78891" y="95274"/>
                  </a:cubicBezTo>
                  <a:lnTo>
                    <a:pt x="77075" y="96328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4" name="Free Form 3259">
              <a:extLst>
                <a:ext uri="{FF2B5EF4-FFF2-40B4-BE49-F238E27FC236}">
                  <a16:creationId xmlns:a16="http://schemas.microsoft.com/office/drawing/2014/main" id="{EAA29C68-C804-B00C-25EB-A9A5CFE7A853}"/>
                </a:ext>
              </a:extLst>
            </p:cNvPr>
            <p:cNvSpPr/>
            <p:nvPr/>
          </p:nvSpPr>
          <p:spPr>
            <a:xfrm>
              <a:off x="25580538" y="30079662"/>
              <a:ext cx="34581" cy="20129"/>
            </a:xfrm>
            <a:custGeom>
              <a:avLst/>
              <a:gdLst/>
              <a:ahLst/>
              <a:cxnLst/>
              <a:rect l="0" t="0" r="0" b="0"/>
              <a:pathLst>
                <a:path w="34581" h="20129">
                  <a:moveTo>
                    <a:pt x="34581" y="0"/>
                  </a:moveTo>
                  <a:cubicBezTo>
                    <a:pt x="34581" y="165"/>
                    <a:pt x="27114" y="4775"/>
                    <a:pt x="17551" y="10274"/>
                  </a:cubicBezTo>
                  <a:cubicBezTo>
                    <a:pt x="7975" y="15785"/>
                    <a:pt x="507" y="20129"/>
                    <a:pt x="253" y="19926"/>
                  </a:cubicBezTo>
                  <a:cubicBezTo>
                    <a:pt x="0" y="19735"/>
                    <a:pt x="7721" y="15163"/>
                    <a:pt x="17297" y="9651"/>
                  </a:cubicBezTo>
                  <a:cubicBezTo>
                    <a:pt x="26860" y="4140"/>
                    <a:pt x="34416" y="0"/>
                    <a:pt x="34581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5" name="Free Form 3260">
              <a:extLst>
                <a:ext uri="{FF2B5EF4-FFF2-40B4-BE49-F238E27FC236}">
                  <a16:creationId xmlns:a16="http://schemas.microsoft.com/office/drawing/2014/main" id="{8DAF77B9-4493-CC35-B5DE-3C0A1B2A64B1}"/>
                </a:ext>
              </a:extLst>
            </p:cNvPr>
            <p:cNvSpPr/>
            <p:nvPr/>
          </p:nvSpPr>
          <p:spPr>
            <a:xfrm>
              <a:off x="25504253" y="30172845"/>
              <a:ext cx="3721" cy="2438"/>
            </a:xfrm>
            <a:custGeom>
              <a:avLst/>
              <a:gdLst/>
              <a:ahLst/>
              <a:cxnLst/>
              <a:rect l="0" t="0" r="0" b="0"/>
              <a:pathLst>
                <a:path w="3721" h="2438">
                  <a:moveTo>
                    <a:pt x="3721" y="165"/>
                  </a:moveTo>
                  <a:cubicBezTo>
                    <a:pt x="3721" y="330"/>
                    <a:pt x="3073" y="965"/>
                    <a:pt x="2070" y="1523"/>
                  </a:cubicBezTo>
                  <a:cubicBezTo>
                    <a:pt x="1079" y="2095"/>
                    <a:pt x="177" y="2438"/>
                    <a:pt x="88" y="2260"/>
                  </a:cubicBezTo>
                  <a:cubicBezTo>
                    <a:pt x="0" y="2095"/>
                    <a:pt x="711" y="1473"/>
                    <a:pt x="1701" y="901"/>
                  </a:cubicBezTo>
                  <a:cubicBezTo>
                    <a:pt x="2705" y="330"/>
                    <a:pt x="3606" y="0"/>
                    <a:pt x="3721" y="16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6" name="Free Form 3261">
              <a:extLst>
                <a:ext uri="{FF2B5EF4-FFF2-40B4-BE49-F238E27FC236}">
                  <a16:creationId xmlns:a16="http://schemas.microsoft.com/office/drawing/2014/main" id="{7CA24AB1-D8CD-7011-8D26-361F00FAE785}"/>
                </a:ext>
              </a:extLst>
            </p:cNvPr>
            <p:cNvSpPr/>
            <p:nvPr/>
          </p:nvSpPr>
          <p:spPr>
            <a:xfrm>
              <a:off x="25511518" y="30168671"/>
              <a:ext cx="3695" cy="2439"/>
            </a:xfrm>
            <a:custGeom>
              <a:avLst/>
              <a:gdLst/>
              <a:ahLst/>
              <a:cxnLst/>
              <a:rect l="0" t="0" r="0" b="0"/>
              <a:pathLst>
                <a:path w="3695" h="2438">
                  <a:moveTo>
                    <a:pt x="3695" y="165"/>
                  </a:moveTo>
                  <a:cubicBezTo>
                    <a:pt x="3695" y="368"/>
                    <a:pt x="3073" y="965"/>
                    <a:pt x="2082" y="1523"/>
                  </a:cubicBezTo>
                  <a:cubicBezTo>
                    <a:pt x="1079" y="2095"/>
                    <a:pt x="177" y="2438"/>
                    <a:pt x="88" y="2260"/>
                  </a:cubicBezTo>
                  <a:cubicBezTo>
                    <a:pt x="0" y="2095"/>
                    <a:pt x="711" y="1473"/>
                    <a:pt x="1714" y="901"/>
                  </a:cubicBezTo>
                  <a:cubicBezTo>
                    <a:pt x="2705" y="330"/>
                    <a:pt x="3606" y="0"/>
                    <a:pt x="3695" y="16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7" name="Free Form 3262">
              <a:extLst>
                <a:ext uri="{FF2B5EF4-FFF2-40B4-BE49-F238E27FC236}">
                  <a16:creationId xmlns:a16="http://schemas.microsoft.com/office/drawing/2014/main" id="{B6948A13-E682-4991-B545-D1803745743C}"/>
                </a:ext>
              </a:extLst>
            </p:cNvPr>
            <p:cNvSpPr/>
            <p:nvPr/>
          </p:nvSpPr>
          <p:spPr>
            <a:xfrm>
              <a:off x="25518735" y="30164516"/>
              <a:ext cx="3746" cy="2565"/>
            </a:xfrm>
            <a:custGeom>
              <a:avLst/>
              <a:gdLst/>
              <a:ahLst/>
              <a:cxnLst/>
              <a:rect l="0" t="0" r="0" b="0"/>
              <a:pathLst>
                <a:path w="3746" h="2565">
                  <a:moveTo>
                    <a:pt x="3746" y="317"/>
                  </a:moveTo>
                  <a:cubicBezTo>
                    <a:pt x="3746" y="482"/>
                    <a:pt x="3124" y="1079"/>
                    <a:pt x="2133" y="1650"/>
                  </a:cubicBezTo>
                  <a:cubicBezTo>
                    <a:pt x="1130" y="2222"/>
                    <a:pt x="228" y="2565"/>
                    <a:pt x="114" y="2387"/>
                  </a:cubicBezTo>
                  <a:cubicBezTo>
                    <a:pt x="0" y="2222"/>
                    <a:pt x="761" y="1625"/>
                    <a:pt x="1765" y="1028"/>
                  </a:cubicBezTo>
                  <a:cubicBezTo>
                    <a:pt x="2755" y="431"/>
                    <a:pt x="3657" y="0"/>
                    <a:pt x="3746" y="31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8" name="Free Form 3263">
              <a:extLst>
                <a:ext uri="{FF2B5EF4-FFF2-40B4-BE49-F238E27FC236}">
                  <a16:creationId xmlns:a16="http://schemas.microsoft.com/office/drawing/2014/main" id="{768CA580-EBAA-57F6-EA97-DB7ECB0F97EB}"/>
                </a:ext>
              </a:extLst>
            </p:cNvPr>
            <p:cNvSpPr/>
            <p:nvPr/>
          </p:nvSpPr>
          <p:spPr>
            <a:xfrm>
              <a:off x="25526003" y="30160353"/>
              <a:ext cx="3746" cy="2413"/>
            </a:xfrm>
            <a:custGeom>
              <a:avLst/>
              <a:gdLst/>
              <a:ahLst/>
              <a:cxnLst/>
              <a:rect l="0" t="0" r="0" b="0"/>
              <a:pathLst>
                <a:path w="3746" h="2412">
                  <a:moveTo>
                    <a:pt x="3746" y="165"/>
                  </a:moveTo>
                  <a:cubicBezTo>
                    <a:pt x="3746" y="330"/>
                    <a:pt x="3124" y="927"/>
                    <a:pt x="2095" y="1523"/>
                  </a:cubicBezTo>
                  <a:cubicBezTo>
                    <a:pt x="1079" y="2120"/>
                    <a:pt x="228" y="2412"/>
                    <a:pt x="114" y="2235"/>
                  </a:cubicBezTo>
                  <a:cubicBezTo>
                    <a:pt x="0" y="2070"/>
                    <a:pt x="736" y="1473"/>
                    <a:pt x="1765" y="876"/>
                  </a:cubicBezTo>
                  <a:cubicBezTo>
                    <a:pt x="2781" y="279"/>
                    <a:pt x="3632" y="0"/>
                    <a:pt x="3746" y="16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299" name="Free Form 3264">
              <a:extLst>
                <a:ext uri="{FF2B5EF4-FFF2-40B4-BE49-F238E27FC236}">
                  <a16:creationId xmlns:a16="http://schemas.microsoft.com/office/drawing/2014/main" id="{E673B856-2DF4-0B77-45CD-BD04ADEF7494}"/>
                </a:ext>
              </a:extLst>
            </p:cNvPr>
            <p:cNvSpPr/>
            <p:nvPr/>
          </p:nvSpPr>
          <p:spPr>
            <a:xfrm>
              <a:off x="25533295" y="30156317"/>
              <a:ext cx="3721" cy="2273"/>
            </a:xfrm>
            <a:custGeom>
              <a:avLst/>
              <a:gdLst/>
              <a:ahLst/>
              <a:cxnLst/>
              <a:rect l="0" t="0" r="0" b="0"/>
              <a:pathLst>
                <a:path w="3721" h="2273">
                  <a:moveTo>
                    <a:pt x="3721" y="0"/>
                  </a:moveTo>
                  <a:cubicBezTo>
                    <a:pt x="3721" y="165"/>
                    <a:pt x="3073" y="800"/>
                    <a:pt x="2070" y="1358"/>
                  </a:cubicBezTo>
                  <a:cubicBezTo>
                    <a:pt x="1079" y="1930"/>
                    <a:pt x="177" y="2273"/>
                    <a:pt x="88" y="2070"/>
                  </a:cubicBezTo>
                  <a:cubicBezTo>
                    <a:pt x="0" y="1879"/>
                    <a:pt x="711" y="1308"/>
                    <a:pt x="1701" y="736"/>
                  </a:cubicBezTo>
                  <a:cubicBezTo>
                    <a:pt x="2705" y="165"/>
                    <a:pt x="3606" y="0"/>
                    <a:pt x="3721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0" name="Free Form 3265">
              <a:extLst>
                <a:ext uri="{FF2B5EF4-FFF2-40B4-BE49-F238E27FC236}">
                  <a16:creationId xmlns:a16="http://schemas.microsoft.com/office/drawing/2014/main" id="{DE1205C1-B8ED-CE48-1D7E-C64748C5ABA3}"/>
                </a:ext>
              </a:extLst>
            </p:cNvPr>
            <p:cNvSpPr/>
            <p:nvPr/>
          </p:nvSpPr>
          <p:spPr>
            <a:xfrm>
              <a:off x="25538467" y="30149020"/>
              <a:ext cx="736" cy="4178"/>
            </a:xfrm>
            <a:custGeom>
              <a:avLst/>
              <a:gdLst/>
              <a:ahLst/>
              <a:cxnLst/>
              <a:rect l="0" t="0" r="0" b="0"/>
              <a:pathLst>
                <a:path w="736" h="4178">
                  <a:moveTo>
                    <a:pt x="368" y="0"/>
                  </a:moveTo>
                  <a:cubicBezTo>
                    <a:pt x="596" y="0"/>
                    <a:pt x="736" y="939"/>
                    <a:pt x="736" y="2070"/>
                  </a:cubicBezTo>
                  <a:cubicBezTo>
                    <a:pt x="736" y="3213"/>
                    <a:pt x="533" y="4178"/>
                    <a:pt x="342" y="4178"/>
                  </a:cubicBezTo>
                  <a:cubicBezTo>
                    <a:pt x="139" y="4178"/>
                    <a:pt x="0" y="3238"/>
                    <a:pt x="0" y="2070"/>
                  </a:cubicBezTo>
                  <a:cubicBezTo>
                    <a:pt x="0" y="914"/>
                    <a:pt x="165" y="0"/>
                    <a:pt x="368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1" name="Free Form 3266">
              <a:extLst>
                <a:ext uri="{FF2B5EF4-FFF2-40B4-BE49-F238E27FC236}">
                  <a16:creationId xmlns:a16="http://schemas.microsoft.com/office/drawing/2014/main" id="{54765AB8-0CF2-8863-4FAB-8007D29FAF7E}"/>
                </a:ext>
              </a:extLst>
            </p:cNvPr>
            <p:cNvSpPr/>
            <p:nvPr/>
          </p:nvSpPr>
          <p:spPr>
            <a:xfrm>
              <a:off x="25538525" y="30140644"/>
              <a:ext cx="737" cy="4178"/>
            </a:xfrm>
            <a:custGeom>
              <a:avLst/>
              <a:gdLst/>
              <a:ahLst/>
              <a:cxnLst/>
              <a:rect l="0" t="0" r="0" b="0"/>
              <a:pathLst>
                <a:path w="736" h="4178">
                  <a:moveTo>
                    <a:pt x="393" y="0"/>
                  </a:moveTo>
                  <a:cubicBezTo>
                    <a:pt x="596" y="0"/>
                    <a:pt x="736" y="939"/>
                    <a:pt x="736" y="2095"/>
                  </a:cubicBezTo>
                  <a:cubicBezTo>
                    <a:pt x="736" y="3263"/>
                    <a:pt x="558" y="4178"/>
                    <a:pt x="368" y="4178"/>
                  </a:cubicBezTo>
                  <a:cubicBezTo>
                    <a:pt x="165" y="4178"/>
                    <a:pt x="0" y="3238"/>
                    <a:pt x="0" y="2070"/>
                  </a:cubicBezTo>
                  <a:cubicBezTo>
                    <a:pt x="0" y="914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2" name="Free Form 3267">
              <a:extLst>
                <a:ext uri="{FF2B5EF4-FFF2-40B4-BE49-F238E27FC236}">
                  <a16:creationId xmlns:a16="http://schemas.microsoft.com/office/drawing/2014/main" id="{1DA587DF-9283-EC2F-E147-1CD2A8F07A0D}"/>
                </a:ext>
              </a:extLst>
            </p:cNvPr>
            <p:cNvSpPr/>
            <p:nvPr/>
          </p:nvSpPr>
          <p:spPr>
            <a:xfrm>
              <a:off x="25538582" y="30132270"/>
              <a:ext cx="762" cy="4178"/>
            </a:xfrm>
            <a:custGeom>
              <a:avLst/>
              <a:gdLst/>
              <a:ahLst/>
              <a:cxnLst/>
              <a:rect l="0" t="0" r="0" b="0"/>
              <a:pathLst>
                <a:path w="761" h="4178">
                  <a:moveTo>
                    <a:pt x="393" y="0"/>
                  </a:moveTo>
                  <a:cubicBezTo>
                    <a:pt x="596" y="0"/>
                    <a:pt x="761" y="939"/>
                    <a:pt x="736" y="2095"/>
                  </a:cubicBezTo>
                  <a:cubicBezTo>
                    <a:pt x="711" y="3263"/>
                    <a:pt x="558" y="4178"/>
                    <a:pt x="368" y="4178"/>
                  </a:cubicBezTo>
                  <a:cubicBezTo>
                    <a:pt x="165" y="4178"/>
                    <a:pt x="0" y="3238"/>
                    <a:pt x="25" y="2095"/>
                  </a:cubicBezTo>
                  <a:cubicBezTo>
                    <a:pt x="50" y="965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3" name="Free Form 3268">
              <a:extLst>
                <a:ext uri="{FF2B5EF4-FFF2-40B4-BE49-F238E27FC236}">
                  <a16:creationId xmlns:a16="http://schemas.microsoft.com/office/drawing/2014/main" id="{D4B3A989-F5FA-D03D-F0A3-5CFFF51880C8}"/>
                </a:ext>
              </a:extLst>
            </p:cNvPr>
            <p:cNvSpPr/>
            <p:nvPr/>
          </p:nvSpPr>
          <p:spPr>
            <a:xfrm>
              <a:off x="25538665" y="30123894"/>
              <a:ext cx="736" cy="4179"/>
            </a:xfrm>
            <a:custGeom>
              <a:avLst/>
              <a:gdLst/>
              <a:ahLst/>
              <a:cxnLst/>
              <a:rect l="0" t="0" r="0" b="0"/>
              <a:pathLst>
                <a:path w="736" h="4178">
                  <a:moveTo>
                    <a:pt x="368" y="0"/>
                  </a:moveTo>
                  <a:cubicBezTo>
                    <a:pt x="596" y="0"/>
                    <a:pt x="736" y="939"/>
                    <a:pt x="736" y="2095"/>
                  </a:cubicBezTo>
                  <a:cubicBezTo>
                    <a:pt x="736" y="3263"/>
                    <a:pt x="533" y="4178"/>
                    <a:pt x="342" y="4178"/>
                  </a:cubicBezTo>
                  <a:cubicBezTo>
                    <a:pt x="139" y="4178"/>
                    <a:pt x="0" y="3238"/>
                    <a:pt x="0" y="2095"/>
                  </a:cubicBezTo>
                  <a:cubicBezTo>
                    <a:pt x="0" y="965"/>
                    <a:pt x="165" y="0"/>
                    <a:pt x="368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4" name="Free Form 3269">
              <a:extLst>
                <a:ext uri="{FF2B5EF4-FFF2-40B4-BE49-F238E27FC236}">
                  <a16:creationId xmlns:a16="http://schemas.microsoft.com/office/drawing/2014/main" id="{E87AA517-F86F-BAC5-C8A8-C7065CB75323}"/>
                </a:ext>
              </a:extLst>
            </p:cNvPr>
            <p:cNvSpPr/>
            <p:nvPr/>
          </p:nvSpPr>
          <p:spPr>
            <a:xfrm>
              <a:off x="25538724" y="30115520"/>
              <a:ext cx="737" cy="4204"/>
            </a:xfrm>
            <a:custGeom>
              <a:avLst/>
              <a:gdLst/>
              <a:ahLst/>
              <a:cxnLst/>
              <a:rect l="0" t="0" r="0" b="0"/>
              <a:pathLst>
                <a:path w="736" h="4203">
                  <a:moveTo>
                    <a:pt x="393" y="0"/>
                  </a:moveTo>
                  <a:cubicBezTo>
                    <a:pt x="596" y="0"/>
                    <a:pt x="736" y="939"/>
                    <a:pt x="736" y="2095"/>
                  </a:cubicBezTo>
                  <a:cubicBezTo>
                    <a:pt x="736" y="3263"/>
                    <a:pt x="558" y="4203"/>
                    <a:pt x="368" y="4203"/>
                  </a:cubicBezTo>
                  <a:cubicBezTo>
                    <a:pt x="165" y="4203"/>
                    <a:pt x="0" y="3238"/>
                    <a:pt x="0" y="2095"/>
                  </a:cubicBezTo>
                  <a:cubicBezTo>
                    <a:pt x="0" y="965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5" name="Free Form 3270">
              <a:extLst>
                <a:ext uri="{FF2B5EF4-FFF2-40B4-BE49-F238E27FC236}">
                  <a16:creationId xmlns:a16="http://schemas.microsoft.com/office/drawing/2014/main" id="{C1761D2E-A0E3-4F58-2B92-E45A22882D4E}"/>
                </a:ext>
              </a:extLst>
            </p:cNvPr>
            <p:cNvSpPr/>
            <p:nvPr/>
          </p:nvSpPr>
          <p:spPr>
            <a:xfrm>
              <a:off x="25538780" y="30107143"/>
              <a:ext cx="762" cy="4204"/>
            </a:xfrm>
            <a:custGeom>
              <a:avLst/>
              <a:gdLst/>
              <a:ahLst/>
              <a:cxnLst/>
              <a:rect l="0" t="0" r="0" b="0"/>
              <a:pathLst>
                <a:path w="761" h="4203">
                  <a:moveTo>
                    <a:pt x="393" y="0"/>
                  </a:moveTo>
                  <a:cubicBezTo>
                    <a:pt x="596" y="0"/>
                    <a:pt x="761" y="939"/>
                    <a:pt x="736" y="2108"/>
                  </a:cubicBezTo>
                  <a:cubicBezTo>
                    <a:pt x="711" y="3263"/>
                    <a:pt x="558" y="4203"/>
                    <a:pt x="368" y="4203"/>
                  </a:cubicBezTo>
                  <a:cubicBezTo>
                    <a:pt x="165" y="4203"/>
                    <a:pt x="0" y="3263"/>
                    <a:pt x="25" y="2108"/>
                  </a:cubicBezTo>
                  <a:cubicBezTo>
                    <a:pt x="50" y="939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6" name="Free Form 3271">
              <a:extLst>
                <a:ext uri="{FF2B5EF4-FFF2-40B4-BE49-F238E27FC236}">
                  <a16:creationId xmlns:a16="http://schemas.microsoft.com/office/drawing/2014/main" id="{DD45E1E8-3114-35DB-1A6D-0D0A5BA82030}"/>
                </a:ext>
              </a:extLst>
            </p:cNvPr>
            <p:cNvSpPr/>
            <p:nvPr/>
          </p:nvSpPr>
          <p:spPr>
            <a:xfrm>
              <a:off x="25538864" y="30098769"/>
              <a:ext cx="737" cy="4204"/>
            </a:xfrm>
            <a:custGeom>
              <a:avLst/>
              <a:gdLst/>
              <a:ahLst/>
              <a:cxnLst/>
              <a:rect l="0" t="0" r="0" b="0"/>
              <a:pathLst>
                <a:path w="736" h="4203">
                  <a:moveTo>
                    <a:pt x="368" y="0"/>
                  </a:moveTo>
                  <a:cubicBezTo>
                    <a:pt x="571" y="0"/>
                    <a:pt x="736" y="939"/>
                    <a:pt x="736" y="2095"/>
                  </a:cubicBezTo>
                  <a:cubicBezTo>
                    <a:pt x="736" y="3263"/>
                    <a:pt x="533" y="4203"/>
                    <a:pt x="342" y="4203"/>
                  </a:cubicBezTo>
                  <a:cubicBezTo>
                    <a:pt x="139" y="4203"/>
                    <a:pt x="0" y="3263"/>
                    <a:pt x="0" y="2095"/>
                  </a:cubicBezTo>
                  <a:cubicBezTo>
                    <a:pt x="0" y="939"/>
                    <a:pt x="165" y="0"/>
                    <a:pt x="368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7" name="Free Form 3272">
              <a:extLst>
                <a:ext uri="{FF2B5EF4-FFF2-40B4-BE49-F238E27FC236}">
                  <a16:creationId xmlns:a16="http://schemas.microsoft.com/office/drawing/2014/main" id="{3C77507E-8DAF-605E-80C7-F85036A830FD}"/>
                </a:ext>
              </a:extLst>
            </p:cNvPr>
            <p:cNvSpPr/>
            <p:nvPr/>
          </p:nvSpPr>
          <p:spPr>
            <a:xfrm>
              <a:off x="25538924" y="30090395"/>
              <a:ext cx="736" cy="4203"/>
            </a:xfrm>
            <a:custGeom>
              <a:avLst/>
              <a:gdLst/>
              <a:ahLst/>
              <a:cxnLst/>
              <a:rect l="0" t="0" r="0" b="0"/>
              <a:pathLst>
                <a:path w="736" h="4203">
                  <a:moveTo>
                    <a:pt x="393" y="0"/>
                  </a:moveTo>
                  <a:cubicBezTo>
                    <a:pt x="596" y="0"/>
                    <a:pt x="736" y="965"/>
                    <a:pt x="736" y="2095"/>
                  </a:cubicBezTo>
                  <a:cubicBezTo>
                    <a:pt x="736" y="3238"/>
                    <a:pt x="558" y="4203"/>
                    <a:pt x="368" y="4203"/>
                  </a:cubicBezTo>
                  <a:cubicBezTo>
                    <a:pt x="165" y="4203"/>
                    <a:pt x="0" y="3263"/>
                    <a:pt x="0" y="2095"/>
                  </a:cubicBezTo>
                  <a:cubicBezTo>
                    <a:pt x="0" y="939"/>
                    <a:pt x="190" y="0"/>
                    <a:pt x="393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8" name="Free Form 3273">
              <a:extLst>
                <a:ext uri="{FF2B5EF4-FFF2-40B4-BE49-F238E27FC236}">
                  <a16:creationId xmlns:a16="http://schemas.microsoft.com/office/drawing/2014/main" id="{B1A7B8B0-9881-35C1-7B4E-9116F3153593}"/>
                </a:ext>
              </a:extLst>
            </p:cNvPr>
            <p:cNvSpPr/>
            <p:nvPr/>
          </p:nvSpPr>
          <p:spPr>
            <a:xfrm>
              <a:off x="25538980" y="30082020"/>
              <a:ext cx="762" cy="4204"/>
            </a:xfrm>
            <a:custGeom>
              <a:avLst/>
              <a:gdLst/>
              <a:ahLst/>
              <a:cxnLst/>
              <a:rect l="0" t="0" r="0" b="0"/>
              <a:pathLst>
                <a:path w="761" h="4203">
                  <a:moveTo>
                    <a:pt x="393" y="25"/>
                  </a:moveTo>
                  <a:cubicBezTo>
                    <a:pt x="596" y="25"/>
                    <a:pt x="761" y="965"/>
                    <a:pt x="736" y="2095"/>
                  </a:cubicBezTo>
                  <a:cubicBezTo>
                    <a:pt x="711" y="3238"/>
                    <a:pt x="558" y="4203"/>
                    <a:pt x="368" y="4203"/>
                  </a:cubicBezTo>
                  <a:cubicBezTo>
                    <a:pt x="165" y="4203"/>
                    <a:pt x="0" y="3263"/>
                    <a:pt x="25" y="2095"/>
                  </a:cubicBezTo>
                  <a:cubicBezTo>
                    <a:pt x="50" y="939"/>
                    <a:pt x="190" y="0"/>
                    <a:pt x="393" y="25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09" name="Free Form 3274">
              <a:extLst>
                <a:ext uri="{FF2B5EF4-FFF2-40B4-BE49-F238E27FC236}">
                  <a16:creationId xmlns:a16="http://schemas.microsoft.com/office/drawing/2014/main" id="{DEDE312D-2730-BB94-C556-E1DB6A81B905}"/>
                </a:ext>
              </a:extLst>
            </p:cNvPr>
            <p:cNvSpPr/>
            <p:nvPr/>
          </p:nvSpPr>
          <p:spPr>
            <a:xfrm>
              <a:off x="25610861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70" y="0"/>
                  </a:cubicBezTo>
                  <a:cubicBezTo>
                    <a:pt x="321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70" y="736"/>
                  </a:cubicBezTo>
                  <a:cubicBezTo>
                    <a:pt x="914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0" name="Free Form 3275">
              <a:extLst>
                <a:ext uri="{FF2B5EF4-FFF2-40B4-BE49-F238E27FC236}">
                  <a16:creationId xmlns:a16="http://schemas.microsoft.com/office/drawing/2014/main" id="{429642A0-4237-F11D-57CB-799B248C6ADD}"/>
                </a:ext>
              </a:extLst>
            </p:cNvPr>
            <p:cNvSpPr/>
            <p:nvPr/>
          </p:nvSpPr>
          <p:spPr>
            <a:xfrm>
              <a:off x="25602487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70" y="0"/>
                  </a:cubicBezTo>
                  <a:cubicBezTo>
                    <a:pt x="321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70" y="736"/>
                  </a:cubicBezTo>
                  <a:cubicBezTo>
                    <a:pt x="914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1" name="Free Form 3276">
              <a:extLst>
                <a:ext uri="{FF2B5EF4-FFF2-40B4-BE49-F238E27FC236}">
                  <a16:creationId xmlns:a16="http://schemas.microsoft.com/office/drawing/2014/main" id="{362BA450-BBDE-FB0A-1042-FAC079CDE082}"/>
                </a:ext>
              </a:extLst>
            </p:cNvPr>
            <p:cNvSpPr/>
            <p:nvPr/>
          </p:nvSpPr>
          <p:spPr>
            <a:xfrm>
              <a:off x="25594110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108" y="0"/>
                  </a:cubicBezTo>
                  <a:cubicBezTo>
                    <a:pt x="326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108" y="736"/>
                  </a:cubicBezTo>
                  <a:cubicBezTo>
                    <a:pt x="965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2" name="Free Form 3277">
              <a:extLst>
                <a:ext uri="{FF2B5EF4-FFF2-40B4-BE49-F238E27FC236}">
                  <a16:creationId xmlns:a16="http://schemas.microsoft.com/office/drawing/2014/main" id="{EE4A20FF-BE3A-9E5A-59EF-E9737A8E735D}"/>
                </a:ext>
              </a:extLst>
            </p:cNvPr>
            <p:cNvSpPr/>
            <p:nvPr/>
          </p:nvSpPr>
          <p:spPr>
            <a:xfrm>
              <a:off x="25585736" y="30154699"/>
              <a:ext cx="4178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95" y="736"/>
                  </a:cubicBezTo>
                  <a:cubicBezTo>
                    <a:pt x="965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3" name="Free Form 3278">
              <a:extLst>
                <a:ext uri="{FF2B5EF4-FFF2-40B4-BE49-F238E27FC236}">
                  <a16:creationId xmlns:a16="http://schemas.microsoft.com/office/drawing/2014/main" id="{1D9F7399-2DF5-ABEA-8230-E8010FBE3816}"/>
                </a:ext>
              </a:extLst>
            </p:cNvPr>
            <p:cNvSpPr/>
            <p:nvPr/>
          </p:nvSpPr>
          <p:spPr>
            <a:xfrm>
              <a:off x="25577361" y="30154699"/>
              <a:ext cx="4179" cy="737"/>
            </a:xfrm>
            <a:custGeom>
              <a:avLst/>
              <a:gdLst/>
              <a:ahLst/>
              <a:cxnLst/>
              <a:rect l="0" t="0" r="0" b="0"/>
              <a:pathLst>
                <a:path w="4178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178" y="165"/>
                    <a:pt x="4178" y="368"/>
                  </a:cubicBezTo>
                  <a:cubicBezTo>
                    <a:pt x="4178" y="571"/>
                    <a:pt x="3238" y="736"/>
                    <a:pt x="2095" y="736"/>
                  </a:cubicBezTo>
                  <a:cubicBezTo>
                    <a:pt x="965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4" name="Free Form 3279">
              <a:extLst>
                <a:ext uri="{FF2B5EF4-FFF2-40B4-BE49-F238E27FC236}">
                  <a16:creationId xmlns:a16="http://schemas.microsoft.com/office/drawing/2014/main" id="{6B526B27-1101-C65D-03C1-DD0BA519D4C9}"/>
                </a:ext>
              </a:extLst>
            </p:cNvPr>
            <p:cNvSpPr/>
            <p:nvPr/>
          </p:nvSpPr>
          <p:spPr>
            <a:xfrm>
              <a:off x="25568984" y="30154699"/>
              <a:ext cx="4204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095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5" name="Free Form 3280">
              <a:extLst>
                <a:ext uri="{FF2B5EF4-FFF2-40B4-BE49-F238E27FC236}">
                  <a16:creationId xmlns:a16="http://schemas.microsoft.com/office/drawing/2014/main" id="{AC6E7450-8ADD-7B29-F73F-6D9351FF0935}"/>
                </a:ext>
              </a:extLst>
            </p:cNvPr>
            <p:cNvSpPr/>
            <p:nvPr/>
          </p:nvSpPr>
          <p:spPr>
            <a:xfrm>
              <a:off x="25560610" y="30154699"/>
              <a:ext cx="4204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095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6" name="Free Form 3281">
              <a:extLst>
                <a:ext uri="{FF2B5EF4-FFF2-40B4-BE49-F238E27FC236}">
                  <a16:creationId xmlns:a16="http://schemas.microsoft.com/office/drawing/2014/main" id="{1F5FC158-2FD8-1387-A332-690EE461BB0D}"/>
                </a:ext>
              </a:extLst>
            </p:cNvPr>
            <p:cNvSpPr/>
            <p:nvPr/>
          </p:nvSpPr>
          <p:spPr>
            <a:xfrm>
              <a:off x="25552235" y="30154699"/>
              <a:ext cx="4203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108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108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7" name="Free Form 3282">
              <a:extLst>
                <a:ext uri="{FF2B5EF4-FFF2-40B4-BE49-F238E27FC236}">
                  <a16:creationId xmlns:a16="http://schemas.microsoft.com/office/drawing/2014/main" id="{6A690A0F-6FD5-1397-58A6-A92A644D5BA5}"/>
                </a:ext>
              </a:extLst>
            </p:cNvPr>
            <p:cNvSpPr/>
            <p:nvPr/>
          </p:nvSpPr>
          <p:spPr>
            <a:xfrm>
              <a:off x="25543859" y="30154699"/>
              <a:ext cx="4204" cy="737"/>
            </a:xfrm>
            <a:custGeom>
              <a:avLst/>
              <a:gdLst/>
              <a:ahLst/>
              <a:cxnLst/>
              <a:rect l="0" t="0" r="0" b="0"/>
              <a:pathLst>
                <a:path w="4203" h="736">
                  <a:moveTo>
                    <a:pt x="0" y="368"/>
                  </a:moveTo>
                  <a:cubicBezTo>
                    <a:pt x="0" y="165"/>
                    <a:pt x="939" y="0"/>
                    <a:pt x="2095" y="0"/>
                  </a:cubicBezTo>
                  <a:cubicBezTo>
                    <a:pt x="3263" y="0"/>
                    <a:pt x="4203" y="165"/>
                    <a:pt x="4203" y="368"/>
                  </a:cubicBezTo>
                  <a:cubicBezTo>
                    <a:pt x="4203" y="571"/>
                    <a:pt x="3263" y="736"/>
                    <a:pt x="2095" y="736"/>
                  </a:cubicBezTo>
                  <a:cubicBezTo>
                    <a:pt x="939" y="736"/>
                    <a:pt x="0" y="571"/>
                    <a:pt x="0" y="36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8" name="Free Form 3283">
              <a:extLst>
                <a:ext uri="{FF2B5EF4-FFF2-40B4-BE49-F238E27FC236}">
                  <a16:creationId xmlns:a16="http://schemas.microsoft.com/office/drawing/2014/main" id="{C31DE54B-A189-F439-064E-2D6FD510D565}"/>
                </a:ext>
              </a:extLst>
            </p:cNvPr>
            <p:cNvSpPr/>
            <p:nvPr/>
          </p:nvSpPr>
          <p:spPr>
            <a:xfrm>
              <a:off x="25538806" y="30154686"/>
              <a:ext cx="800" cy="762"/>
            </a:xfrm>
            <a:custGeom>
              <a:avLst/>
              <a:gdLst/>
              <a:ahLst/>
              <a:cxnLst/>
              <a:rect l="0" t="0" r="0" b="0"/>
              <a:pathLst>
                <a:path w="800" h="761">
                  <a:moveTo>
                    <a:pt x="0" y="380"/>
                  </a:moveTo>
                  <a:cubicBezTo>
                    <a:pt x="12" y="165"/>
                    <a:pt x="203" y="0"/>
                    <a:pt x="419" y="12"/>
                  </a:cubicBezTo>
                  <a:lnTo>
                    <a:pt x="431" y="12"/>
                  </a:lnTo>
                  <a:cubicBezTo>
                    <a:pt x="634" y="12"/>
                    <a:pt x="800" y="177"/>
                    <a:pt x="800" y="380"/>
                  </a:cubicBezTo>
                  <a:cubicBezTo>
                    <a:pt x="800" y="584"/>
                    <a:pt x="634" y="749"/>
                    <a:pt x="431" y="749"/>
                  </a:cubicBezTo>
                  <a:lnTo>
                    <a:pt x="431" y="749"/>
                  </a:lnTo>
                  <a:cubicBezTo>
                    <a:pt x="203" y="761"/>
                    <a:pt x="12" y="596"/>
                    <a:pt x="0" y="38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19" name="Free Form 3284">
              <a:extLst>
                <a:ext uri="{FF2B5EF4-FFF2-40B4-BE49-F238E27FC236}">
                  <a16:creationId xmlns:a16="http://schemas.microsoft.com/office/drawing/2014/main" id="{A0DC2434-6E50-6124-6502-32D42752A5A7}"/>
                </a:ext>
              </a:extLst>
            </p:cNvPr>
            <p:cNvSpPr/>
            <p:nvPr/>
          </p:nvSpPr>
          <p:spPr>
            <a:xfrm>
              <a:off x="25622232" y="30108503"/>
              <a:ext cx="9589" cy="21425"/>
            </a:xfrm>
            <a:custGeom>
              <a:avLst/>
              <a:gdLst/>
              <a:ahLst/>
              <a:cxnLst/>
              <a:rect l="0" t="0" r="0" b="0"/>
              <a:pathLst>
                <a:path w="9588" h="21424">
                  <a:moveTo>
                    <a:pt x="2057" y="21069"/>
                  </a:moveTo>
                  <a:cubicBezTo>
                    <a:pt x="2692" y="21157"/>
                    <a:pt x="3352" y="21157"/>
                    <a:pt x="3987" y="21069"/>
                  </a:cubicBezTo>
                  <a:cubicBezTo>
                    <a:pt x="5676" y="20700"/>
                    <a:pt x="7124" y="19608"/>
                    <a:pt x="7937" y="18084"/>
                  </a:cubicBezTo>
                  <a:cubicBezTo>
                    <a:pt x="9042" y="15760"/>
                    <a:pt x="8966" y="13055"/>
                    <a:pt x="7734" y="10794"/>
                  </a:cubicBezTo>
                  <a:cubicBezTo>
                    <a:pt x="7442" y="10185"/>
                    <a:pt x="6883" y="9753"/>
                    <a:pt x="6235" y="9601"/>
                  </a:cubicBezTo>
                  <a:cubicBezTo>
                    <a:pt x="5537" y="9499"/>
                    <a:pt x="4825" y="9689"/>
                    <a:pt x="4267" y="10109"/>
                  </a:cubicBezTo>
                  <a:cubicBezTo>
                    <a:pt x="3136" y="11239"/>
                    <a:pt x="2298" y="12636"/>
                    <a:pt x="1854" y="14173"/>
                  </a:cubicBezTo>
                  <a:cubicBezTo>
                    <a:pt x="1257" y="15836"/>
                    <a:pt x="876" y="17589"/>
                    <a:pt x="749" y="19367"/>
                  </a:cubicBezTo>
                  <a:lnTo>
                    <a:pt x="76" y="19367"/>
                  </a:lnTo>
                  <a:lnTo>
                    <a:pt x="76" y="5511"/>
                  </a:lnTo>
                  <a:lnTo>
                    <a:pt x="76" y="1447"/>
                  </a:lnTo>
                  <a:cubicBezTo>
                    <a:pt x="0" y="965"/>
                    <a:pt x="0" y="482"/>
                    <a:pt x="76" y="0"/>
                  </a:cubicBezTo>
                  <a:cubicBezTo>
                    <a:pt x="165" y="482"/>
                    <a:pt x="203" y="965"/>
                    <a:pt x="215" y="1447"/>
                  </a:cubicBezTo>
                  <a:cubicBezTo>
                    <a:pt x="215" y="2527"/>
                    <a:pt x="215" y="3886"/>
                    <a:pt x="380" y="5511"/>
                  </a:cubicBezTo>
                  <a:cubicBezTo>
                    <a:pt x="520" y="8978"/>
                    <a:pt x="634" y="13804"/>
                    <a:pt x="749" y="19341"/>
                  </a:cubicBezTo>
                  <a:lnTo>
                    <a:pt x="76" y="19341"/>
                  </a:lnTo>
                  <a:cubicBezTo>
                    <a:pt x="165" y="17500"/>
                    <a:pt x="546" y="15671"/>
                    <a:pt x="1181" y="13944"/>
                  </a:cubicBezTo>
                  <a:cubicBezTo>
                    <a:pt x="1460" y="13118"/>
                    <a:pt x="1803" y="12318"/>
                    <a:pt x="2222" y="11556"/>
                  </a:cubicBezTo>
                  <a:cubicBezTo>
                    <a:pt x="2616" y="10782"/>
                    <a:pt x="3174" y="10096"/>
                    <a:pt x="3848" y="9537"/>
                  </a:cubicBezTo>
                  <a:cubicBezTo>
                    <a:pt x="4571" y="9004"/>
                    <a:pt x="5486" y="8775"/>
                    <a:pt x="6375" y="8915"/>
                  </a:cubicBezTo>
                  <a:cubicBezTo>
                    <a:pt x="7226" y="9118"/>
                    <a:pt x="7937" y="9689"/>
                    <a:pt x="8305" y="10477"/>
                  </a:cubicBezTo>
                  <a:cubicBezTo>
                    <a:pt x="9588" y="12941"/>
                    <a:pt x="9588" y="15874"/>
                    <a:pt x="8305" y="18338"/>
                  </a:cubicBezTo>
                  <a:cubicBezTo>
                    <a:pt x="7378" y="19951"/>
                    <a:pt x="5765" y="21069"/>
                    <a:pt x="3936" y="21348"/>
                  </a:cubicBezTo>
                  <a:cubicBezTo>
                    <a:pt x="3454" y="21424"/>
                    <a:pt x="2959" y="21424"/>
                    <a:pt x="2489" y="21348"/>
                  </a:cubicBezTo>
                  <a:cubicBezTo>
                    <a:pt x="2197" y="21196"/>
                    <a:pt x="2057" y="21107"/>
                    <a:pt x="2057" y="2106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0" name="Free Form 3285">
              <a:extLst>
                <a:ext uri="{FF2B5EF4-FFF2-40B4-BE49-F238E27FC236}">
                  <a16:creationId xmlns:a16="http://schemas.microsoft.com/office/drawing/2014/main" id="{635EA381-CDE3-9A55-C31E-434C38577FBA}"/>
                </a:ext>
              </a:extLst>
            </p:cNvPr>
            <p:cNvSpPr/>
            <p:nvPr/>
          </p:nvSpPr>
          <p:spPr>
            <a:xfrm>
              <a:off x="25571629" y="30059897"/>
              <a:ext cx="15582" cy="13919"/>
            </a:xfrm>
            <a:custGeom>
              <a:avLst/>
              <a:gdLst/>
              <a:ahLst/>
              <a:cxnLst/>
              <a:rect l="0" t="0" r="0" b="0"/>
              <a:pathLst>
                <a:path w="15582" h="13919">
                  <a:moveTo>
                    <a:pt x="15582" y="11048"/>
                  </a:moveTo>
                  <a:lnTo>
                    <a:pt x="15379" y="11328"/>
                  </a:lnTo>
                  <a:cubicBezTo>
                    <a:pt x="15176" y="11569"/>
                    <a:pt x="14922" y="11747"/>
                    <a:pt x="14642" y="11874"/>
                  </a:cubicBezTo>
                  <a:cubicBezTo>
                    <a:pt x="14185" y="12102"/>
                    <a:pt x="13677" y="12217"/>
                    <a:pt x="13169" y="12179"/>
                  </a:cubicBezTo>
                  <a:cubicBezTo>
                    <a:pt x="12471" y="12166"/>
                    <a:pt x="11810" y="11899"/>
                    <a:pt x="11290" y="11417"/>
                  </a:cubicBezTo>
                  <a:cubicBezTo>
                    <a:pt x="10731" y="10794"/>
                    <a:pt x="10299" y="10058"/>
                    <a:pt x="10045" y="9258"/>
                  </a:cubicBezTo>
                  <a:cubicBezTo>
                    <a:pt x="9702" y="8394"/>
                    <a:pt x="9410" y="7492"/>
                    <a:pt x="9169" y="6591"/>
                  </a:cubicBezTo>
                  <a:cubicBezTo>
                    <a:pt x="8559" y="4444"/>
                    <a:pt x="8204" y="2235"/>
                    <a:pt x="8089" y="0"/>
                  </a:cubicBezTo>
                  <a:lnTo>
                    <a:pt x="8775" y="0"/>
                  </a:lnTo>
                  <a:cubicBezTo>
                    <a:pt x="9207" y="2908"/>
                    <a:pt x="9118" y="5867"/>
                    <a:pt x="8508" y="8750"/>
                  </a:cubicBezTo>
                  <a:cubicBezTo>
                    <a:pt x="8140" y="10490"/>
                    <a:pt x="7188" y="12052"/>
                    <a:pt x="5816" y="13182"/>
                  </a:cubicBezTo>
                  <a:cubicBezTo>
                    <a:pt x="5079" y="13715"/>
                    <a:pt x="4152" y="13919"/>
                    <a:pt x="3263" y="13741"/>
                  </a:cubicBezTo>
                  <a:cubicBezTo>
                    <a:pt x="2412" y="13550"/>
                    <a:pt x="1689" y="13004"/>
                    <a:pt x="1269" y="12242"/>
                  </a:cubicBezTo>
                  <a:cubicBezTo>
                    <a:pt x="0" y="9728"/>
                    <a:pt x="50" y="6730"/>
                    <a:pt x="1422" y="4267"/>
                  </a:cubicBezTo>
                  <a:cubicBezTo>
                    <a:pt x="2324" y="2641"/>
                    <a:pt x="3708" y="1346"/>
                    <a:pt x="5397" y="571"/>
                  </a:cubicBezTo>
                  <a:cubicBezTo>
                    <a:pt x="5841" y="368"/>
                    <a:pt x="6324" y="215"/>
                    <a:pt x="6807" y="114"/>
                  </a:cubicBezTo>
                  <a:lnTo>
                    <a:pt x="7315" y="114"/>
                  </a:lnTo>
                  <a:cubicBezTo>
                    <a:pt x="7315" y="114"/>
                    <a:pt x="6642" y="317"/>
                    <a:pt x="5537" y="888"/>
                  </a:cubicBezTo>
                  <a:cubicBezTo>
                    <a:pt x="2844" y="2260"/>
                    <a:pt x="1104" y="4991"/>
                    <a:pt x="990" y="8013"/>
                  </a:cubicBezTo>
                  <a:cubicBezTo>
                    <a:pt x="876" y="9372"/>
                    <a:pt x="1181" y="10731"/>
                    <a:pt x="1841" y="11925"/>
                  </a:cubicBezTo>
                  <a:cubicBezTo>
                    <a:pt x="2171" y="12534"/>
                    <a:pt x="2743" y="12966"/>
                    <a:pt x="3403" y="13118"/>
                  </a:cubicBezTo>
                  <a:cubicBezTo>
                    <a:pt x="4114" y="13233"/>
                    <a:pt x="4825" y="13068"/>
                    <a:pt x="5422" y="12661"/>
                  </a:cubicBezTo>
                  <a:cubicBezTo>
                    <a:pt x="6642" y="11607"/>
                    <a:pt x="7492" y="10185"/>
                    <a:pt x="7835" y="8610"/>
                  </a:cubicBezTo>
                  <a:cubicBezTo>
                    <a:pt x="8394" y="5803"/>
                    <a:pt x="8483" y="2920"/>
                    <a:pt x="8089" y="88"/>
                  </a:cubicBezTo>
                  <a:lnTo>
                    <a:pt x="8775" y="88"/>
                  </a:lnTo>
                  <a:cubicBezTo>
                    <a:pt x="8851" y="2273"/>
                    <a:pt x="9169" y="4444"/>
                    <a:pt x="9702" y="6565"/>
                  </a:cubicBezTo>
                  <a:cubicBezTo>
                    <a:pt x="9956" y="7505"/>
                    <a:pt x="10223" y="8407"/>
                    <a:pt x="10502" y="9207"/>
                  </a:cubicBezTo>
                  <a:cubicBezTo>
                    <a:pt x="10718" y="9943"/>
                    <a:pt x="11099" y="10642"/>
                    <a:pt x="11607" y="11213"/>
                  </a:cubicBezTo>
                  <a:cubicBezTo>
                    <a:pt x="12382" y="11912"/>
                    <a:pt x="13461" y="12128"/>
                    <a:pt x="14452" y="11785"/>
                  </a:cubicBezTo>
                  <a:cubicBezTo>
                    <a:pt x="14858" y="11594"/>
                    <a:pt x="15239" y="11340"/>
                    <a:pt x="15582" y="11048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1" name="Free Form 3286">
              <a:extLst>
                <a:ext uri="{FF2B5EF4-FFF2-40B4-BE49-F238E27FC236}">
                  <a16:creationId xmlns:a16="http://schemas.microsoft.com/office/drawing/2014/main" id="{2B763959-1EB7-B9A0-F12E-FFA2B65C6BF4}"/>
                </a:ext>
              </a:extLst>
            </p:cNvPr>
            <p:cNvSpPr/>
            <p:nvPr/>
          </p:nvSpPr>
          <p:spPr>
            <a:xfrm>
              <a:off x="25712299" y="30112106"/>
              <a:ext cx="121004" cy="20955"/>
            </a:xfrm>
            <a:custGeom>
              <a:avLst/>
              <a:gdLst/>
              <a:ahLst/>
              <a:cxnLst/>
              <a:rect l="0" t="0" r="0" b="0"/>
              <a:pathLst>
                <a:path w="121004" h="20954">
                  <a:moveTo>
                    <a:pt x="121004" y="431"/>
                  </a:moveTo>
                  <a:cubicBezTo>
                    <a:pt x="121004" y="825"/>
                    <a:pt x="94055" y="5689"/>
                    <a:pt x="60641" y="11252"/>
                  </a:cubicBezTo>
                  <a:cubicBezTo>
                    <a:pt x="27228" y="16814"/>
                    <a:pt x="114" y="20954"/>
                    <a:pt x="63" y="20561"/>
                  </a:cubicBezTo>
                  <a:cubicBezTo>
                    <a:pt x="0" y="20167"/>
                    <a:pt x="26999" y="15303"/>
                    <a:pt x="60413" y="9740"/>
                  </a:cubicBezTo>
                  <a:cubicBezTo>
                    <a:pt x="93839" y="4178"/>
                    <a:pt x="120915" y="0"/>
                    <a:pt x="121004" y="43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2" name="Free Form 3287">
              <a:extLst>
                <a:ext uri="{FF2B5EF4-FFF2-40B4-BE49-F238E27FC236}">
                  <a16:creationId xmlns:a16="http://schemas.microsoft.com/office/drawing/2014/main" id="{AADED52D-C820-543B-8A2C-A96EA01F03CB}"/>
                </a:ext>
              </a:extLst>
            </p:cNvPr>
            <p:cNvSpPr/>
            <p:nvPr/>
          </p:nvSpPr>
          <p:spPr>
            <a:xfrm>
              <a:off x="25718375" y="30126415"/>
              <a:ext cx="121030" cy="20955"/>
            </a:xfrm>
            <a:custGeom>
              <a:avLst/>
              <a:gdLst/>
              <a:ahLst/>
              <a:cxnLst/>
              <a:rect l="0" t="0" r="0" b="0"/>
              <a:pathLst>
                <a:path w="121029" h="20954">
                  <a:moveTo>
                    <a:pt x="121029" y="431"/>
                  </a:moveTo>
                  <a:cubicBezTo>
                    <a:pt x="121029" y="825"/>
                    <a:pt x="94093" y="5689"/>
                    <a:pt x="60705" y="11213"/>
                  </a:cubicBezTo>
                  <a:cubicBezTo>
                    <a:pt x="27317" y="16751"/>
                    <a:pt x="165" y="20954"/>
                    <a:pt x="88" y="20561"/>
                  </a:cubicBezTo>
                  <a:cubicBezTo>
                    <a:pt x="0" y="20167"/>
                    <a:pt x="27025" y="15303"/>
                    <a:pt x="60438" y="9740"/>
                  </a:cubicBezTo>
                  <a:cubicBezTo>
                    <a:pt x="93864" y="4178"/>
                    <a:pt x="121029" y="0"/>
                    <a:pt x="121029" y="431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3" name="Free Form 3288">
              <a:extLst>
                <a:ext uri="{FF2B5EF4-FFF2-40B4-BE49-F238E27FC236}">
                  <a16:creationId xmlns:a16="http://schemas.microsoft.com/office/drawing/2014/main" id="{AE7AA5C0-52A8-9B80-6068-4BD395FA3F3F}"/>
                </a:ext>
              </a:extLst>
            </p:cNvPr>
            <p:cNvSpPr/>
            <p:nvPr/>
          </p:nvSpPr>
          <p:spPr>
            <a:xfrm>
              <a:off x="25724372" y="30140733"/>
              <a:ext cx="120967" cy="20955"/>
            </a:xfrm>
            <a:custGeom>
              <a:avLst/>
              <a:gdLst/>
              <a:ahLst/>
              <a:cxnLst/>
              <a:rect l="0" t="0" r="0" b="0"/>
              <a:pathLst>
                <a:path w="120966" h="20954">
                  <a:moveTo>
                    <a:pt x="120966" y="393"/>
                  </a:moveTo>
                  <a:cubicBezTo>
                    <a:pt x="120966" y="825"/>
                    <a:pt x="94029" y="5651"/>
                    <a:pt x="60641" y="11213"/>
                  </a:cubicBezTo>
                  <a:cubicBezTo>
                    <a:pt x="27253" y="16776"/>
                    <a:pt x="114" y="20954"/>
                    <a:pt x="50" y="20548"/>
                  </a:cubicBezTo>
                  <a:cubicBezTo>
                    <a:pt x="0" y="20154"/>
                    <a:pt x="26999" y="15303"/>
                    <a:pt x="60375" y="9728"/>
                  </a:cubicBezTo>
                  <a:cubicBezTo>
                    <a:pt x="93763" y="4165"/>
                    <a:pt x="120915" y="0"/>
                    <a:pt x="120966" y="39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4" name="Free Form 3289">
              <a:extLst>
                <a:ext uri="{FF2B5EF4-FFF2-40B4-BE49-F238E27FC236}">
                  <a16:creationId xmlns:a16="http://schemas.microsoft.com/office/drawing/2014/main" id="{F42D68A4-EAE2-37D7-49CC-ABD26F0CCDC3}"/>
                </a:ext>
              </a:extLst>
            </p:cNvPr>
            <p:cNvSpPr/>
            <p:nvPr/>
          </p:nvSpPr>
          <p:spPr>
            <a:xfrm>
              <a:off x="25505392" y="29825280"/>
              <a:ext cx="82727" cy="81711"/>
            </a:xfrm>
            <a:custGeom>
              <a:avLst/>
              <a:gdLst/>
              <a:ahLst/>
              <a:cxnLst/>
              <a:rect l="0" t="0" r="0" b="0"/>
              <a:pathLst>
                <a:path w="82726" h="81710">
                  <a:moveTo>
                    <a:pt x="82726" y="81710"/>
                  </a:moveTo>
                  <a:cubicBezTo>
                    <a:pt x="81431" y="80885"/>
                    <a:pt x="80212" y="79932"/>
                    <a:pt x="79094" y="78866"/>
                  </a:cubicBezTo>
                  <a:cubicBezTo>
                    <a:pt x="76796" y="76999"/>
                    <a:pt x="73557" y="74243"/>
                    <a:pt x="69607" y="70750"/>
                  </a:cubicBezTo>
                  <a:cubicBezTo>
                    <a:pt x="61695" y="63791"/>
                    <a:pt x="50964" y="53974"/>
                    <a:pt x="39483" y="42671"/>
                  </a:cubicBezTo>
                  <a:cubicBezTo>
                    <a:pt x="28015" y="31368"/>
                    <a:pt x="18059" y="20789"/>
                    <a:pt x="11099" y="12953"/>
                  </a:cubicBezTo>
                  <a:cubicBezTo>
                    <a:pt x="7543" y="9029"/>
                    <a:pt x="4737" y="5854"/>
                    <a:pt x="2832" y="3581"/>
                  </a:cubicBezTo>
                  <a:cubicBezTo>
                    <a:pt x="1790" y="2463"/>
                    <a:pt x="838" y="1269"/>
                    <a:pt x="0" y="0"/>
                  </a:cubicBezTo>
                  <a:cubicBezTo>
                    <a:pt x="1181" y="965"/>
                    <a:pt x="2285" y="2044"/>
                    <a:pt x="3263" y="3213"/>
                  </a:cubicBezTo>
                  <a:lnTo>
                    <a:pt x="11772" y="12242"/>
                  </a:lnTo>
                  <a:cubicBezTo>
                    <a:pt x="19024" y="19875"/>
                    <a:pt x="29120" y="30352"/>
                    <a:pt x="40563" y="41617"/>
                  </a:cubicBezTo>
                  <a:cubicBezTo>
                    <a:pt x="52005" y="52894"/>
                    <a:pt x="62597" y="62826"/>
                    <a:pt x="70319" y="70014"/>
                  </a:cubicBezTo>
                  <a:lnTo>
                    <a:pt x="79488" y="78535"/>
                  </a:lnTo>
                  <a:cubicBezTo>
                    <a:pt x="80644" y="79513"/>
                    <a:pt x="81723" y="80567"/>
                    <a:pt x="82726" y="8171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5" name="Free Form 3290">
              <a:extLst>
                <a:ext uri="{FF2B5EF4-FFF2-40B4-BE49-F238E27FC236}">
                  <a16:creationId xmlns:a16="http://schemas.microsoft.com/office/drawing/2014/main" id="{01A4EB3C-AE31-AC4A-2D46-F13D0D7D5C3D}"/>
                </a:ext>
              </a:extLst>
            </p:cNvPr>
            <p:cNvSpPr/>
            <p:nvPr/>
          </p:nvSpPr>
          <p:spPr>
            <a:xfrm>
              <a:off x="25540654" y="29865710"/>
              <a:ext cx="55333" cy="47637"/>
            </a:xfrm>
            <a:custGeom>
              <a:avLst/>
              <a:gdLst/>
              <a:ahLst/>
              <a:cxnLst/>
              <a:rect l="0" t="0" r="0" b="0"/>
              <a:pathLst>
                <a:path w="55333" h="47637">
                  <a:moveTo>
                    <a:pt x="53656" y="0"/>
                  </a:moveTo>
                  <a:cubicBezTo>
                    <a:pt x="53631" y="1219"/>
                    <a:pt x="53504" y="2438"/>
                    <a:pt x="53263" y="3632"/>
                  </a:cubicBezTo>
                  <a:cubicBezTo>
                    <a:pt x="52920" y="5956"/>
                    <a:pt x="52488" y="9309"/>
                    <a:pt x="52234" y="13538"/>
                  </a:cubicBezTo>
                  <a:cubicBezTo>
                    <a:pt x="51510" y="24625"/>
                    <a:pt x="52475" y="35737"/>
                    <a:pt x="55079" y="46532"/>
                  </a:cubicBezTo>
                  <a:lnTo>
                    <a:pt x="55333" y="47637"/>
                  </a:lnTo>
                  <a:lnTo>
                    <a:pt x="54228" y="47446"/>
                  </a:lnTo>
                  <a:lnTo>
                    <a:pt x="50215" y="46697"/>
                  </a:lnTo>
                  <a:cubicBezTo>
                    <a:pt x="36308" y="44182"/>
                    <a:pt x="23736" y="41795"/>
                    <a:pt x="14642" y="39979"/>
                  </a:cubicBezTo>
                  <a:lnTo>
                    <a:pt x="3886" y="37782"/>
                  </a:lnTo>
                  <a:cubicBezTo>
                    <a:pt x="2565" y="37578"/>
                    <a:pt x="1257" y="37236"/>
                    <a:pt x="0" y="36766"/>
                  </a:cubicBezTo>
                  <a:cubicBezTo>
                    <a:pt x="1346" y="36804"/>
                    <a:pt x="2679" y="36956"/>
                    <a:pt x="4000" y="37223"/>
                  </a:cubicBezTo>
                  <a:lnTo>
                    <a:pt x="14846" y="38950"/>
                  </a:lnTo>
                  <a:cubicBezTo>
                    <a:pt x="23964" y="40487"/>
                    <a:pt x="36562" y="42696"/>
                    <a:pt x="50481" y="45249"/>
                  </a:cubicBezTo>
                  <a:lnTo>
                    <a:pt x="54482" y="45998"/>
                  </a:lnTo>
                  <a:lnTo>
                    <a:pt x="53656" y="46900"/>
                  </a:lnTo>
                  <a:cubicBezTo>
                    <a:pt x="51002" y="35966"/>
                    <a:pt x="50177" y="24663"/>
                    <a:pt x="51218" y="13461"/>
                  </a:cubicBezTo>
                  <a:cubicBezTo>
                    <a:pt x="51510" y="10121"/>
                    <a:pt x="52005" y="6819"/>
                    <a:pt x="52691" y="3555"/>
                  </a:cubicBezTo>
                  <a:cubicBezTo>
                    <a:pt x="52869" y="2336"/>
                    <a:pt x="53199" y="1142"/>
                    <a:pt x="53656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6" name="Rectangle 3291">
              <a:extLst>
                <a:ext uri="{FF2B5EF4-FFF2-40B4-BE49-F238E27FC236}">
                  <a16:creationId xmlns:a16="http://schemas.microsoft.com/office/drawing/2014/main" id="{28B8260C-1B87-C879-AAE8-C98928C0AFDA}"/>
                </a:ext>
              </a:extLst>
            </p:cNvPr>
            <p:cNvSpPr/>
            <p:nvPr/>
          </p:nvSpPr>
          <p:spPr>
            <a:xfrm>
              <a:off x="26172458" y="29688196"/>
              <a:ext cx="174979" cy="388078"/>
            </a:xfrm>
            <a:prstGeom prst="rect">
              <a:avLst/>
            </a:pr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7" name="Rectangle 3292">
              <a:extLst>
                <a:ext uri="{FF2B5EF4-FFF2-40B4-BE49-F238E27FC236}">
                  <a16:creationId xmlns:a16="http://schemas.microsoft.com/office/drawing/2014/main" id="{12F74C3B-D570-46E3-B419-29697B941A97}"/>
                </a:ext>
              </a:extLst>
            </p:cNvPr>
            <p:cNvSpPr/>
            <p:nvPr/>
          </p:nvSpPr>
          <p:spPr>
            <a:xfrm>
              <a:off x="26160622" y="29688196"/>
              <a:ext cx="174967" cy="388078"/>
            </a:xfrm>
            <a:prstGeom prst="rect">
              <a:avLst/>
            </a:pr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8" name="Free Form 3293">
              <a:extLst>
                <a:ext uri="{FF2B5EF4-FFF2-40B4-BE49-F238E27FC236}">
                  <a16:creationId xmlns:a16="http://schemas.microsoft.com/office/drawing/2014/main" id="{2C78539B-36C1-3B7F-8D1A-FF2D2ECD74B2}"/>
                </a:ext>
              </a:extLst>
            </p:cNvPr>
            <p:cNvSpPr/>
            <p:nvPr/>
          </p:nvSpPr>
          <p:spPr>
            <a:xfrm>
              <a:off x="26160558" y="29790979"/>
              <a:ext cx="175055" cy="182497"/>
            </a:xfrm>
            <a:custGeom>
              <a:avLst/>
              <a:gdLst/>
              <a:ahLst/>
              <a:cxnLst/>
              <a:rect l="0" t="0" r="0" b="0"/>
              <a:pathLst>
                <a:path w="175054" h="182497">
                  <a:moveTo>
                    <a:pt x="0" y="182497"/>
                  </a:moveTo>
                  <a:lnTo>
                    <a:pt x="0" y="0"/>
                  </a:lnTo>
                  <a:lnTo>
                    <a:pt x="175054" y="0"/>
                  </a:lnTo>
                  <a:lnTo>
                    <a:pt x="175054" y="182497"/>
                  </a:lnTo>
                  <a:close/>
                  <a:moveTo>
                    <a:pt x="114" y="182497"/>
                  </a:moveTo>
                  <a:lnTo>
                    <a:pt x="174978" y="182497"/>
                  </a:lnTo>
                  <a:lnTo>
                    <a:pt x="174978" y="114"/>
                  </a:lnTo>
                  <a:lnTo>
                    <a:pt x="114" y="114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29" name="Rectangle 3294">
              <a:extLst>
                <a:ext uri="{FF2B5EF4-FFF2-40B4-BE49-F238E27FC236}">
                  <a16:creationId xmlns:a16="http://schemas.microsoft.com/office/drawing/2014/main" id="{C7B30D57-DAD2-B81C-B94C-9D6BCA34B087}"/>
                </a:ext>
              </a:extLst>
            </p:cNvPr>
            <p:cNvSpPr/>
            <p:nvPr/>
          </p:nvSpPr>
          <p:spPr>
            <a:xfrm>
              <a:off x="26184128" y="29688177"/>
              <a:ext cx="127927" cy="388078"/>
            </a:xfrm>
            <a:prstGeom prst="rect">
              <a:avLst/>
            </a:pr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0" name="Free Form 3295">
              <a:extLst>
                <a:ext uri="{FF2B5EF4-FFF2-40B4-BE49-F238E27FC236}">
                  <a16:creationId xmlns:a16="http://schemas.microsoft.com/office/drawing/2014/main" id="{39DC40AD-3173-5C9D-0BE8-F7F5B63D4E0A}"/>
                </a:ext>
              </a:extLst>
            </p:cNvPr>
            <p:cNvSpPr/>
            <p:nvPr/>
          </p:nvSpPr>
          <p:spPr>
            <a:xfrm>
              <a:off x="26160643" y="29949775"/>
              <a:ext cx="23482" cy="23000"/>
            </a:xfrm>
            <a:custGeom>
              <a:avLst/>
              <a:gdLst/>
              <a:ahLst/>
              <a:cxnLst/>
              <a:rect l="0" t="0" r="0" b="0"/>
              <a:pathLst>
                <a:path w="23482" h="22999">
                  <a:moveTo>
                    <a:pt x="23482" y="0"/>
                  </a:moveTo>
                  <a:cubicBezTo>
                    <a:pt x="22593" y="1358"/>
                    <a:pt x="21538" y="2603"/>
                    <a:pt x="20332" y="3695"/>
                  </a:cubicBezTo>
                  <a:cubicBezTo>
                    <a:pt x="18287" y="5841"/>
                    <a:pt x="15417" y="8737"/>
                    <a:pt x="12217" y="11925"/>
                  </a:cubicBezTo>
                  <a:cubicBezTo>
                    <a:pt x="9004" y="15100"/>
                    <a:pt x="6019" y="17919"/>
                    <a:pt x="3695" y="19926"/>
                  </a:cubicBezTo>
                  <a:cubicBezTo>
                    <a:pt x="2578" y="21094"/>
                    <a:pt x="1346" y="22123"/>
                    <a:pt x="0" y="22999"/>
                  </a:cubicBezTo>
                  <a:cubicBezTo>
                    <a:pt x="901" y="21653"/>
                    <a:pt x="1955" y="20421"/>
                    <a:pt x="3149" y="19329"/>
                  </a:cubicBezTo>
                  <a:cubicBezTo>
                    <a:pt x="5194" y="17208"/>
                    <a:pt x="8064" y="14287"/>
                    <a:pt x="11302" y="11099"/>
                  </a:cubicBezTo>
                  <a:cubicBezTo>
                    <a:pt x="14541" y="7924"/>
                    <a:pt x="17487" y="5079"/>
                    <a:pt x="19824" y="3060"/>
                  </a:cubicBezTo>
                  <a:cubicBezTo>
                    <a:pt x="20916" y="1917"/>
                    <a:pt x="22148" y="876"/>
                    <a:pt x="23482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1" name="Free Form 3296">
              <a:extLst>
                <a:ext uri="{FF2B5EF4-FFF2-40B4-BE49-F238E27FC236}">
                  <a16:creationId xmlns:a16="http://schemas.microsoft.com/office/drawing/2014/main" id="{92E48507-293A-28A9-0CEF-4ED1F9F02A84}"/>
                </a:ext>
              </a:extLst>
            </p:cNvPr>
            <p:cNvSpPr/>
            <p:nvPr/>
          </p:nvSpPr>
          <p:spPr>
            <a:xfrm>
              <a:off x="26312054" y="29949462"/>
              <a:ext cx="22999" cy="23342"/>
            </a:xfrm>
            <a:custGeom>
              <a:avLst/>
              <a:gdLst/>
              <a:ahLst/>
              <a:cxnLst/>
              <a:rect l="0" t="0" r="0" b="0"/>
              <a:pathLst>
                <a:path w="22999" h="23342">
                  <a:moveTo>
                    <a:pt x="0" y="0"/>
                  </a:moveTo>
                  <a:cubicBezTo>
                    <a:pt x="1333" y="901"/>
                    <a:pt x="2565" y="1955"/>
                    <a:pt x="3657" y="3149"/>
                  </a:cubicBezTo>
                  <a:cubicBezTo>
                    <a:pt x="5816" y="5194"/>
                    <a:pt x="8737" y="8064"/>
                    <a:pt x="11925" y="11277"/>
                  </a:cubicBezTo>
                  <a:cubicBezTo>
                    <a:pt x="15100" y="14477"/>
                    <a:pt x="17906" y="17462"/>
                    <a:pt x="19926" y="19646"/>
                  </a:cubicBezTo>
                  <a:cubicBezTo>
                    <a:pt x="21094" y="20751"/>
                    <a:pt x="22123" y="21996"/>
                    <a:pt x="22999" y="23342"/>
                  </a:cubicBezTo>
                  <a:cubicBezTo>
                    <a:pt x="21653" y="22440"/>
                    <a:pt x="20421" y="21373"/>
                    <a:pt x="19329" y="20180"/>
                  </a:cubicBezTo>
                  <a:cubicBezTo>
                    <a:pt x="17170" y="18148"/>
                    <a:pt x="14249" y="15277"/>
                    <a:pt x="11074" y="12039"/>
                  </a:cubicBezTo>
                  <a:cubicBezTo>
                    <a:pt x="7886" y="8801"/>
                    <a:pt x="5079" y="5854"/>
                    <a:pt x="3060" y="3657"/>
                  </a:cubicBezTo>
                  <a:cubicBezTo>
                    <a:pt x="1904" y="2565"/>
                    <a:pt x="876" y="1346"/>
                    <a:pt x="0" y="0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2" name="Free Form 3297">
              <a:extLst>
                <a:ext uri="{FF2B5EF4-FFF2-40B4-BE49-F238E27FC236}">
                  <a16:creationId xmlns:a16="http://schemas.microsoft.com/office/drawing/2014/main" id="{A93D418B-5BF2-5F84-4CD1-2AB447829A74}"/>
                </a:ext>
              </a:extLst>
            </p:cNvPr>
            <p:cNvSpPr/>
            <p:nvPr/>
          </p:nvSpPr>
          <p:spPr>
            <a:xfrm>
              <a:off x="26311713" y="29792913"/>
              <a:ext cx="23330" cy="22999"/>
            </a:xfrm>
            <a:custGeom>
              <a:avLst/>
              <a:gdLst/>
              <a:ahLst/>
              <a:cxnLst/>
              <a:rect l="0" t="0" r="0" b="0"/>
              <a:pathLst>
                <a:path w="23329" h="22999">
                  <a:moveTo>
                    <a:pt x="0" y="22999"/>
                  </a:moveTo>
                  <a:cubicBezTo>
                    <a:pt x="901" y="21640"/>
                    <a:pt x="1955" y="20408"/>
                    <a:pt x="3149" y="19303"/>
                  </a:cubicBezTo>
                  <a:cubicBezTo>
                    <a:pt x="5194" y="17182"/>
                    <a:pt x="8064" y="14249"/>
                    <a:pt x="11264" y="11074"/>
                  </a:cubicBezTo>
                  <a:cubicBezTo>
                    <a:pt x="14477" y="7899"/>
                    <a:pt x="17462" y="5079"/>
                    <a:pt x="19646" y="3073"/>
                  </a:cubicBezTo>
                  <a:cubicBezTo>
                    <a:pt x="20751" y="1904"/>
                    <a:pt x="21996" y="876"/>
                    <a:pt x="23329" y="0"/>
                  </a:cubicBezTo>
                  <a:cubicBezTo>
                    <a:pt x="22440" y="1346"/>
                    <a:pt x="21373" y="2578"/>
                    <a:pt x="20180" y="3670"/>
                  </a:cubicBezTo>
                  <a:cubicBezTo>
                    <a:pt x="18135" y="5816"/>
                    <a:pt x="15277" y="8750"/>
                    <a:pt x="12039" y="11925"/>
                  </a:cubicBezTo>
                  <a:cubicBezTo>
                    <a:pt x="8801" y="15112"/>
                    <a:pt x="5841" y="17919"/>
                    <a:pt x="3517" y="19938"/>
                  </a:cubicBezTo>
                  <a:cubicBezTo>
                    <a:pt x="2463" y="21081"/>
                    <a:pt x="1282" y="22110"/>
                    <a:pt x="0" y="22999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3" name="Free Form 3298">
              <a:extLst>
                <a:ext uri="{FF2B5EF4-FFF2-40B4-BE49-F238E27FC236}">
                  <a16:creationId xmlns:a16="http://schemas.microsoft.com/office/drawing/2014/main" id="{1C32E5C8-B114-2D73-9076-F1187A30584F}"/>
                </a:ext>
              </a:extLst>
            </p:cNvPr>
            <p:cNvSpPr/>
            <p:nvPr/>
          </p:nvSpPr>
          <p:spPr>
            <a:xfrm>
              <a:off x="26160784" y="29792921"/>
              <a:ext cx="23000" cy="23304"/>
            </a:xfrm>
            <a:custGeom>
              <a:avLst/>
              <a:gdLst/>
              <a:ahLst/>
              <a:cxnLst/>
              <a:rect l="0" t="0" r="0" b="0"/>
              <a:pathLst>
                <a:path w="22999" h="23304">
                  <a:moveTo>
                    <a:pt x="22999" y="23304"/>
                  </a:moveTo>
                  <a:cubicBezTo>
                    <a:pt x="21653" y="22402"/>
                    <a:pt x="20408" y="21348"/>
                    <a:pt x="19303" y="20154"/>
                  </a:cubicBezTo>
                  <a:cubicBezTo>
                    <a:pt x="17157" y="18110"/>
                    <a:pt x="14223" y="15239"/>
                    <a:pt x="11048" y="12039"/>
                  </a:cubicBezTo>
                  <a:cubicBezTo>
                    <a:pt x="7861" y="8826"/>
                    <a:pt x="5054" y="5841"/>
                    <a:pt x="3073" y="3657"/>
                  </a:cubicBezTo>
                  <a:cubicBezTo>
                    <a:pt x="1904" y="2565"/>
                    <a:pt x="876" y="1333"/>
                    <a:pt x="0" y="0"/>
                  </a:cubicBezTo>
                  <a:cubicBezTo>
                    <a:pt x="1346" y="901"/>
                    <a:pt x="2578" y="1955"/>
                    <a:pt x="3670" y="3149"/>
                  </a:cubicBezTo>
                  <a:cubicBezTo>
                    <a:pt x="5816" y="5194"/>
                    <a:pt x="8750" y="8064"/>
                    <a:pt x="11925" y="11290"/>
                  </a:cubicBezTo>
                  <a:cubicBezTo>
                    <a:pt x="15100" y="14528"/>
                    <a:pt x="17919" y="17487"/>
                    <a:pt x="19938" y="19811"/>
                  </a:cubicBezTo>
                  <a:cubicBezTo>
                    <a:pt x="21094" y="20853"/>
                    <a:pt x="22110" y="22021"/>
                    <a:pt x="22999" y="23304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4" name="Free Form 3299">
              <a:extLst>
                <a:ext uri="{FF2B5EF4-FFF2-40B4-BE49-F238E27FC236}">
                  <a16:creationId xmlns:a16="http://schemas.microsoft.com/office/drawing/2014/main" id="{A33A2221-4F53-B6D4-899A-FD71FE1767ED}"/>
                </a:ext>
              </a:extLst>
            </p:cNvPr>
            <p:cNvSpPr/>
            <p:nvPr/>
          </p:nvSpPr>
          <p:spPr>
            <a:xfrm>
              <a:off x="26183787" y="29814517"/>
              <a:ext cx="128637" cy="134491"/>
            </a:xfrm>
            <a:custGeom>
              <a:avLst/>
              <a:gdLst/>
              <a:ahLst/>
              <a:cxnLst/>
              <a:rect l="0" t="0" r="0" b="0"/>
              <a:pathLst>
                <a:path w="128636" h="134491">
                  <a:moveTo>
                    <a:pt x="127925" y="134377"/>
                  </a:moveTo>
                  <a:cubicBezTo>
                    <a:pt x="127900" y="134161"/>
                    <a:pt x="127900" y="133945"/>
                    <a:pt x="127925" y="133729"/>
                  </a:cubicBezTo>
                  <a:lnTo>
                    <a:pt x="127925" y="131875"/>
                  </a:lnTo>
                  <a:lnTo>
                    <a:pt x="127925" y="124661"/>
                  </a:lnTo>
                  <a:cubicBezTo>
                    <a:pt x="127925" y="118362"/>
                    <a:pt x="127925" y="109168"/>
                    <a:pt x="127786" y="97496"/>
                  </a:cubicBezTo>
                  <a:cubicBezTo>
                    <a:pt x="127786" y="74129"/>
                    <a:pt x="127786" y="40855"/>
                    <a:pt x="127532" y="965"/>
                  </a:cubicBezTo>
                  <a:lnTo>
                    <a:pt x="128040" y="1485"/>
                  </a:lnTo>
                  <a:lnTo>
                    <a:pt x="482" y="1485"/>
                  </a:lnTo>
                  <a:lnTo>
                    <a:pt x="1054" y="914"/>
                  </a:lnTo>
                  <a:lnTo>
                    <a:pt x="1054" y="134351"/>
                  </a:lnTo>
                  <a:lnTo>
                    <a:pt x="558" y="133869"/>
                  </a:lnTo>
                  <a:lnTo>
                    <a:pt x="92950" y="134123"/>
                  </a:lnTo>
                  <a:lnTo>
                    <a:pt x="118896" y="134123"/>
                  </a:lnTo>
                  <a:lnTo>
                    <a:pt x="125766" y="134123"/>
                  </a:lnTo>
                  <a:lnTo>
                    <a:pt x="119010" y="134123"/>
                  </a:lnTo>
                  <a:lnTo>
                    <a:pt x="93178" y="134262"/>
                  </a:lnTo>
                  <a:lnTo>
                    <a:pt x="482" y="134491"/>
                  </a:lnTo>
                  <a:lnTo>
                    <a:pt x="0" y="134491"/>
                  </a:lnTo>
                  <a:lnTo>
                    <a:pt x="0" y="134008"/>
                  </a:lnTo>
                  <a:lnTo>
                    <a:pt x="0" y="571"/>
                  </a:lnTo>
                  <a:lnTo>
                    <a:pt x="0" y="0"/>
                  </a:lnTo>
                  <a:lnTo>
                    <a:pt x="596" y="0"/>
                  </a:lnTo>
                  <a:lnTo>
                    <a:pt x="128154" y="0"/>
                  </a:lnTo>
                  <a:lnTo>
                    <a:pt x="128636" y="0"/>
                  </a:lnTo>
                  <a:lnTo>
                    <a:pt x="128636" y="1117"/>
                  </a:lnTo>
                  <a:cubicBezTo>
                    <a:pt x="128636" y="41084"/>
                    <a:pt x="128433" y="74472"/>
                    <a:pt x="128382" y="97890"/>
                  </a:cubicBezTo>
                  <a:lnTo>
                    <a:pt x="128382" y="124953"/>
                  </a:lnTo>
                  <a:lnTo>
                    <a:pt x="128382" y="132078"/>
                  </a:lnTo>
                  <a:lnTo>
                    <a:pt x="128382" y="133869"/>
                  </a:lnTo>
                  <a:cubicBezTo>
                    <a:pt x="128382" y="134288"/>
                    <a:pt x="127925" y="134377"/>
                    <a:pt x="127925" y="134377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5" name="Rectangle 3300">
              <a:extLst>
                <a:ext uri="{FF2B5EF4-FFF2-40B4-BE49-F238E27FC236}">
                  <a16:creationId xmlns:a16="http://schemas.microsoft.com/office/drawing/2014/main" id="{D3AE69B9-221A-DB66-FD33-BEE6DC815B87}"/>
                </a:ext>
              </a:extLst>
            </p:cNvPr>
            <p:cNvSpPr/>
            <p:nvPr/>
          </p:nvSpPr>
          <p:spPr>
            <a:xfrm>
              <a:off x="26226736" y="29688190"/>
              <a:ext cx="42698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6" name="Rectangle 3301">
              <a:extLst>
                <a:ext uri="{FF2B5EF4-FFF2-40B4-BE49-F238E27FC236}">
                  <a16:creationId xmlns:a16="http://schemas.microsoft.com/office/drawing/2014/main" id="{EC0376E1-23A1-5F7B-B00C-D8122F86E507}"/>
                </a:ext>
              </a:extLst>
            </p:cNvPr>
            <p:cNvSpPr/>
            <p:nvPr/>
          </p:nvSpPr>
          <p:spPr>
            <a:xfrm>
              <a:off x="25401657" y="29726745"/>
              <a:ext cx="981891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7" name="Free Form 3302">
              <a:extLst>
                <a:ext uri="{FF2B5EF4-FFF2-40B4-BE49-F238E27FC236}">
                  <a16:creationId xmlns:a16="http://schemas.microsoft.com/office/drawing/2014/main" id="{E12C5475-3EF0-3444-7906-C6CBF7705D9C}"/>
                </a:ext>
              </a:extLst>
            </p:cNvPr>
            <p:cNvSpPr/>
            <p:nvPr/>
          </p:nvSpPr>
          <p:spPr>
            <a:xfrm>
              <a:off x="25419253" y="29681506"/>
              <a:ext cx="16523" cy="16535"/>
            </a:xfrm>
            <a:custGeom>
              <a:avLst/>
              <a:gdLst/>
              <a:ahLst/>
              <a:cxnLst/>
              <a:rect l="0" t="0" r="0" b="0"/>
              <a:pathLst>
                <a:path w="16522" h="16535">
                  <a:moveTo>
                    <a:pt x="16522" y="8267"/>
                  </a:moveTo>
                  <a:cubicBezTo>
                    <a:pt x="16522" y="12826"/>
                    <a:pt x="12826" y="16535"/>
                    <a:pt x="8254" y="16535"/>
                  </a:cubicBezTo>
                  <a:cubicBezTo>
                    <a:pt x="3695" y="16535"/>
                    <a:pt x="0" y="12826"/>
                    <a:pt x="0" y="8267"/>
                  </a:cubicBezTo>
                  <a:cubicBezTo>
                    <a:pt x="0" y="3708"/>
                    <a:pt x="3695" y="0"/>
                    <a:pt x="8254" y="0"/>
                  </a:cubicBezTo>
                  <a:cubicBezTo>
                    <a:pt x="12826" y="0"/>
                    <a:pt x="16522" y="3708"/>
                    <a:pt x="16522" y="826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8" name="Free Form 3303">
              <a:extLst>
                <a:ext uri="{FF2B5EF4-FFF2-40B4-BE49-F238E27FC236}">
                  <a16:creationId xmlns:a16="http://schemas.microsoft.com/office/drawing/2014/main" id="{2D660373-FFB1-8E38-6A1B-55DBB575CC22}"/>
                </a:ext>
              </a:extLst>
            </p:cNvPr>
            <p:cNvSpPr/>
            <p:nvPr/>
          </p:nvSpPr>
          <p:spPr>
            <a:xfrm>
              <a:off x="25445003" y="29681506"/>
              <a:ext cx="16523" cy="16535"/>
            </a:xfrm>
            <a:custGeom>
              <a:avLst/>
              <a:gdLst/>
              <a:ahLst/>
              <a:cxnLst/>
              <a:rect l="0" t="0" r="0" b="0"/>
              <a:pathLst>
                <a:path w="16522" h="16535">
                  <a:moveTo>
                    <a:pt x="16522" y="8267"/>
                  </a:moveTo>
                  <a:cubicBezTo>
                    <a:pt x="16522" y="12826"/>
                    <a:pt x="12826" y="16535"/>
                    <a:pt x="8254" y="16535"/>
                  </a:cubicBezTo>
                  <a:cubicBezTo>
                    <a:pt x="3695" y="16535"/>
                    <a:pt x="0" y="12826"/>
                    <a:pt x="0" y="8267"/>
                  </a:cubicBezTo>
                  <a:cubicBezTo>
                    <a:pt x="0" y="3708"/>
                    <a:pt x="3695" y="0"/>
                    <a:pt x="8254" y="0"/>
                  </a:cubicBezTo>
                  <a:lnTo>
                    <a:pt x="8293" y="0"/>
                  </a:lnTo>
                  <a:cubicBezTo>
                    <a:pt x="12839" y="0"/>
                    <a:pt x="16522" y="3695"/>
                    <a:pt x="16522" y="8242"/>
                  </a:cubicBezTo>
                  <a:cubicBezTo>
                    <a:pt x="16522" y="8254"/>
                    <a:pt x="16522" y="8254"/>
                    <a:pt x="16522" y="826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39" name="Free Form 3304">
              <a:extLst>
                <a:ext uri="{FF2B5EF4-FFF2-40B4-BE49-F238E27FC236}">
                  <a16:creationId xmlns:a16="http://schemas.microsoft.com/office/drawing/2014/main" id="{BCA15614-D02C-D84F-DA73-70F96FF44028}"/>
                </a:ext>
              </a:extLst>
            </p:cNvPr>
            <p:cNvSpPr/>
            <p:nvPr/>
          </p:nvSpPr>
          <p:spPr>
            <a:xfrm>
              <a:off x="25470840" y="29681506"/>
              <a:ext cx="16522" cy="16535"/>
            </a:xfrm>
            <a:custGeom>
              <a:avLst/>
              <a:gdLst/>
              <a:ahLst/>
              <a:cxnLst/>
              <a:rect l="0" t="0" r="0" b="0"/>
              <a:pathLst>
                <a:path w="16522" h="16535">
                  <a:moveTo>
                    <a:pt x="16522" y="8267"/>
                  </a:moveTo>
                  <a:cubicBezTo>
                    <a:pt x="16522" y="12826"/>
                    <a:pt x="12826" y="16535"/>
                    <a:pt x="8254" y="16535"/>
                  </a:cubicBezTo>
                  <a:cubicBezTo>
                    <a:pt x="3695" y="16535"/>
                    <a:pt x="0" y="12826"/>
                    <a:pt x="0" y="8267"/>
                  </a:cubicBezTo>
                  <a:cubicBezTo>
                    <a:pt x="0" y="3708"/>
                    <a:pt x="3695" y="0"/>
                    <a:pt x="8254" y="0"/>
                  </a:cubicBezTo>
                  <a:cubicBezTo>
                    <a:pt x="12826" y="0"/>
                    <a:pt x="16522" y="3708"/>
                    <a:pt x="16522" y="8267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0" name="Free Form 3305">
              <a:extLst>
                <a:ext uri="{FF2B5EF4-FFF2-40B4-BE49-F238E27FC236}">
                  <a16:creationId xmlns:a16="http://schemas.microsoft.com/office/drawing/2014/main" id="{66D28E76-8992-CC76-AFD5-6F11C544C73A}"/>
                </a:ext>
              </a:extLst>
            </p:cNvPr>
            <p:cNvSpPr/>
            <p:nvPr/>
          </p:nvSpPr>
          <p:spPr>
            <a:xfrm>
              <a:off x="25829436" y="29795019"/>
              <a:ext cx="86765" cy="1473"/>
            </a:xfrm>
            <a:custGeom>
              <a:avLst/>
              <a:gdLst/>
              <a:ahLst/>
              <a:cxnLst/>
              <a:rect l="0" t="0" r="0" b="0"/>
              <a:pathLst>
                <a:path w="86765" h="1473">
                  <a:moveTo>
                    <a:pt x="86765" y="736"/>
                  </a:moveTo>
                  <a:cubicBezTo>
                    <a:pt x="86765" y="1168"/>
                    <a:pt x="67347" y="1473"/>
                    <a:pt x="43382" y="1473"/>
                  </a:cubicBezTo>
                  <a:cubicBezTo>
                    <a:pt x="19418" y="1473"/>
                    <a:pt x="0" y="1168"/>
                    <a:pt x="0" y="736"/>
                  </a:cubicBezTo>
                  <a:cubicBezTo>
                    <a:pt x="0" y="317"/>
                    <a:pt x="19418" y="0"/>
                    <a:pt x="43382" y="0"/>
                  </a:cubicBezTo>
                  <a:cubicBezTo>
                    <a:pt x="67347" y="0"/>
                    <a:pt x="86765" y="203"/>
                    <a:pt x="86765" y="73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1" name="Free Form 3306">
              <a:extLst>
                <a:ext uri="{FF2B5EF4-FFF2-40B4-BE49-F238E27FC236}">
                  <a16:creationId xmlns:a16="http://schemas.microsoft.com/office/drawing/2014/main" id="{95C58E42-13C9-0C4F-7B48-236B4533F8E9}"/>
                </a:ext>
              </a:extLst>
            </p:cNvPr>
            <p:cNvSpPr/>
            <p:nvPr/>
          </p:nvSpPr>
          <p:spPr>
            <a:xfrm>
              <a:off x="25820524" y="29806376"/>
              <a:ext cx="107886" cy="1473"/>
            </a:xfrm>
            <a:custGeom>
              <a:avLst/>
              <a:gdLst/>
              <a:ahLst/>
              <a:cxnLst/>
              <a:rect l="0" t="0" r="0" b="0"/>
              <a:pathLst>
                <a:path w="107885" h="1473">
                  <a:moveTo>
                    <a:pt x="107885" y="736"/>
                  </a:moveTo>
                  <a:cubicBezTo>
                    <a:pt x="107885" y="1130"/>
                    <a:pt x="83755" y="1473"/>
                    <a:pt x="53949" y="1473"/>
                  </a:cubicBezTo>
                  <a:cubicBezTo>
                    <a:pt x="24129" y="1473"/>
                    <a:pt x="0" y="1130"/>
                    <a:pt x="0" y="736"/>
                  </a:cubicBezTo>
                  <a:cubicBezTo>
                    <a:pt x="0" y="342"/>
                    <a:pt x="24129" y="0"/>
                    <a:pt x="53949" y="0"/>
                  </a:cubicBezTo>
                  <a:cubicBezTo>
                    <a:pt x="83755" y="0"/>
                    <a:pt x="107885" y="368"/>
                    <a:pt x="107885" y="73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2" name="Free Form 3307">
              <a:extLst>
                <a:ext uri="{FF2B5EF4-FFF2-40B4-BE49-F238E27FC236}">
                  <a16:creationId xmlns:a16="http://schemas.microsoft.com/office/drawing/2014/main" id="{E0C1E600-8069-1297-1FA0-E5D536AD144E}"/>
                </a:ext>
              </a:extLst>
            </p:cNvPr>
            <p:cNvSpPr/>
            <p:nvPr/>
          </p:nvSpPr>
          <p:spPr>
            <a:xfrm>
              <a:off x="25864473" y="29818056"/>
              <a:ext cx="33985" cy="34671"/>
            </a:xfrm>
            <a:custGeom>
              <a:avLst/>
              <a:gdLst/>
              <a:ahLst/>
              <a:cxnLst/>
              <a:rect l="0" t="0" r="0" b="0"/>
              <a:pathLst>
                <a:path w="33984" h="34670">
                  <a:moveTo>
                    <a:pt x="33984" y="22783"/>
                  </a:moveTo>
                  <a:cubicBezTo>
                    <a:pt x="33260" y="23482"/>
                    <a:pt x="32460" y="24078"/>
                    <a:pt x="31597" y="24574"/>
                  </a:cubicBezTo>
                  <a:lnTo>
                    <a:pt x="24840" y="28968"/>
                  </a:lnTo>
                  <a:lnTo>
                    <a:pt x="20129" y="31813"/>
                  </a:lnTo>
                  <a:lnTo>
                    <a:pt x="17487" y="33464"/>
                  </a:lnTo>
                  <a:cubicBezTo>
                    <a:pt x="16497" y="34315"/>
                    <a:pt x="15176" y="34670"/>
                    <a:pt x="13880" y="34454"/>
                  </a:cubicBezTo>
                  <a:cubicBezTo>
                    <a:pt x="13144" y="34213"/>
                    <a:pt x="12534" y="33667"/>
                    <a:pt x="12242" y="32943"/>
                  </a:cubicBezTo>
                  <a:cubicBezTo>
                    <a:pt x="11988" y="32308"/>
                    <a:pt x="11874" y="31622"/>
                    <a:pt x="11899" y="30936"/>
                  </a:cubicBezTo>
                  <a:cubicBezTo>
                    <a:pt x="11975" y="29666"/>
                    <a:pt x="12217" y="28422"/>
                    <a:pt x="12610" y="27215"/>
                  </a:cubicBezTo>
                  <a:cubicBezTo>
                    <a:pt x="13258" y="24828"/>
                    <a:pt x="13880" y="22389"/>
                    <a:pt x="14566" y="19887"/>
                  </a:cubicBezTo>
                  <a:cubicBezTo>
                    <a:pt x="15735" y="14922"/>
                    <a:pt x="17830" y="10032"/>
                    <a:pt x="17068" y="5892"/>
                  </a:cubicBezTo>
                  <a:cubicBezTo>
                    <a:pt x="16700" y="3975"/>
                    <a:pt x="15303" y="2412"/>
                    <a:pt x="13423" y="1828"/>
                  </a:cubicBezTo>
                  <a:cubicBezTo>
                    <a:pt x="11772" y="1282"/>
                    <a:pt x="9982" y="1282"/>
                    <a:pt x="8318" y="1828"/>
                  </a:cubicBezTo>
                  <a:cubicBezTo>
                    <a:pt x="5905" y="2870"/>
                    <a:pt x="3771" y="4457"/>
                    <a:pt x="2070" y="6464"/>
                  </a:cubicBezTo>
                  <a:cubicBezTo>
                    <a:pt x="800" y="7848"/>
                    <a:pt x="88" y="8648"/>
                    <a:pt x="0" y="8559"/>
                  </a:cubicBezTo>
                  <a:cubicBezTo>
                    <a:pt x="444" y="7670"/>
                    <a:pt x="990" y="6845"/>
                    <a:pt x="1650" y="6095"/>
                  </a:cubicBezTo>
                  <a:cubicBezTo>
                    <a:pt x="3251" y="3797"/>
                    <a:pt x="5435" y="1993"/>
                    <a:pt x="7975" y="838"/>
                  </a:cubicBezTo>
                  <a:cubicBezTo>
                    <a:pt x="9829" y="114"/>
                    <a:pt x="11874" y="0"/>
                    <a:pt x="13804" y="520"/>
                  </a:cubicBezTo>
                  <a:cubicBezTo>
                    <a:pt x="16128" y="1193"/>
                    <a:pt x="17906" y="3086"/>
                    <a:pt x="18402" y="5460"/>
                  </a:cubicBezTo>
                  <a:cubicBezTo>
                    <a:pt x="18795" y="7899"/>
                    <a:pt x="18643" y="10401"/>
                    <a:pt x="17944" y="12763"/>
                  </a:cubicBezTo>
                  <a:cubicBezTo>
                    <a:pt x="17322" y="15150"/>
                    <a:pt x="16662" y="17614"/>
                    <a:pt x="15989" y="20141"/>
                  </a:cubicBezTo>
                  <a:cubicBezTo>
                    <a:pt x="15303" y="22669"/>
                    <a:pt x="14655" y="25107"/>
                    <a:pt x="13995" y="27495"/>
                  </a:cubicBezTo>
                  <a:cubicBezTo>
                    <a:pt x="13639" y="28574"/>
                    <a:pt x="13411" y="29692"/>
                    <a:pt x="13322" y="30822"/>
                  </a:cubicBezTo>
                  <a:cubicBezTo>
                    <a:pt x="13322" y="31863"/>
                    <a:pt x="13601" y="32829"/>
                    <a:pt x="14274" y="33006"/>
                  </a:cubicBezTo>
                  <a:cubicBezTo>
                    <a:pt x="14960" y="33172"/>
                    <a:pt x="15900" y="32752"/>
                    <a:pt x="16801" y="32206"/>
                  </a:cubicBezTo>
                  <a:lnTo>
                    <a:pt x="19481" y="30619"/>
                  </a:lnTo>
                  <a:lnTo>
                    <a:pt x="24269" y="27774"/>
                  </a:lnTo>
                  <a:cubicBezTo>
                    <a:pt x="27114" y="26047"/>
                    <a:pt x="29641" y="24688"/>
                    <a:pt x="31317" y="23774"/>
                  </a:cubicBezTo>
                  <a:cubicBezTo>
                    <a:pt x="32156" y="23329"/>
                    <a:pt x="33057" y="22999"/>
                    <a:pt x="33984" y="22783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3" name="Free Form 3308">
              <a:extLst>
                <a:ext uri="{FF2B5EF4-FFF2-40B4-BE49-F238E27FC236}">
                  <a16:creationId xmlns:a16="http://schemas.microsoft.com/office/drawing/2014/main" id="{7F9464A5-06C8-1673-14B5-35ADAE9EEFB7}"/>
                </a:ext>
              </a:extLst>
            </p:cNvPr>
            <p:cNvSpPr/>
            <p:nvPr/>
          </p:nvSpPr>
          <p:spPr>
            <a:xfrm>
              <a:off x="25901407" y="29820689"/>
              <a:ext cx="2426" cy="18986"/>
            </a:xfrm>
            <a:custGeom>
              <a:avLst/>
              <a:gdLst/>
              <a:ahLst/>
              <a:cxnLst/>
              <a:rect l="0" t="0" r="0" b="0"/>
              <a:pathLst>
                <a:path w="2425" h="18986">
                  <a:moveTo>
                    <a:pt x="1904" y="18986"/>
                  </a:moveTo>
                  <a:cubicBezTo>
                    <a:pt x="965" y="15925"/>
                    <a:pt x="507" y="12737"/>
                    <a:pt x="520" y="9537"/>
                  </a:cubicBezTo>
                  <a:cubicBezTo>
                    <a:pt x="0" y="6375"/>
                    <a:pt x="0" y="3149"/>
                    <a:pt x="520" y="0"/>
                  </a:cubicBezTo>
                  <a:cubicBezTo>
                    <a:pt x="1447" y="3060"/>
                    <a:pt x="1930" y="6248"/>
                    <a:pt x="1930" y="9448"/>
                  </a:cubicBezTo>
                  <a:cubicBezTo>
                    <a:pt x="2425" y="12610"/>
                    <a:pt x="2412" y="15824"/>
                    <a:pt x="1904" y="1898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4" name="Free Form 3309">
              <a:extLst>
                <a:ext uri="{FF2B5EF4-FFF2-40B4-BE49-F238E27FC236}">
                  <a16:creationId xmlns:a16="http://schemas.microsoft.com/office/drawing/2014/main" id="{CA3DAF28-2C59-7454-65A3-E6A86F7C803E}"/>
                </a:ext>
              </a:extLst>
            </p:cNvPr>
            <p:cNvSpPr/>
            <p:nvPr/>
          </p:nvSpPr>
          <p:spPr>
            <a:xfrm>
              <a:off x="25897210" y="29829257"/>
              <a:ext cx="14224" cy="2210"/>
            </a:xfrm>
            <a:custGeom>
              <a:avLst/>
              <a:gdLst/>
              <a:ahLst/>
              <a:cxnLst/>
              <a:rect l="0" t="0" r="0" b="0"/>
              <a:pathLst>
                <a:path w="14223" h="2209">
                  <a:moveTo>
                    <a:pt x="14223" y="736"/>
                  </a:moveTo>
                  <a:cubicBezTo>
                    <a:pt x="11963" y="1587"/>
                    <a:pt x="9562" y="1955"/>
                    <a:pt x="7150" y="1841"/>
                  </a:cubicBezTo>
                  <a:cubicBezTo>
                    <a:pt x="4762" y="2209"/>
                    <a:pt x="2324" y="2082"/>
                    <a:pt x="0" y="1447"/>
                  </a:cubicBezTo>
                  <a:cubicBezTo>
                    <a:pt x="2273" y="622"/>
                    <a:pt x="4686" y="253"/>
                    <a:pt x="7099" y="368"/>
                  </a:cubicBezTo>
                  <a:cubicBezTo>
                    <a:pt x="9474" y="0"/>
                    <a:pt x="11899" y="126"/>
                    <a:pt x="14223" y="736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5" name="Free Form 3310">
              <a:extLst>
                <a:ext uri="{FF2B5EF4-FFF2-40B4-BE49-F238E27FC236}">
                  <a16:creationId xmlns:a16="http://schemas.microsoft.com/office/drawing/2014/main" id="{583E76FE-F807-AB9E-06EE-07EB57EDCD8C}"/>
                </a:ext>
              </a:extLst>
            </p:cNvPr>
            <p:cNvSpPr/>
            <p:nvPr/>
          </p:nvSpPr>
          <p:spPr>
            <a:xfrm>
              <a:off x="25809380" y="29787663"/>
              <a:ext cx="57962" cy="79069"/>
            </a:xfrm>
            <a:custGeom>
              <a:avLst/>
              <a:gdLst/>
              <a:ahLst/>
              <a:cxnLst/>
              <a:rect l="0" t="0" r="0" b="0"/>
              <a:pathLst>
                <a:path w="57962" h="79069">
                  <a:moveTo>
                    <a:pt x="57962" y="79069"/>
                  </a:moveTo>
                  <a:lnTo>
                    <a:pt x="56857" y="79069"/>
                  </a:lnTo>
                  <a:cubicBezTo>
                    <a:pt x="55790" y="79018"/>
                    <a:pt x="54723" y="78904"/>
                    <a:pt x="53669" y="78726"/>
                  </a:cubicBezTo>
                  <a:cubicBezTo>
                    <a:pt x="49808" y="78167"/>
                    <a:pt x="45998" y="77227"/>
                    <a:pt x="42315" y="75894"/>
                  </a:cubicBezTo>
                  <a:cubicBezTo>
                    <a:pt x="16916" y="66915"/>
                    <a:pt x="0" y="42811"/>
                    <a:pt x="215" y="15874"/>
                  </a:cubicBezTo>
                  <a:cubicBezTo>
                    <a:pt x="203" y="11937"/>
                    <a:pt x="609" y="8026"/>
                    <a:pt x="1409" y="4178"/>
                  </a:cubicBezTo>
                  <a:cubicBezTo>
                    <a:pt x="1600" y="3124"/>
                    <a:pt x="1854" y="2082"/>
                    <a:pt x="2171" y="1054"/>
                  </a:cubicBezTo>
                  <a:cubicBezTo>
                    <a:pt x="2247" y="685"/>
                    <a:pt x="2362" y="330"/>
                    <a:pt x="2539" y="0"/>
                  </a:cubicBezTo>
                  <a:cubicBezTo>
                    <a:pt x="1714" y="5245"/>
                    <a:pt x="1282" y="10553"/>
                    <a:pt x="1269" y="15874"/>
                  </a:cubicBezTo>
                  <a:cubicBezTo>
                    <a:pt x="1650" y="42150"/>
                    <a:pt x="18046" y="65531"/>
                    <a:pt x="42633" y="74840"/>
                  </a:cubicBezTo>
                  <a:cubicBezTo>
                    <a:pt x="47624" y="76643"/>
                    <a:pt x="52755" y="78066"/>
                    <a:pt x="57962" y="7906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6" name="Free Form 3311">
              <a:extLst>
                <a:ext uri="{FF2B5EF4-FFF2-40B4-BE49-F238E27FC236}">
                  <a16:creationId xmlns:a16="http://schemas.microsoft.com/office/drawing/2014/main" id="{553E5C0E-3509-6359-3586-55F9E606C156}"/>
                </a:ext>
              </a:extLst>
            </p:cNvPr>
            <p:cNvSpPr/>
            <p:nvPr/>
          </p:nvSpPr>
          <p:spPr>
            <a:xfrm>
              <a:off x="25854795" y="29868691"/>
              <a:ext cx="28587" cy="17373"/>
            </a:xfrm>
            <a:custGeom>
              <a:avLst/>
              <a:gdLst/>
              <a:ahLst/>
              <a:cxnLst/>
              <a:rect l="0" t="0" r="0" b="0"/>
              <a:pathLst>
                <a:path w="28587" h="17373">
                  <a:moveTo>
                    <a:pt x="28587" y="0"/>
                  </a:moveTo>
                  <a:cubicBezTo>
                    <a:pt x="28511" y="698"/>
                    <a:pt x="28307" y="1371"/>
                    <a:pt x="27990" y="1981"/>
                  </a:cubicBezTo>
                  <a:cubicBezTo>
                    <a:pt x="27253" y="3708"/>
                    <a:pt x="26301" y="5333"/>
                    <a:pt x="25145" y="6807"/>
                  </a:cubicBezTo>
                  <a:cubicBezTo>
                    <a:pt x="21208" y="11772"/>
                    <a:pt x="15684" y="15239"/>
                    <a:pt x="9512" y="16636"/>
                  </a:cubicBezTo>
                  <a:cubicBezTo>
                    <a:pt x="6972" y="17195"/>
                    <a:pt x="4368" y="17373"/>
                    <a:pt x="1790" y="17182"/>
                  </a:cubicBezTo>
                  <a:lnTo>
                    <a:pt x="0" y="17005"/>
                  </a:lnTo>
                  <a:lnTo>
                    <a:pt x="1422" y="15900"/>
                  </a:lnTo>
                  <a:cubicBezTo>
                    <a:pt x="4813" y="13220"/>
                    <a:pt x="7454" y="9715"/>
                    <a:pt x="9080" y="5702"/>
                  </a:cubicBezTo>
                  <a:cubicBezTo>
                    <a:pt x="10274" y="2870"/>
                    <a:pt x="10528" y="761"/>
                    <a:pt x="10731" y="800"/>
                  </a:cubicBezTo>
                  <a:cubicBezTo>
                    <a:pt x="10871" y="2578"/>
                    <a:pt x="10591" y="4368"/>
                    <a:pt x="9905" y="6019"/>
                  </a:cubicBezTo>
                  <a:cubicBezTo>
                    <a:pt x="8483" y="10337"/>
                    <a:pt x="5841" y="14160"/>
                    <a:pt x="2298" y="17005"/>
                  </a:cubicBezTo>
                  <a:lnTo>
                    <a:pt x="1904" y="15760"/>
                  </a:lnTo>
                  <a:cubicBezTo>
                    <a:pt x="4343" y="15900"/>
                    <a:pt x="6807" y="15709"/>
                    <a:pt x="9194" y="15189"/>
                  </a:cubicBezTo>
                  <a:cubicBezTo>
                    <a:pt x="15074" y="13842"/>
                    <a:pt x="20370" y="10680"/>
                    <a:pt x="24358" y="6159"/>
                  </a:cubicBezTo>
                  <a:cubicBezTo>
                    <a:pt x="25882" y="4190"/>
                    <a:pt x="27292" y="2133"/>
                    <a:pt x="28587" y="0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7" name="Free Form 3312">
              <a:extLst>
                <a:ext uri="{FF2B5EF4-FFF2-40B4-BE49-F238E27FC236}">
                  <a16:creationId xmlns:a16="http://schemas.microsoft.com/office/drawing/2014/main" id="{5C4F6DF4-C523-9B12-31AB-9D9CB259D0A1}"/>
                </a:ext>
              </a:extLst>
            </p:cNvPr>
            <p:cNvSpPr/>
            <p:nvPr/>
          </p:nvSpPr>
          <p:spPr>
            <a:xfrm>
              <a:off x="25884939" y="29846862"/>
              <a:ext cx="59740" cy="22974"/>
            </a:xfrm>
            <a:custGeom>
              <a:avLst/>
              <a:gdLst/>
              <a:ahLst/>
              <a:cxnLst/>
              <a:rect l="0" t="0" r="0" b="0"/>
              <a:pathLst>
                <a:path w="59740" h="22974">
                  <a:moveTo>
                    <a:pt x="59740" y="279"/>
                  </a:moveTo>
                  <a:cubicBezTo>
                    <a:pt x="59740" y="279"/>
                    <a:pt x="59206" y="1015"/>
                    <a:pt x="57974" y="2184"/>
                  </a:cubicBezTo>
                  <a:cubicBezTo>
                    <a:pt x="56285" y="3809"/>
                    <a:pt x="54495" y="5321"/>
                    <a:pt x="52615" y="6730"/>
                  </a:cubicBezTo>
                  <a:cubicBezTo>
                    <a:pt x="46405" y="11379"/>
                    <a:pt x="39572" y="15125"/>
                    <a:pt x="32308" y="17856"/>
                  </a:cubicBezTo>
                  <a:cubicBezTo>
                    <a:pt x="25018" y="20573"/>
                    <a:pt x="17373" y="22237"/>
                    <a:pt x="9601" y="22821"/>
                  </a:cubicBezTo>
                  <a:cubicBezTo>
                    <a:pt x="7251" y="22974"/>
                    <a:pt x="4902" y="22974"/>
                    <a:pt x="2565" y="22821"/>
                  </a:cubicBezTo>
                  <a:cubicBezTo>
                    <a:pt x="1701" y="22859"/>
                    <a:pt x="838" y="22770"/>
                    <a:pt x="0" y="22542"/>
                  </a:cubicBezTo>
                  <a:cubicBezTo>
                    <a:pt x="0" y="22288"/>
                    <a:pt x="3670" y="22313"/>
                    <a:pt x="9486" y="21653"/>
                  </a:cubicBezTo>
                  <a:cubicBezTo>
                    <a:pt x="17081" y="20802"/>
                    <a:pt x="24548" y="19011"/>
                    <a:pt x="31711" y="16344"/>
                  </a:cubicBezTo>
                  <a:cubicBezTo>
                    <a:pt x="38861" y="13639"/>
                    <a:pt x="45643" y="10083"/>
                    <a:pt x="51929" y="5765"/>
                  </a:cubicBezTo>
                  <a:cubicBezTo>
                    <a:pt x="56844" y="2527"/>
                    <a:pt x="59511" y="0"/>
                    <a:pt x="59740" y="279"/>
                  </a:cubicBez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8" name="Free Form 3313">
              <a:extLst>
                <a:ext uri="{FF2B5EF4-FFF2-40B4-BE49-F238E27FC236}">
                  <a16:creationId xmlns:a16="http://schemas.microsoft.com/office/drawing/2014/main" id="{63D825A4-B4EA-5D53-B8A1-74F0C3A314AD}"/>
                </a:ext>
              </a:extLst>
            </p:cNvPr>
            <p:cNvSpPr/>
            <p:nvPr/>
          </p:nvSpPr>
          <p:spPr>
            <a:xfrm>
              <a:off x="25563708" y="30034551"/>
              <a:ext cx="344687" cy="1219"/>
            </a:xfrm>
            <a:custGeom>
              <a:avLst/>
              <a:gdLst/>
              <a:ahLst/>
              <a:cxnLst/>
              <a:rect l="0" t="0" r="0" b="0"/>
              <a:pathLst>
                <a:path w="344687" h="1219">
                  <a:moveTo>
                    <a:pt x="344687" y="622"/>
                  </a:moveTo>
                  <a:cubicBezTo>
                    <a:pt x="344687" y="939"/>
                    <a:pt x="267522" y="1219"/>
                    <a:pt x="172362" y="1219"/>
                  </a:cubicBezTo>
                  <a:cubicBezTo>
                    <a:pt x="77189" y="1219"/>
                    <a:pt x="0" y="939"/>
                    <a:pt x="0" y="622"/>
                  </a:cubicBezTo>
                  <a:cubicBezTo>
                    <a:pt x="0" y="304"/>
                    <a:pt x="77164" y="0"/>
                    <a:pt x="172362" y="0"/>
                  </a:cubicBezTo>
                  <a:cubicBezTo>
                    <a:pt x="267548" y="0"/>
                    <a:pt x="344687" y="279"/>
                    <a:pt x="344687" y="622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49" name="Free Form 3314">
              <a:extLst>
                <a:ext uri="{FF2B5EF4-FFF2-40B4-BE49-F238E27FC236}">
                  <a16:creationId xmlns:a16="http://schemas.microsoft.com/office/drawing/2014/main" id="{F00DB5B2-C5F5-ED10-49A5-DFEB1A163FB2}"/>
                </a:ext>
              </a:extLst>
            </p:cNvPr>
            <p:cNvSpPr/>
            <p:nvPr/>
          </p:nvSpPr>
          <p:spPr>
            <a:xfrm>
              <a:off x="25598884" y="29906476"/>
              <a:ext cx="258124" cy="128447"/>
            </a:xfrm>
            <a:custGeom>
              <a:avLst/>
              <a:gdLst/>
              <a:ahLst/>
              <a:cxnLst/>
              <a:rect l="0" t="0" r="0" b="0"/>
              <a:pathLst>
                <a:path w="258124" h="128446">
                  <a:moveTo>
                    <a:pt x="258010" y="127760"/>
                  </a:moveTo>
                  <a:cubicBezTo>
                    <a:pt x="257858" y="127455"/>
                    <a:pt x="257756" y="127125"/>
                    <a:pt x="257692" y="126795"/>
                  </a:cubicBezTo>
                  <a:lnTo>
                    <a:pt x="256880" y="123950"/>
                  </a:lnTo>
                  <a:cubicBezTo>
                    <a:pt x="256168" y="121398"/>
                    <a:pt x="255089" y="117651"/>
                    <a:pt x="253578" y="112889"/>
                  </a:cubicBezTo>
                  <a:cubicBezTo>
                    <a:pt x="249285" y="99338"/>
                    <a:pt x="243659" y="86257"/>
                    <a:pt x="236776" y="73824"/>
                  </a:cubicBezTo>
                  <a:cubicBezTo>
                    <a:pt x="226654" y="55384"/>
                    <a:pt x="212875" y="39191"/>
                    <a:pt x="196289" y="26263"/>
                  </a:cubicBezTo>
                  <a:cubicBezTo>
                    <a:pt x="186484" y="18694"/>
                    <a:pt x="175639" y="12598"/>
                    <a:pt x="164069" y="8178"/>
                  </a:cubicBezTo>
                  <a:cubicBezTo>
                    <a:pt x="151649" y="3441"/>
                    <a:pt x="138466" y="1003"/>
                    <a:pt x="125169" y="990"/>
                  </a:cubicBezTo>
                  <a:cubicBezTo>
                    <a:pt x="99325" y="1041"/>
                    <a:pt x="74154" y="9283"/>
                    <a:pt x="53288" y="24536"/>
                  </a:cubicBezTo>
                  <a:cubicBezTo>
                    <a:pt x="44233" y="31140"/>
                    <a:pt x="36156" y="38975"/>
                    <a:pt x="29273" y="47814"/>
                  </a:cubicBezTo>
                  <a:cubicBezTo>
                    <a:pt x="23240" y="55498"/>
                    <a:pt x="18059" y="63829"/>
                    <a:pt x="13817" y="72630"/>
                  </a:cubicBezTo>
                  <a:cubicBezTo>
                    <a:pt x="7696" y="85406"/>
                    <a:pt x="3543" y="99033"/>
                    <a:pt x="1473" y="113054"/>
                  </a:cubicBezTo>
                  <a:cubicBezTo>
                    <a:pt x="761" y="118019"/>
                    <a:pt x="368" y="121905"/>
                    <a:pt x="228" y="124407"/>
                  </a:cubicBezTo>
                  <a:cubicBezTo>
                    <a:pt x="228" y="125690"/>
                    <a:pt x="50" y="126681"/>
                    <a:pt x="0" y="127417"/>
                  </a:cubicBezTo>
                  <a:cubicBezTo>
                    <a:pt x="25" y="127760"/>
                    <a:pt x="25" y="128103"/>
                    <a:pt x="0" y="128446"/>
                  </a:cubicBezTo>
                  <a:lnTo>
                    <a:pt x="0" y="127760"/>
                  </a:lnTo>
                  <a:lnTo>
                    <a:pt x="0" y="124750"/>
                  </a:lnTo>
                  <a:cubicBezTo>
                    <a:pt x="126" y="120890"/>
                    <a:pt x="457" y="117041"/>
                    <a:pt x="990" y="113219"/>
                  </a:cubicBezTo>
                  <a:cubicBezTo>
                    <a:pt x="2908" y="99109"/>
                    <a:pt x="6984" y="85368"/>
                    <a:pt x="13055" y="72478"/>
                  </a:cubicBezTo>
                  <a:cubicBezTo>
                    <a:pt x="17259" y="63600"/>
                    <a:pt x="22427" y="55193"/>
                    <a:pt x="28473" y="47446"/>
                  </a:cubicBezTo>
                  <a:cubicBezTo>
                    <a:pt x="35381" y="38493"/>
                    <a:pt x="43509" y="30543"/>
                    <a:pt x="52628" y="23850"/>
                  </a:cubicBezTo>
                  <a:cubicBezTo>
                    <a:pt x="73659" y="8394"/>
                    <a:pt x="99071" y="38"/>
                    <a:pt x="125169" y="0"/>
                  </a:cubicBezTo>
                  <a:cubicBezTo>
                    <a:pt x="138606" y="0"/>
                    <a:pt x="151941" y="2463"/>
                    <a:pt x="164488" y="7264"/>
                  </a:cubicBezTo>
                  <a:cubicBezTo>
                    <a:pt x="176159" y="11734"/>
                    <a:pt x="187107" y="17894"/>
                    <a:pt x="196974" y="25552"/>
                  </a:cubicBezTo>
                  <a:cubicBezTo>
                    <a:pt x="213700" y="38569"/>
                    <a:pt x="227556" y="54914"/>
                    <a:pt x="237677" y="73532"/>
                  </a:cubicBezTo>
                  <a:cubicBezTo>
                    <a:pt x="244510" y="86003"/>
                    <a:pt x="250022" y="99135"/>
                    <a:pt x="254149" y="112736"/>
                  </a:cubicBezTo>
                  <a:cubicBezTo>
                    <a:pt x="255622" y="117537"/>
                    <a:pt x="256626" y="121258"/>
                    <a:pt x="257248" y="123899"/>
                  </a:cubicBezTo>
                  <a:cubicBezTo>
                    <a:pt x="257553" y="125144"/>
                    <a:pt x="257781" y="126109"/>
                    <a:pt x="257946" y="126744"/>
                  </a:cubicBezTo>
                  <a:cubicBezTo>
                    <a:pt x="258124" y="127366"/>
                    <a:pt x="258010" y="127760"/>
                    <a:pt x="258010" y="12776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0" name="Free Form 3315">
              <a:extLst>
                <a:ext uri="{FF2B5EF4-FFF2-40B4-BE49-F238E27FC236}">
                  <a16:creationId xmlns:a16="http://schemas.microsoft.com/office/drawing/2014/main" id="{C08880AE-CCE8-DC57-965D-008D4F1BEFE6}"/>
                </a:ext>
              </a:extLst>
            </p:cNvPr>
            <p:cNvSpPr/>
            <p:nvPr/>
          </p:nvSpPr>
          <p:spPr>
            <a:xfrm>
              <a:off x="25598482" y="30030342"/>
              <a:ext cx="4115" cy="5004"/>
            </a:xfrm>
            <a:custGeom>
              <a:avLst/>
              <a:gdLst/>
              <a:ahLst/>
              <a:cxnLst/>
              <a:rect l="0" t="0" r="0" b="0"/>
              <a:pathLst>
                <a:path w="4114" h="5003">
                  <a:moveTo>
                    <a:pt x="3860" y="203"/>
                  </a:moveTo>
                  <a:cubicBezTo>
                    <a:pt x="4114" y="431"/>
                    <a:pt x="3543" y="1625"/>
                    <a:pt x="2552" y="2870"/>
                  </a:cubicBezTo>
                  <a:cubicBezTo>
                    <a:pt x="1562" y="4114"/>
                    <a:pt x="571" y="5003"/>
                    <a:pt x="279" y="4800"/>
                  </a:cubicBezTo>
                  <a:cubicBezTo>
                    <a:pt x="0" y="4610"/>
                    <a:pt x="596" y="3416"/>
                    <a:pt x="1587" y="2133"/>
                  </a:cubicBezTo>
                  <a:cubicBezTo>
                    <a:pt x="2578" y="850"/>
                    <a:pt x="3606" y="0"/>
                    <a:pt x="3860" y="20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1" name="Free Form 3316">
              <a:extLst>
                <a:ext uri="{FF2B5EF4-FFF2-40B4-BE49-F238E27FC236}">
                  <a16:creationId xmlns:a16="http://schemas.microsoft.com/office/drawing/2014/main" id="{45593078-ECE7-B43C-BEC5-6F89AA28C2C0}"/>
                </a:ext>
              </a:extLst>
            </p:cNvPr>
            <p:cNvSpPr/>
            <p:nvPr/>
          </p:nvSpPr>
          <p:spPr>
            <a:xfrm>
              <a:off x="25609953" y="30013541"/>
              <a:ext cx="9118" cy="8484"/>
            </a:xfrm>
            <a:custGeom>
              <a:avLst/>
              <a:gdLst/>
              <a:ahLst/>
              <a:cxnLst/>
              <a:rect l="0" t="0" r="0" b="0"/>
              <a:pathLst>
                <a:path w="9118" h="8483">
                  <a:moveTo>
                    <a:pt x="8915" y="253"/>
                  </a:moveTo>
                  <a:cubicBezTo>
                    <a:pt x="9118" y="507"/>
                    <a:pt x="7378" y="2501"/>
                    <a:pt x="4991" y="4686"/>
                  </a:cubicBezTo>
                  <a:cubicBezTo>
                    <a:pt x="2616" y="6870"/>
                    <a:pt x="507" y="8483"/>
                    <a:pt x="253" y="8254"/>
                  </a:cubicBezTo>
                  <a:cubicBezTo>
                    <a:pt x="0" y="8039"/>
                    <a:pt x="1790" y="6019"/>
                    <a:pt x="4178" y="3797"/>
                  </a:cubicBezTo>
                  <a:cubicBezTo>
                    <a:pt x="6553" y="1587"/>
                    <a:pt x="8686" y="0"/>
                    <a:pt x="8915" y="25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2" name="Free Form 3317">
              <a:extLst>
                <a:ext uri="{FF2B5EF4-FFF2-40B4-BE49-F238E27FC236}">
                  <a16:creationId xmlns:a16="http://schemas.microsoft.com/office/drawing/2014/main" id="{FC563C03-C328-2E9C-819B-37D679ADEEE0}"/>
                </a:ext>
              </a:extLst>
            </p:cNvPr>
            <p:cNvSpPr/>
            <p:nvPr/>
          </p:nvSpPr>
          <p:spPr>
            <a:xfrm>
              <a:off x="25628006" y="30000480"/>
              <a:ext cx="10388" cy="6159"/>
            </a:xfrm>
            <a:custGeom>
              <a:avLst/>
              <a:gdLst/>
              <a:ahLst/>
              <a:cxnLst/>
              <a:rect l="0" t="0" r="0" b="0"/>
              <a:pathLst>
                <a:path w="10388" h="6159">
                  <a:moveTo>
                    <a:pt x="10223" y="0"/>
                  </a:moveTo>
                  <a:cubicBezTo>
                    <a:pt x="10388" y="279"/>
                    <a:pt x="8204" y="1765"/>
                    <a:pt x="5460" y="3467"/>
                  </a:cubicBezTo>
                  <a:cubicBezTo>
                    <a:pt x="3873" y="4660"/>
                    <a:pt x="2095" y="5575"/>
                    <a:pt x="203" y="6159"/>
                  </a:cubicBezTo>
                  <a:cubicBezTo>
                    <a:pt x="0" y="5880"/>
                    <a:pt x="2019" y="4140"/>
                    <a:pt x="4825" y="2412"/>
                  </a:cubicBezTo>
                  <a:cubicBezTo>
                    <a:pt x="6413" y="1206"/>
                    <a:pt x="8267" y="380"/>
                    <a:pt x="10223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3" name="Free Form 3318">
              <a:extLst>
                <a:ext uri="{FF2B5EF4-FFF2-40B4-BE49-F238E27FC236}">
                  <a16:creationId xmlns:a16="http://schemas.microsoft.com/office/drawing/2014/main" id="{14BC7979-FC95-092E-CB3C-43049E33C302}"/>
                </a:ext>
              </a:extLst>
            </p:cNvPr>
            <p:cNvSpPr/>
            <p:nvPr/>
          </p:nvSpPr>
          <p:spPr>
            <a:xfrm>
              <a:off x="25649020" y="29991910"/>
              <a:ext cx="11100" cy="3632"/>
            </a:xfrm>
            <a:custGeom>
              <a:avLst/>
              <a:gdLst/>
              <a:ahLst/>
              <a:cxnLst/>
              <a:rect l="0" t="0" r="0" b="0"/>
              <a:pathLst>
                <a:path w="11099" h="3632">
                  <a:moveTo>
                    <a:pt x="11099" y="25"/>
                  </a:moveTo>
                  <a:cubicBezTo>
                    <a:pt x="9461" y="1142"/>
                    <a:pt x="7619" y="1930"/>
                    <a:pt x="5676" y="2324"/>
                  </a:cubicBezTo>
                  <a:cubicBezTo>
                    <a:pt x="3873" y="3086"/>
                    <a:pt x="1955" y="3530"/>
                    <a:pt x="0" y="3632"/>
                  </a:cubicBezTo>
                  <a:cubicBezTo>
                    <a:pt x="1587" y="2425"/>
                    <a:pt x="3428" y="1574"/>
                    <a:pt x="5397" y="1155"/>
                  </a:cubicBezTo>
                  <a:cubicBezTo>
                    <a:pt x="7200" y="393"/>
                    <a:pt x="9143" y="0"/>
                    <a:pt x="11099" y="2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4" name="Free Form 3319">
              <a:extLst>
                <a:ext uri="{FF2B5EF4-FFF2-40B4-BE49-F238E27FC236}">
                  <a16:creationId xmlns:a16="http://schemas.microsoft.com/office/drawing/2014/main" id="{92156FC4-57BA-AA06-3611-F88B58AE0C3D}"/>
                </a:ext>
              </a:extLst>
            </p:cNvPr>
            <p:cNvSpPr/>
            <p:nvPr/>
          </p:nvSpPr>
          <p:spPr>
            <a:xfrm>
              <a:off x="25671537" y="29986484"/>
              <a:ext cx="11493" cy="2439"/>
            </a:xfrm>
            <a:custGeom>
              <a:avLst/>
              <a:gdLst/>
              <a:ahLst/>
              <a:cxnLst/>
              <a:rect l="0" t="0" r="0" b="0"/>
              <a:pathLst>
                <a:path w="11493" h="2438">
                  <a:moveTo>
                    <a:pt x="11493" y="0"/>
                  </a:moveTo>
                  <a:cubicBezTo>
                    <a:pt x="7873" y="1600"/>
                    <a:pt x="3949" y="2438"/>
                    <a:pt x="0" y="2438"/>
                  </a:cubicBezTo>
                  <a:cubicBezTo>
                    <a:pt x="3619" y="838"/>
                    <a:pt x="7531" y="12"/>
                    <a:pt x="11493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5" name="Free Form 3320">
              <a:extLst>
                <a:ext uri="{FF2B5EF4-FFF2-40B4-BE49-F238E27FC236}">
                  <a16:creationId xmlns:a16="http://schemas.microsoft.com/office/drawing/2014/main" id="{48833366-9144-5829-8923-51B8A9E23A47}"/>
                </a:ext>
              </a:extLst>
            </p:cNvPr>
            <p:cNvSpPr/>
            <p:nvPr/>
          </p:nvSpPr>
          <p:spPr>
            <a:xfrm>
              <a:off x="25694785" y="29983008"/>
              <a:ext cx="11583" cy="2007"/>
            </a:xfrm>
            <a:custGeom>
              <a:avLst/>
              <a:gdLst/>
              <a:ahLst/>
              <a:cxnLst/>
              <a:rect l="0" t="0" r="0" b="0"/>
              <a:pathLst>
                <a:path w="11582" h="2006">
                  <a:moveTo>
                    <a:pt x="11582" y="380"/>
                  </a:moveTo>
                  <a:cubicBezTo>
                    <a:pt x="9791" y="1168"/>
                    <a:pt x="7861" y="1574"/>
                    <a:pt x="5905" y="1600"/>
                  </a:cubicBezTo>
                  <a:cubicBezTo>
                    <a:pt x="3962" y="2006"/>
                    <a:pt x="1943" y="2006"/>
                    <a:pt x="0" y="1600"/>
                  </a:cubicBezTo>
                  <a:cubicBezTo>
                    <a:pt x="1790" y="812"/>
                    <a:pt x="3721" y="406"/>
                    <a:pt x="5676" y="380"/>
                  </a:cubicBezTo>
                  <a:cubicBezTo>
                    <a:pt x="7632" y="0"/>
                    <a:pt x="9626" y="0"/>
                    <a:pt x="11582" y="38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6" name="Free Form 3321">
              <a:extLst>
                <a:ext uri="{FF2B5EF4-FFF2-40B4-BE49-F238E27FC236}">
                  <a16:creationId xmlns:a16="http://schemas.microsoft.com/office/drawing/2014/main" id="{8172CB6B-CABB-3362-58A5-B5B720692949}"/>
                </a:ext>
              </a:extLst>
            </p:cNvPr>
            <p:cNvSpPr/>
            <p:nvPr/>
          </p:nvSpPr>
          <p:spPr>
            <a:xfrm>
              <a:off x="25718146" y="29982105"/>
              <a:ext cx="11785" cy="1728"/>
            </a:xfrm>
            <a:custGeom>
              <a:avLst/>
              <a:gdLst/>
              <a:ahLst/>
              <a:cxnLst/>
              <a:rect l="0" t="0" r="0" b="0"/>
              <a:pathLst>
                <a:path w="11785" h="1727">
                  <a:moveTo>
                    <a:pt x="11785" y="1028"/>
                  </a:moveTo>
                  <a:cubicBezTo>
                    <a:pt x="9867" y="1574"/>
                    <a:pt x="7861" y="1727"/>
                    <a:pt x="5880" y="1485"/>
                  </a:cubicBezTo>
                  <a:cubicBezTo>
                    <a:pt x="3898" y="1612"/>
                    <a:pt x="1892" y="1358"/>
                    <a:pt x="0" y="749"/>
                  </a:cubicBezTo>
                  <a:cubicBezTo>
                    <a:pt x="1917" y="165"/>
                    <a:pt x="3924" y="0"/>
                    <a:pt x="5905" y="266"/>
                  </a:cubicBezTo>
                  <a:cubicBezTo>
                    <a:pt x="7899" y="126"/>
                    <a:pt x="9893" y="393"/>
                    <a:pt x="11785" y="102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7" name="Free Form 3322">
              <a:extLst>
                <a:ext uri="{FF2B5EF4-FFF2-40B4-BE49-F238E27FC236}">
                  <a16:creationId xmlns:a16="http://schemas.microsoft.com/office/drawing/2014/main" id="{9E073F43-2250-83A4-D222-15CFDFB4CB1D}"/>
                </a:ext>
              </a:extLst>
            </p:cNvPr>
            <p:cNvSpPr/>
            <p:nvPr/>
          </p:nvSpPr>
          <p:spPr>
            <a:xfrm>
              <a:off x="25741689" y="29983532"/>
              <a:ext cx="11722" cy="1955"/>
            </a:xfrm>
            <a:custGeom>
              <a:avLst/>
              <a:gdLst/>
              <a:ahLst/>
              <a:cxnLst/>
              <a:rect l="0" t="0" r="0" b="0"/>
              <a:pathLst>
                <a:path w="11721" h="1955">
                  <a:moveTo>
                    <a:pt x="11721" y="1562"/>
                  </a:moveTo>
                  <a:cubicBezTo>
                    <a:pt x="7772" y="1955"/>
                    <a:pt x="3784" y="1562"/>
                    <a:pt x="0" y="393"/>
                  </a:cubicBezTo>
                  <a:cubicBezTo>
                    <a:pt x="1943" y="0"/>
                    <a:pt x="3949" y="0"/>
                    <a:pt x="5905" y="393"/>
                  </a:cubicBezTo>
                  <a:cubicBezTo>
                    <a:pt x="7899" y="380"/>
                    <a:pt x="9880" y="774"/>
                    <a:pt x="11721" y="1562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8" name="Free Form 3323">
              <a:extLst>
                <a:ext uri="{FF2B5EF4-FFF2-40B4-BE49-F238E27FC236}">
                  <a16:creationId xmlns:a16="http://schemas.microsoft.com/office/drawing/2014/main" id="{3CB8AE73-6D75-3899-394C-1FCFB1657C5B}"/>
                </a:ext>
              </a:extLst>
            </p:cNvPr>
            <p:cNvSpPr/>
            <p:nvPr/>
          </p:nvSpPr>
          <p:spPr>
            <a:xfrm>
              <a:off x="25765023" y="29986562"/>
              <a:ext cx="11583" cy="2679"/>
            </a:xfrm>
            <a:custGeom>
              <a:avLst/>
              <a:gdLst/>
              <a:ahLst/>
              <a:cxnLst/>
              <a:rect l="0" t="0" r="0" b="0"/>
              <a:pathLst>
                <a:path w="11582" h="2679">
                  <a:moveTo>
                    <a:pt x="11582" y="2476"/>
                  </a:moveTo>
                  <a:cubicBezTo>
                    <a:pt x="9601" y="2679"/>
                    <a:pt x="7594" y="2501"/>
                    <a:pt x="5676" y="1943"/>
                  </a:cubicBezTo>
                  <a:cubicBezTo>
                    <a:pt x="3682" y="1752"/>
                    <a:pt x="1752" y="1168"/>
                    <a:pt x="0" y="203"/>
                  </a:cubicBezTo>
                  <a:cubicBezTo>
                    <a:pt x="1968" y="0"/>
                    <a:pt x="3975" y="177"/>
                    <a:pt x="5880" y="749"/>
                  </a:cubicBezTo>
                  <a:cubicBezTo>
                    <a:pt x="7873" y="927"/>
                    <a:pt x="9816" y="1511"/>
                    <a:pt x="11582" y="247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59" name="Free Form 3324">
              <a:extLst>
                <a:ext uri="{FF2B5EF4-FFF2-40B4-BE49-F238E27FC236}">
                  <a16:creationId xmlns:a16="http://schemas.microsoft.com/office/drawing/2014/main" id="{D67919A0-C3DC-DEE3-36BF-9AED5B95BCED}"/>
                </a:ext>
              </a:extLst>
            </p:cNvPr>
            <p:cNvSpPr/>
            <p:nvPr/>
          </p:nvSpPr>
          <p:spPr>
            <a:xfrm>
              <a:off x="25788042" y="29991773"/>
              <a:ext cx="11277" cy="3479"/>
            </a:xfrm>
            <a:custGeom>
              <a:avLst/>
              <a:gdLst/>
              <a:ahLst/>
              <a:cxnLst/>
              <a:rect l="0" t="0" r="0" b="0"/>
              <a:pathLst>
                <a:path w="11277" h="3479">
                  <a:moveTo>
                    <a:pt x="11277" y="3454"/>
                  </a:moveTo>
                  <a:cubicBezTo>
                    <a:pt x="9270" y="3479"/>
                    <a:pt x="7289" y="3086"/>
                    <a:pt x="5460" y="2285"/>
                  </a:cubicBezTo>
                  <a:cubicBezTo>
                    <a:pt x="3517" y="1879"/>
                    <a:pt x="1676" y="1117"/>
                    <a:pt x="0" y="50"/>
                  </a:cubicBezTo>
                  <a:cubicBezTo>
                    <a:pt x="1955" y="0"/>
                    <a:pt x="3886" y="355"/>
                    <a:pt x="5689" y="1130"/>
                  </a:cubicBezTo>
                  <a:cubicBezTo>
                    <a:pt x="7683" y="1523"/>
                    <a:pt x="9588" y="2311"/>
                    <a:pt x="11277" y="345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0" name="Free Form 3325">
              <a:extLst>
                <a:ext uri="{FF2B5EF4-FFF2-40B4-BE49-F238E27FC236}">
                  <a16:creationId xmlns:a16="http://schemas.microsoft.com/office/drawing/2014/main" id="{B0483702-79C1-E015-025B-63508A56B144}"/>
                </a:ext>
              </a:extLst>
            </p:cNvPr>
            <p:cNvSpPr/>
            <p:nvPr/>
          </p:nvSpPr>
          <p:spPr>
            <a:xfrm>
              <a:off x="25810164" y="29999519"/>
              <a:ext cx="10731" cy="5106"/>
            </a:xfrm>
            <a:custGeom>
              <a:avLst/>
              <a:gdLst/>
              <a:ahLst/>
              <a:cxnLst/>
              <a:rect l="0" t="0" r="0" b="0"/>
              <a:pathLst>
                <a:path w="10731" h="5105">
                  <a:moveTo>
                    <a:pt x="10731" y="5105"/>
                  </a:moveTo>
                  <a:cubicBezTo>
                    <a:pt x="8712" y="4851"/>
                    <a:pt x="6781" y="4165"/>
                    <a:pt x="5054" y="3086"/>
                  </a:cubicBezTo>
                  <a:cubicBezTo>
                    <a:pt x="3174" y="2412"/>
                    <a:pt x="1460" y="1358"/>
                    <a:pt x="0" y="0"/>
                  </a:cubicBezTo>
                  <a:cubicBezTo>
                    <a:pt x="2006" y="266"/>
                    <a:pt x="3949" y="952"/>
                    <a:pt x="5676" y="2006"/>
                  </a:cubicBezTo>
                  <a:cubicBezTo>
                    <a:pt x="7543" y="2705"/>
                    <a:pt x="9270" y="3759"/>
                    <a:pt x="10731" y="510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1" name="Free Form 3326">
              <a:extLst>
                <a:ext uri="{FF2B5EF4-FFF2-40B4-BE49-F238E27FC236}">
                  <a16:creationId xmlns:a16="http://schemas.microsoft.com/office/drawing/2014/main" id="{615E06F4-B748-D678-A155-2D93A3F9D818}"/>
                </a:ext>
              </a:extLst>
            </p:cNvPr>
            <p:cNvSpPr/>
            <p:nvPr/>
          </p:nvSpPr>
          <p:spPr>
            <a:xfrm>
              <a:off x="25830863" y="30010642"/>
              <a:ext cx="9995" cy="6731"/>
            </a:xfrm>
            <a:custGeom>
              <a:avLst/>
              <a:gdLst/>
              <a:ahLst/>
              <a:cxnLst/>
              <a:rect l="0" t="0" r="0" b="0"/>
              <a:pathLst>
                <a:path w="9994" h="6730">
                  <a:moveTo>
                    <a:pt x="9791" y="6730"/>
                  </a:moveTo>
                  <a:cubicBezTo>
                    <a:pt x="7899" y="6146"/>
                    <a:pt x="6134" y="5181"/>
                    <a:pt x="4622" y="3886"/>
                  </a:cubicBezTo>
                  <a:cubicBezTo>
                    <a:pt x="1981" y="2044"/>
                    <a:pt x="0" y="292"/>
                    <a:pt x="165" y="0"/>
                  </a:cubicBezTo>
                  <a:cubicBezTo>
                    <a:pt x="2057" y="584"/>
                    <a:pt x="3822" y="1549"/>
                    <a:pt x="5333" y="2844"/>
                  </a:cubicBezTo>
                  <a:cubicBezTo>
                    <a:pt x="8000" y="4749"/>
                    <a:pt x="9994" y="6565"/>
                    <a:pt x="9791" y="673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2" name="Free Form 3327">
              <a:extLst>
                <a:ext uri="{FF2B5EF4-FFF2-40B4-BE49-F238E27FC236}">
                  <a16:creationId xmlns:a16="http://schemas.microsoft.com/office/drawing/2014/main" id="{72563EFE-B320-6C11-3333-D523B98A0E02}"/>
                </a:ext>
              </a:extLst>
            </p:cNvPr>
            <p:cNvSpPr/>
            <p:nvPr/>
          </p:nvSpPr>
          <p:spPr>
            <a:xfrm>
              <a:off x="25849434" y="30024752"/>
              <a:ext cx="4623" cy="4571"/>
            </a:xfrm>
            <a:custGeom>
              <a:avLst/>
              <a:gdLst/>
              <a:ahLst/>
              <a:cxnLst/>
              <a:rect l="0" t="0" r="0" b="0"/>
              <a:pathLst>
                <a:path w="4622" h="4571">
                  <a:moveTo>
                    <a:pt x="4394" y="4317"/>
                  </a:moveTo>
                  <a:cubicBezTo>
                    <a:pt x="4140" y="4571"/>
                    <a:pt x="3035" y="3835"/>
                    <a:pt x="1866" y="2730"/>
                  </a:cubicBezTo>
                  <a:cubicBezTo>
                    <a:pt x="698" y="1625"/>
                    <a:pt x="0" y="507"/>
                    <a:pt x="215" y="253"/>
                  </a:cubicBezTo>
                  <a:cubicBezTo>
                    <a:pt x="444" y="0"/>
                    <a:pt x="1549" y="736"/>
                    <a:pt x="2717" y="1854"/>
                  </a:cubicBezTo>
                  <a:cubicBezTo>
                    <a:pt x="3886" y="2959"/>
                    <a:pt x="4622" y="4089"/>
                    <a:pt x="4394" y="4317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3" name="Free Form 3328">
              <a:extLst>
                <a:ext uri="{FF2B5EF4-FFF2-40B4-BE49-F238E27FC236}">
                  <a16:creationId xmlns:a16="http://schemas.microsoft.com/office/drawing/2014/main" id="{2B268740-8DF4-1AEC-085B-DBFE67513D43}"/>
                </a:ext>
              </a:extLst>
            </p:cNvPr>
            <p:cNvSpPr/>
            <p:nvPr/>
          </p:nvSpPr>
          <p:spPr>
            <a:xfrm>
              <a:off x="25598876" y="30035037"/>
              <a:ext cx="7328" cy="9677"/>
            </a:xfrm>
            <a:custGeom>
              <a:avLst/>
              <a:gdLst/>
              <a:ahLst/>
              <a:cxnLst/>
              <a:rect l="0" t="0" r="0" b="0"/>
              <a:pathLst>
                <a:path w="7327" h="9677">
                  <a:moveTo>
                    <a:pt x="7073" y="9448"/>
                  </a:moveTo>
                  <a:cubicBezTo>
                    <a:pt x="6845" y="9677"/>
                    <a:pt x="4800" y="7975"/>
                    <a:pt x="2844" y="5384"/>
                  </a:cubicBezTo>
                  <a:cubicBezTo>
                    <a:pt x="1447" y="3936"/>
                    <a:pt x="457" y="2133"/>
                    <a:pt x="0" y="165"/>
                  </a:cubicBezTo>
                  <a:cubicBezTo>
                    <a:pt x="292" y="0"/>
                    <a:pt x="1765" y="2120"/>
                    <a:pt x="3721" y="4648"/>
                  </a:cubicBezTo>
                  <a:cubicBezTo>
                    <a:pt x="5689" y="7175"/>
                    <a:pt x="7327" y="9194"/>
                    <a:pt x="7073" y="944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4" name="Free Form 3329">
              <a:extLst>
                <a:ext uri="{FF2B5EF4-FFF2-40B4-BE49-F238E27FC236}">
                  <a16:creationId xmlns:a16="http://schemas.microsoft.com/office/drawing/2014/main" id="{2172C4A5-AE1E-22B1-A2AD-3601EA102DDC}"/>
                </a:ext>
              </a:extLst>
            </p:cNvPr>
            <p:cNvSpPr/>
            <p:nvPr/>
          </p:nvSpPr>
          <p:spPr>
            <a:xfrm>
              <a:off x="25614328" y="30052405"/>
              <a:ext cx="9842" cy="6731"/>
            </a:xfrm>
            <a:custGeom>
              <a:avLst/>
              <a:gdLst/>
              <a:ahLst/>
              <a:cxnLst/>
              <a:rect l="0" t="0" r="0" b="0"/>
              <a:pathLst>
                <a:path w="9842" h="6730">
                  <a:moveTo>
                    <a:pt x="9677" y="6730"/>
                  </a:moveTo>
                  <a:cubicBezTo>
                    <a:pt x="7810" y="6146"/>
                    <a:pt x="6070" y="5181"/>
                    <a:pt x="4597" y="3886"/>
                  </a:cubicBezTo>
                  <a:cubicBezTo>
                    <a:pt x="1955" y="1993"/>
                    <a:pt x="0" y="253"/>
                    <a:pt x="228" y="0"/>
                  </a:cubicBezTo>
                  <a:cubicBezTo>
                    <a:pt x="2095" y="596"/>
                    <a:pt x="3822" y="1562"/>
                    <a:pt x="5308" y="2844"/>
                  </a:cubicBezTo>
                  <a:cubicBezTo>
                    <a:pt x="7886" y="4711"/>
                    <a:pt x="9842" y="6451"/>
                    <a:pt x="9677" y="673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5" name="Free Form 3330">
              <a:extLst>
                <a:ext uri="{FF2B5EF4-FFF2-40B4-BE49-F238E27FC236}">
                  <a16:creationId xmlns:a16="http://schemas.microsoft.com/office/drawing/2014/main" id="{6A098132-ACBA-AEC1-FA16-F1FDD6F7CF2D}"/>
                </a:ext>
              </a:extLst>
            </p:cNvPr>
            <p:cNvSpPr/>
            <p:nvPr/>
          </p:nvSpPr>
          <p:spPr>
            <a:xfrm>
              <a:off x="25634059" y="30065006"/>
              <a:ext cx="10502" cy="5004"/>
            </a:xfrm>
            <a:custGeom>
              <a:avLst/>
              <a:gdLst/>
              <a:ahLst/>
              <a:cxnLst/>
              <a:rect l="0" t="0" r="0" b="0"/>
              <a:pathLst>
                <a:path w="10502" h="5003">
                  <a:moveTo>
                    <a:pt x="10502" y="5003"/>
                  </a:moveTo>
                  <a:cubicBezTo>
                    <a:pt x="6692" y="4076"/>
                    <a:pt x="3124" y="2374"/>
                    <a:pt x="0" y="0"/>
                  </a:cubicBezTo>
                  <a:cubicBezTo>
                    <a:pt x="1943" y="279"/>
                    <a:pt x="3822" y="952"/>
                    <a:pt x="5511" y="1968"/>
                  </a:cubicBezTo>
                  <a:cubicBezTo>
                    <a:pt x="7365" y="2616"/>
                    <a:pt x="9067" y="3657"/>
                    <a:pt x="10502" y="500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6" name="Free Form 3331">
              <a:extLst>
                <a:ext uri="{FF2B5EF4-FFF2-40B4-BE49-F238E27FC236}">
                  <a16:creationId xmlns:a16="http://schemas.microsoft.com/office/drawing/2014/main" id="{D29F7B5B-DF02-A9AA-6180-DD522DA2152D}"/>
                </a:ext>
              </a:extLst>
            </p:cNvPr>
            <p:cNvSpPr/>
            <p:nvPr/>
          </p:nvSpPr>
          <p:spPr>
            <a:xfrm>
              <a:off x="25655601" y="30073966"/>
              <a:ext cx="11189" cy="2997"/>
            </a:xfrm>
            <a:custGeom>
              <a:avLst/>
              <a:gdLst/>
              <a:ahLst/>
              <a:cxnLst/>
              <a:rect l="0" t="0" r="0" b="0"/>
              <a:pathLst>
                <a:path w="11188" h="2997">
                  <a:moveTo>
                    <a:pt x="11188" y="2857"/>
                  </a:moveTo>
                  <a:cubicBezTo>
                    <a:pt x="9258" y="2997"/>
                    <a:pt x="7327" y="2743"/>
                    <a:pt x="5511" y="2095"/>
                  </a:cubicBezTo>
                  <a:cubicBezTo>
                    <a:pt x="3543" y="1828"/>
                    <a:pt x="1663" y="1117"/>
                    <a:pt x="0" y="12"/>
                  </a:cubicBezTo>
                  <a:cubicBezTo>
                    <a:pt x="1930" y="0"/>
                    <a:pt x="3848" y="304"/>
                    <a:pt x="5676" y="927"/>
                  </a:cubicBezTo>
                  <a:cubicBezTo>
                    <a:pt x="7632" y="1193"/>
                    <a:pt x="9499" y="1854"/>
                    <a:pt x="11188" y="2857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7" name="Free Form 3332">
              <a:extLst>
                <a:ext uri="{FF2B5EF4-FFF2-40B4-BE49-F238E27FC236}">
                  <a16:creationId xmlns:a16="http://schemas.microsoft.com/office/drawing/2014/main" id="{D1D38B82-E06F-8C18-4F86-6F52020A6F34}"/>
                </a:ext>
              </a:extLst>
            </p:cNvPr>
            <p:cNvSpPr/>
            <p:nvPr/>
          </p:nvSpPr>
          <p:spPr>
            <a:xfrm>
              <a:off x="25678142" y="30078982"/>
              <a:ext cx="11532" cy="2464"/>
            </a:xfrm>
            <a:custGeom>
              <a:avLst/>
              <a:gdLst/>
              <a:ahLst/>
              <a:cxnLst/>
              <a:rect l="0" t="0" r="0" b="0"/>
              <a:pathLst>
                <a:path w="11531" h="2463">
                  <a:moveTo>
                    <a:pt x="11531" y="2184"/>
                  </a:moveTo>
                  <a:cubicBezTo>
                    <a:pt x="9575" y="2463"/>
                    <a:pt x="7581" y="2349"/>
                    <a:pt x="5676" y="1816"/>
                  </a:cubicBezTo>
                  <a:cubicBezTo>
                    <a:pt x="3695" y="1701"/>
                    <a:pt x="1765" y="1155"/>
                    <a:pt x="0" y="228"/>
                  </a:cubicBezTo>
                  <a:cubicBezTo>
                    <a:pt x="1904" y="0"/>
                    <a:pt x="3835" y="126"/>
                    <a:pt x="5676" y="622"/>
                  </a:cubicBezTo>
                  <a:cubicBezTo>
                    <a:pt x="7721" y="723"/>
                    <a:pt x="9715" y="1257"/>
                    <a:pt x="11531" y="218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8" name="Free Form 3333">
              <a:extLst>
                <a:ext uri="{FF2B5EF4-FFF2-40B4-BE49-F238E27FC236}">
                  <a16:creationId xmlns:a16="http://schemas.microsoft.com/office/drawing/2014/main" id="{D738ADCC-73CB-B058-FB47-8D1D57AF9F5E}"/>
                </a:ext>
              </a:extLst>
            </p:cNvPr>
            <p:cNvSpPr/>
            <p:nvPr/>
          </p:nvSpPr>
          <p:spPr>
            <a:xfrm>
              <a:off x="25701280" y="30082183"/>
              <a:ext cx="11532" cy="1905"/>
            </a:xfrm>
            <a:custGeom>
              <a:avLst/>
              <a:gdLst/>
              <a:ahLst/>
              <a:cxnLst/>
              <a:rect l="0" t="0" r="0" b="0"/>
              <a:pathLst>
                <a:path w="11531" h="1904">
                  <a:moveTo>
                    <a:pt x="11531" y="1511"/>
                  </a:moveTo>
                  <a:cubicBezTo>
                    <a:pt x="9601" y="1904"/>
                    <a:pt x="7607" y="1904"/>
                    <a:pt x="5689" y="1511"/>
                  </a:cubicBezTo>
                  <a:cubicBezTo>
                    <a:pt x="3733" y="1536"/>
                    <a:pt x="1803" y="1155"/>
                    <a:pt x="0" y="406"/>
                  </a:cubicBezTo>
                  <a:cubicBezTo>
                    <a:pt x="1930" y="0"/>
                    <a:pt x="3924" y="0"/>
                    <a:pt x="5854" y="406"/>
                  </a:cubicBezTo>
                  <a:cubicBezTo>
                    <a:pt x="7797" y="380"/>
                    <a:pt x="9728" y="761"/>
                    <a:pt x="11531" y="15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69" name="Free Form 3334">
              <a:extLst>
                <a:ext uri="{FF2B5EF4-FFF2-40B4-BE49-F238E27FC236}">
                  <a16:creationId xmlns:a16="http://schemas.microsoft.com/office/drawing/2014/main" id="{8E98CF06-C4EF-0F3D-EF81-B284641DC2B0}"/>
                </a:ext>
              </a:extLst>
            </p:cNvPr>
            <p:cNvSpPr/>
            <p:nvPr/>
          </p:nvSpPr>
          <p:spPr>
            <a:xfrm>
              <a:off x="25724446" y="30083322"/>
              <a:ext cx="11646" cy="1613"/>
            </a:xfrm>
            <a:custGeom>
              <a:avLst/>
              <a:gdLst/>
              <a:ahLst/>
              <a:cxnLst/>
              <a:rect l="0" t="0" r="0" b="0"/>
              <a:pathLst>
                <a:path w="11645" h="1612">
                  <a:moveTo>
                    <a:pt x="11645" y="825"/>
                  </a:moveTo>
                  <a:cubicBezTo>
                    <a:pt x="7810" y="1612"/>
                    <a:pt x="3848" y="1612"/>
                    <a:pt x="0" y="825"/>
                  </a:cubicBezTo>
                  <a:cubicBezTo>
                    <a:pt x="1879" y="215"/>
                    <a:pt x="3860" y="0"/>
                    <a:pt x="5829" y="203"/>
                  </a:cubicBezTo>
                  <a:cubicBezTo>
                    <a:pt x="7785" y="25"/>
                    <a:pt x="9766" y="228"/>
                    <a:pt x="11645" y="82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0" name="Free Form 3335">
              <a:extLst>
                <a:ext uri="{FF2B5EF4-FFF2-40B4-BE49-F238E27FC236}">
                  <a16:creationId xmlns:a16="http://schemas.microsoft.com/office/drawing/2014/main" id="{FA93966C-906D-9769-E196-17AB7671C417}"/>
                </a:ext>
              </a:extLst>
            </p:cNvPr>
            <p:cNvSpPr/>
            <p:nvPr/>
          </p:nvSpPr>
          <p:spPr>
            <a:xfrm>
              <a:off x="25747757" y="30081865"/>
              <a:ext cx="11531" cy="2032"/>
            </a:xfrm>
            <a:custGeom>
              <a:avLst/>
              <a:gdLst/>
              <a:ahLst/>
              <a:cxnLst/>
              <a:rect l="0" t="0" r="0" b="0"/>
              <a:pathLst>
                <a:path w="11531" h="2031">
                  <a:moveTo>
                    <a:pt x="11531" y="380"/>
                  </a:moveTo>
                  <a:cubicBezTo>
                    <a:pt x="9753" y="1193"/>
                    <a:pt x="7810" y="1625"/>
                    <a:pt x="5854" y="1625"/>
                  </a:cubicBezTo>
                  <a:cubicBezTo>
                    <a:pt x="3924" y="2031"/>
                    <a:pt x="1930" y="2031"/>
                    <a:pt x="0" y="1625"/>
                  </a:cubicBezTo>
                  <a:cubicBezTo>
                    <a:pt x="1790" y="838"/>
                    <a:pt x="3721" y="419"/>
                    <a:pt x="5676" y="380"/>
                  </a:cubicBezTo>
                  <a:cubicBezTo>
                    <a:pt x="7619" y="0"/>
                    <a:pt x="9601" y="0"/>
                    <a:pt x="11531" y="38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1" name="Free Form 3336">
              <a:extLst>
                <a:ext uri="{FF2B5EF4-FFF2-40B4-BE49-F238E27FC236}">
                  <a16:creationId xmlns:a16="http://schemas.microsoft.com/office/drawing/2014/main" id="{AF66B9D4-2840-F56C-DE45-8923C82655D4}"/>
                </a:ext>
              </a:extLst>
            </p:cNvPr>
            <p:cNvSpPr/>
            <p:nvPr/>
          </p:nvSpPr>
          <p:spPr>
            <a:xfrm>
              <a:off x="25770760" y="30077550"/>
              <a:ext cx="11354" cy="2794"/>
            </a:xfrm>
            <a:custGeom>
              <a:avLst/>
              <a:gdLst/>
              <a:ahLst/>
              <a:cxnLst/>
              <a:rect l="0" t="0" r="0" b="0"/>
              <a:pathLst>
                <a:path w="11353" h="2793">
                  <a:moveTo>
                    <a:pt x="11353" y="152"/>
                  </a:moveTo>
                  <a:cubicBezTo>
                    <a:pt x="7785" y="1803"/>
                    <a:pt x="3924" y="2705"/>
                    <a:pt x="0" y="2793"/>
                  </a:cubicBezTo>
                  <a:cubicBezTo>
                    <a:pt x="1676" y="1777"/>
                    <a:pt x="3555" y="1117"/>
                    <a:pt x="5499" y="863"/>
                  </a:cubicBezTo>
                  <a:cubicBezTo>
                    <a:pt x="7391" y="241"/>
                    <a:pt x="9372" y="0"/>
                    <a:pt x="11353" y="152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2" name="Free Form 3337">
              <a:extLst>
                <a:ext uri="{FF2B5EF4-FFF2-40B4-BE49-F238E27FC236}">
                  <a16:creationId xmlns:a16="http://schemas.microsoft.com/office/drawing/2014/main" id="{74800BB1-B05C-82F3-9FA8-BE67B75D6DDE}"/>
                </a:ext>
              </a:extLst>
            </p:cNvPr>
            <p:cNvSpPr/>
            <p:nvPr/>
          </p:nvSpPr>
          <p:spPr>
            <a:xfrm>
              <a:off x="25793249" y="30070236"/>
              <a:ext cx="10896" cy="4115"/>
            </a:xfrm>
            <a:custGeom>
              <a:avLst/>
              <a:gdLst/>
              <a:ahLst/>
              <a:cxnLst/>
              <a:rect l="0" t="0" r="0" b="0"/>
              <a:pathLst>
                <a:path w="10896" h="4114">
                  <a:moveTo>
                    <a:pt x="10896" y="0"/>
                  </a:moveTo>
                  <a:cubicBezTo>
                    <a:pt x="9347" y="1219"/>
                    <a:pt x="7569" y="2108"/>
                    <a:pt x="5676" y="2616"/>
                  </a:cubicBezTo>
                  <a:cubicBezTo>
                    <a:pt x="3898" y="3505"/>
                    <a:pt x="1968" y="4013"/>
                    <a:pt x="0" y="4114"/>
                  </a:cubicBezTo>
                  <a:cubicBezTo>
                    <a:pt x="1549" y="2895"/>
                    <a:pt x="3340" y="2006"/>
                    <a:pt x="5245" y="1511"/>
                  </a:cubicBezTo>
                  <a:cubicBezTo>
                    <a:pt x="7010" y="622"/>
                    <a:pt x="8928" y="114"/>
                    <a:pt x="10896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3" name="Free Form 3338">
              <a:extLst>
                <a:ext uri="{FF2B5EF4-FFF2-40B4-BE49-F238E27FC236}">
                  <a16:creationId xmlns:a16="http://schemas.microsoft.com/office/drawing/2014/main" id="{AC56DAB7-358A-1B17-3BB6-CFD5AF006941}"/>
                </a:ext>
              </a:extLst>
            </p:cNvPr>
            <p:cNvSpPr/>
            <p:nvPr/>
          </p:nvSpPr>
          <p:spPr>
            <a:xfrm>
              <a:off x="25814560" y="30059788"/>
              <a:ext cx="10503" cy="5626"/>
            </a:xfrm>
            <a:custGeom>
              <a:avLst/>
              <a:gdLst/>
              <a:ahLst/>
              <a:cxnLst/>
              <a:rect l="0" t="0" r="0" b="0"/>
              <a:pathLst>
                <a:path w="10502" h="5626">
                  <a:moveTo>
                    <a:pt x="10337" y="0"/>
                  </a:moveTo>
                  <a:cubicBezTo>
                    <a:pt x="10502" y="279"/>
                    <a:pt x="8356" y="1765"/>
                    <a:pt x="5537" y="3314"/>
                  </a:cubicBezTo>
                  <a:cubicBezTo>
                    <a:pt x="3911" y="4432"/>
                    <a:pt x="2070" y="5219"/>
                    <a:pt x="152" y="5626"/>
                  </a:cubicBezTo>
                  <a:cubicBezTo>
                    <a:pt x="0" y="5308"/>
                    <a:pt x="2158" y="3835"/>
                    <a:pt x="4940" y="2273"/>
                  </a:cubicBezTo>
                  <a:cubicBezTo>
                    <a:pt x="6578" y="1168"/>
                    <a:pt x="8407" y="393"/>
                    <a:pt x="10337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4" name="Free Form 3339">
              <a:extLst>
                <a:ext uri="{FF2B5EF4-FFF2-40B4-BE49-F238E27FC236}">
                  <a16:creationId xmlns:a16="http://schemas.microsoft.com/office/drawing/2014/main" id="{06839BFF-5CE8-F921-7498-BF56C20DFE37}"/>
                </a:ext>
              </a:extLst>
            </p:cNvPr>
            <p:cNvSpPr/>
            <p:nvPr/>
          </p:nvSpPr>
          <p:spPr>
            <a:xfrm>
              <a:off x="25834442" y="30046303"/>
              <a:ext cx="9652" cy="7353"/>
            </a:xfrm>
            <a:custGeom>
              <a:avLst/>
              <a:gdLst/>
              <a:ahLst/>
              <a:cxnLst/>
              <a:rect l="0" t="0" r="0" b="0"/>
              <a:pathLst>
                <a:path w="9651" h="7353">
                  <a:moveTo>
                    <a:pt x="9448" y="0"/>
                  </a:moveTo>
                  <a:cubicBezTo>
                    <a:pt x="9651" y="253"/>
                    <a:pt x="7746" y="2070"/>
                    <a:pt x="5194" y="4038"/>
                  </a:cubicBezTo>
                  <a:cubicBezTo>
                    <a:pt x="2641" y="5994"/>
                    <a:pt x="393" y="7353"/>
                    <a:pt x="190" y="7073"/>
                  </a:cubicBezTo>
                  <a:cubicBezTo>
                    <a:pt x="0" y="6781"/>
                    <a:pt x="1892" y="4991"/>
                    <a:pt x="4457" y="3060"/>
                  </a:cubicBezTo>
                  <a:cubicBezTo>
                    <a:pt x="5880" y="1701"/>
                    <a:pt x="7594" y="660"/>
                    <a:pt x="9448" y="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5" name="Free Form 3340">
              <a:extLst>
                <a:ext uri="{FF2B5EF4-FFF2-40B4-BE49-F238E27FC236}">
                  <a16:creationId xmlns:a16="http://schemas.microsoft.com/office/drawing/2014/main" id="{03176EAF-63CB-B014-E5A2-49FEA7A3DB1C}"/>
                </a:ext>
              </a:extLst>
            </p:cNvPr>
            <p:cNvSpPr/>
            <p:nvPr/>
          </p:nvSpPr>
          <p:spPr>
            <a:xfrm>
              <a:off x="25852348" y="30034072"/>
              <a:ext cx="4775" cy="4674"/>
            </a:xfrm>
            <a:custGeom>
              <a:avLst/>
              <a:gdLst/>
              <a:ahLst/>
              <a:cxnLst/>
              <a:rect l="0" t="0" r="0" b="0"/>
              <a:pathLst>
                <a:path w="4775" h="4673">
                  <a:moveTo>
                    <a:pt x="4546" y="165"/>
                  </a:moveTo>
                  <a:cubicBezTo>
                    <a:pt x="4775" y="419"/>
                    <a:pt x="4013" y="1549"/>
                    <a:pt x="2819" y="2743"/>
                  </a:cubicBezTo>
                  <a:cubicBezTo>
                    <a:pt x="1625" y="3936"/>
                    <a:pt x="457" y="4673"/>
                    <a:pt x="228" y="4457"/>
                  </a:cubicBezTo>
                  <a:cubicBezTo>
                    <a:pt x="0" y="4229"/>
                    <a:pt x="774" y="3060"/>
                    <a:pt x="1968" y="1866"/>
                  </a:cubicBezTo>
                  <a:cubicBezTo>
                    <a:pt x="3162" y="673"/>
                    <a:pt x="4292" y="0"/>
                    <a:pt x="4546" y="16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6" name="Free Form 3341">
              <a:extLst>
                <a:ext uri="{FF2B5EF4-FFF2-40B4-BE49-F238E27FC236}">
                  <a16:creationId xmlns:a16="http://schemas.microsoft.com/office/drawing/2014/main" id="{C92FC490-35FC-1503-6961-CFBD65690458}"/>
                </a:ext>
              </a:extLst>
            </p:cNvPr>
            <p:cNvSpPr/>
            <p:nvPr/>
          </p:nvSpPr>
          <p:spPr>
            <a:xfrm>
              <a:off x="25720677" y="29862810"/>
              <a:ext cx="1219" cy="242034"/>
            </a:xfrm>
            <a:custGeom>
              <a:avLst/>
              <a:gdLst/>
              <a:ahLst/>
              <a:cxnLst/>
              <a:rect l="0" t="0" r="0" b="0"/>
              <a:pathLst>
                <a:path w="1219" h="242034">
                  <a:moveTo>
                    <a:pt x="596" y="242034"/>
                  </a:moveTo>
                  <a:cubicBezTo>
                    <a:pt x="279" y="242034"/>
                    <a:pt x="0" y="187830"/>
                    <a:pt x="0" y="121029"/>
                  </a:cubicBezTo>
                  <a:cubicBezTo>
                    <a:pt x="0" y="54228"/>
                    <a:pt x="279" y="0"/>
                    <a:pt x="596" y="0"/>
                  </a:cubicBezTo>
                  <a:cubicBezTo>
                    <a:pt x="914" y="0"/>
                    <a:pt x="1219" y="54177"/>
                    <a:pt x="1219" y="121029"/>
                  </a:cubicBezTo>
                  <a:cubicBezTo>
                    <a:pt x="1219" y="187894"/>
                    <a:pt x="939" y="242034"/>
                    <a:pt x="596" y="24203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7" name="Free Form 3342">
              <a:extLst>
                <a:ext uri="{FF2B5EF4-FFF2-40B4-BE49-F238E27FC236}">
                  <a16:creationId xmlns:a16="http://schemas.microsoft.com/office/drawing/2014/main" id="{E68E4AAC-F033-8B08-8911-9523554E9FFE}"/>
                </a:ext>
              </a:extLst>
            </p:cNvPr>
            <p:cNvSpPr/>
            <p:nvPr/>
          </p:nvSpPr>
          <p:spPr>
            <a:xfrm>
              <a:off x="25721097" y="29917671"/>
              <a:ext cx="109676" cy="114413"/>
            </a:xfrm>
            <a:custGeom>
              <a:avLst/>
              <a:gdLst/>
              <a:ahLst/>
              <a:cxnLst/>
              <a:rect l="0" t="0" r="0" b="0"/>
              <a:pathLst>
                <a:path w="109676" h="114413">
                  <a:moveTo>
                    <a:pt x="109422" y="165"/>
                  </a:moveTo>
                  <a:cubicBezTo>
                    <a:pt x="109676" y="419"/>
                    <a:pt x="85431" y="26136"/>
                    <a:pt x="55282" y="57631"/>
                  </a:cubicBezTo>
                  <a:cubicBezTo>
                    <a:pt x="25133" y="89114"/>
                    <a:pt x="520" y="114413"/>
                    <a:pt x="253" y="114413"/>
                  </a:cubicBezTo>
                  <a:cubicBezTo>
                    <a:pt x="0" y="114413"/>
                    <a:pt x="24282" y="88454"/>
                    <a:pt x="54431" y="56946"/>
                  </a:cubicBezTo>
                  <a:cubicBezTo>
                    <a:pt x="84581" y="25437"/>
                    <a:pt x="109193" y="0"/>
                    <a:pt x="109422" y="165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8" name="Free Form 3343">
              <a:extLst>
                <a:ext uri="{FF2B5EF4-FFF2-40B4-BE49-F238E27FC236}">
                  <a16:creationId xmlns:a16="http://schemas.microsoft.com/office/drawing/2014/main" id="{6AB4E1B3-A3AF-8792-F6D5-6AAEA6BF99E7}"/>
                </a:ext>
              </a:extLst>
            </p:cNvPr>
            <p:cNvSpPr/>
            <p:nvPr/>
          </p:nvSpPr>
          <p:spPr>
            <a:xfrm>
              <a:off x="25822394" y="29910397"/>
              <a:ext cx="20053" cy="17170"/>
            </a:xfrm>
            <a:custGeom>
              <a:avLst/>
              <a:gdLst/>
              <a:ahLst/>
              <a:cxnLst/>
              <a:rect l="0" t="0" r="0" b="0"/>
              <a:pathLst>
                <a:path w="20053" h="17170">
                  <a:moveTo>
                    <a:pt x="1511" y="6756"/>
                  </a:moveTo>
                  <a:cubicBezTo>
                    <a:pt x="3073" y="5918"/>
                    <a:pt x="4724" y="5245"/>
                    <a:pt x="6426" y="4737"/>
                  </a:cubicBezTo>
                  <a:cubicBezTo>
                    <a:pt x="9550" y="3606"/>
                    <a:pt x="13969" y="1904"/>
                    <a:pt x="19138" y="317"/>
                  </a:cubicBezTo>
                  <a:lnTo>
                    <a:pt x="20053" y="0"/>
                  </a:lnTo>
                  <a:lnTo>
                    <a:pt x="19913" y="939"/>
                  </a:lnTo>
                  <a:cubicBezTo>
                    <a:pt x="19481" y="3543"/>
                    <a:pt x="19024" y="6362"/>
                    <a:pt x="18541" y="9283"/>
                  </a:cubicBezTo>
                  <a:cubicBezTo>
                    <a:pt x="18059" y="12204"/>
                    <a:pt x="17716" y="14249"/>
                    <a:pt x="17322" y="16547"/>
                  </a:cubicBezTo>
                  <a:lnTo>
                    <a:pt x="17322" y="17170"/>
                  </a:lnTo>
                  <a:lnTo>
                    <a:pt x="16700" y="17030"/>
                  </a:lnTo>
                  <a:cubicBezTo>
                    <a:pt x="12001" y="15887"/>
                    <a:pt x="7632" y="13690"/>
                    <a:pt x="3898" y="10617"/>
                  </a:cubicBezTo>
                  <a:cubicBezTo>
                    <a:pt x="2819" y="9740"/>
                    <a:pt x="1816" y="8801"/>
                    <a:pt x="888" y="7772"/>
                  </a:cubicBezTo>
                  <a:cubicBezTo>
                    <a:pt x="533" y="7416"/>
                    <a:pt x="241" y="7010"/>
                    <a:pt x="0" y="6553"/>
                  </a:cubicBezTo>
                  <a:cubicBezTo>
                    <a:pt x="0" y="6553"/>
                    <a:pt x="1536" y="8000"/>
                    <a:pt x="4356" y="10109"/>
                  </a:cubicBezTo>
                  <a:cubicBezTo>
                    <a:pt x="8127" y="12903"/>
                    <a:pt x="12433" y="14896"/>
                    <a:pt x="17017" y="15951"/>
                  </a:cubicBezTo>
                  <a:lnTo>
                    <a:pt x="16306" y="16408"/>
                  </a:lnTo>
                  <a:cubicBezTo>
                    <a:pt x="16674" y="14134"/>
                    <a:pt x="17068" y="11671"/>
                    <a:pt x="17462" y="9143"/>
                  </a:cubicBezTo>
                  <a:cubicBezTo>
                    <a:pt x="17868" y="6616"/>
                    <a:pt x="18427" y="3467"/>
                    <a:pt x="18884" y="800"/>
                  </a:cubicBezTo>
                  <a:lnTo>
                    <a:pt x="19621" y="1447"/>
                  </a:lnTo>
                  <a:cubicBezTo>
                    <a:pt x="14427" y="3124"/>
                    <a:pt x="9943" y="4546"/>
                    <a:pt x="6769" y="5473"/>
                  </a:cubicBezTo>
                  <a:cubicBezTo>
                    <a:pt x="5054" y="6070"/>
                    <a:pt x="3301" y="6502"/>
                    <a:pt x="1511" y="675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79" name="Free Form 3344">
              <a:extLst>
                <a:ext uri="{FF2B5EF4-FFF2-40B4-BE49-F238E27FC236}">
                  <a16:creationId xmlns:a16="http://schemas.microsoft.com/office/drawing/2014/main" id="{F2C18CA4-5942-C954-4D08-C53BB1F71CD9}"/>
                </a:ext>
              </a:extLst>
            </p:cNvPr>
            <p:cNvSpPr/>
            <p:nvPr/>
          </p:nvSpPr>
          <p:spPr>
            <a:xfrm>
              <a:off x="25858285" y="29909545"/>
              <a:ext cx="18034" cy="30378"/>
            </a:xfrm>
            <a:custGeom>
              <a:avLst/>
              <a:gdLst/>
              <a:ahLst/>
              <a:cxnLst/>
              <a:rect l="0" t="0" r="0" b="0"/>
              <a:pathLst>
                <a:path w="18033" h="30378">
                  <a:moveTo>
                    <a:pt x="0" y="30378"/>
                  </a:moveTo>
                  <a:cubicBezTo>
                    <a:pt x="2489" y="25018"/>
                    <a:pt x="5333" y="19849"/>
                    <a:pt x="8521" y="14871"/>
                  </a:cubicBezTo>
                  <a:cubicBezTo>
                    <a:pt x="11340" y="9702"/>
                    <a:pt x="14515" y="4737"/>
                    <a:pt x="18033" y="0"/>
                  </a:cubicBezTo>
                  <a:cubicBezTo>
                    <a:pt x="15544" y="5359"/>
                    <a:pt x="12699" y="10540"/>
                    <a:pt x="9512" y="15506"/>
                  </a:cubicBezTo>
                  <a:cubicBezTo>
                    <a:pt x="6680" y="20675"/>
                    <a:pt x="3505" y="25641"/>
                    <a:pt x="0" y="3037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0" name="Free Form 3345">
              <a:extLst>
                <a:ext uri="{FF2B5EF4-FFF2-40B4-BE49-F238E27FC236}">
                  <a16:creationId xmlns:a16="http://schemas.microsoft.com/office/drawing/2014/main" id="{4A44E192-E547-7B2C-BE6A-4350A49EB475}"/>
                </a:ext>
              </a:extLst>
            </p:cNvPr>
            <p:cNvSpPr/>
            <p:nvPr/>
          </p:nvSpPr>
          <p:spPr>
            <a:xfrm>
              <a:off x="25857913" y="29915939"/>
              <a:ext cx="20104" cy="32245"/>
            </a:xfrm>
            <a:custGeom>
              <a:avLst/>
              <a:gdLst/>
              <a:ahLst/>
              <a:cxnLst/>
              <a:rect l="0" t="0" r="0" b="0"/>
              <a:pathLst>
                <a:path w="20103" h="32244">
                  <a:moveTo>
                    <a:pt x="20103" y="32244"/>
                  </a:moveTo>
                  <a:cubicBezTo>
                    <a:pt x="16243" y="27203"/>
                    <a:pt x="12725" y="21919"/>
                    <a:pt x="9537" y="16433"/>
                  </a:cubicBezTo>
                  <a:cubicBezTo>
                    <a:pt x="6019" y="11163"/>
                    <a:pt x="2832" y="5664"/>
                    <a:pt x="0" y="0"/>
                  </a:cubicBezTo>
                  <a:cubicBezTo>
                    <a:pt x="3848" y="5029"/>
                    <a:pt x="7378" y="10299"/>
                    <a:pt x="10566" y="15773"/>
                  </a:cubicBezTo>
                  <a:cubicBezTo>
                    <a:pt x="14096" y="21056"/>
                    <a:pt x="17284" y="26555"/>
                    <a:pt x="20103" y="3224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1" name="Free Form 3346">
              <a:extLst>
                <a:ext uri="{FF2B5EF4-FFF2-40B4-BE49-F238E27FC236}">
                  <a16:creationId xmlns:a16="http://schemas.microsoft.com/office/drawing/2014/main" id="{7BBC65AB-64CA-FB4F-61CB-064B07E2594F}"/>
                </a:ext>
              </a:extLst>
            </p:cNvPr>
            <p:cNvSpPr/>
            <p:nvPr/>
          </p:nvSpPr>
          <p:spPr>
            <a:xfrm>
              <a:off x="25883541" y="29927151"/>
              <a:ext cx="10744" cy="21538"/>
            </a:xfrm>
            <a:custGeom>
              <a:avLst/>
              <a:gdLst/>
              <a:ahLst/>
              <a:cxnLst/>
              <a:rect l="0" t="0" r="0" b="0"/>
              <a:pathLst>
                <a:path w="10744" h="21538">
                  <a:moveTo>
                    <a:pt x="10744" y="14503"/>
                  </a:moveTo>
                  <a:cubicBezTo>
                    <a:pt x="8737" y="9689"/>
                    <a:pt x="5905" y="5257"/>
                    <a:pt x="2362" y="1409"/>
                  </a:cubicBezTo>
                  <a:lnTo>
                    <a:pt x="3340" y="1244"/>
                  </a:lnTo>
                  <a:cubicBezTo>
                    <a:pt x="1295" y="6121"/>
                    <a:pt x="977" y="11556"/>
                    <a:pt x="2451" y="16636"/>
                  </a:cubicBezTo>
                  <a:lnTo>
                    <a:pt x="1371" y="16827"/>
                  </a:lnTo>
                  <a:cubicBezTo>
                    <a:pt x="1181" y="13195"/>
                    <a:pt x="1028" y="10159"/>
                    <a:pt x="977" y="8000"/>
                  </a:cubicBezTo>
                  <a:cubicBezTo>
                    <a:pt x="812" y="6883"/>
                    <a:pt x="812" y="5740"/>
                    <a:pt x="977" y="4622"/>
                  </a:cubicBezTo>
                  <a:cubicBezTo>
                    <a:pt x="1308" y="5714"/>
                    <a:pt x="1485" y="6832"/>
                    <a:pt x="1511" y="7975"/>
                  </a:cubicBezTo>
                  <a:cubicBezTo>
                    <a:pt x="1765" y="10109"/>
                    <a:pt x="2057" y="13144"/>
                    <a:pt x="2362" y="16751"/>
                  </a:cubicBezTo>
                  <a:lnTo>
                    <a:pt x="2793" y="21538"/>
                  </a:lnTo>
                  <a:lnTo>
                    <a:pt x="1320" y="16941"/>
                  </a:lnTo>
                  <a:cubicBezTo>
                    <a:pt x="292" y="13728"/>
                    <a:pt x="0" y="10324"/>
                    <a:pt x="469" y="6984"/>
                  </a:cubicBezTo>
                  <a:cubicBezTo>
                    <a:pt x="736" y="4851"/>
                    <a:pt x="1320" y="2768"/>
                    <a:pt x="2171" y="787"/>
                  </a:cubicBezTo>
                  <a:lnTo>
                    <a:pt x="2539" y="0"/>
                  </a:lnTo>
                  <a:lnTo>
                    <a:pt x="3136" y="622"/>
                  </a:lnTo>
                  <a:cubicBezTo>
                    <a:pt x="5791" y="3403"/>
                    <a:pt x="7912" y="6642"/>
                    <a:pt x="9410" y="10185"/>
                  </a:cubicBezTo>
                  <a:cubicBezTo>
                    <a:pt x="10109" y="11531"/>
                    <a:pt x="10566" y="12991"/>
                    <a:pt x="10744" y="1450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2" name="Free Form 3347">
              <a:extLst>
                <a:ext uri="{FF2B5EF4-FFF2-40B4-BE49-F238E27FC236}">
                  <a16:creationId xmlns:a16="http://schemas.microsoft.com/office/drawing/2014/main" id="{EC066729-92D9-1C26-08C8-74D2C6E2EB34}"/>
                </a:ext>
              </a:extLst>
            </p:cNvPr>
            <p:cNvSpPr/>
            <p:nvPr/>
          </p:nvSpPr>
          <p:spPr>
            <a:xfrm>
              <a:off x="25753767" y="30008520"/>
              <a:ext cx="15355" cy="22352"/>
            </a:xfrm>
            <a:custGeom>
              <a:avLst/>
              <a:gdLst/>
              <a:ahLst/>
              <a:cxnLst/>
              <a:rect l="0" t="0" r="0" b="0"/>
              <a:pathLst>
                <a:path w="15354" h="22351">
                  <a:moveTo>
                    <a:pt x="7848" y="22339"/>
                  </a:moveTo>
                  <a:cubicBezTo>
                    <a:pt x="7848" y="22339"/>
                    <a:pt x="8470" y="22110"/>
                    <a:pt x="9499" y="21538"/>
                  </a:cubicBezTo>
                  <a:cubicBezTo>
                    <a:pt x="10896" y="20726"/>
                    <a:pt x="12039" y="19519"/>
                    <a:pt x="12788" y="18084"/>
                  </a:cubicBezTo>
                  <a:cubicBezTo>
                    <a:pt x="13944" y="15963"/>
                    <a:pt x="14401" y="13538"/>
                    <a:pt x="14096" y="11150"/>
                  </a:cubicBezTo>
                  <a:cubicBezTo>
                    <a:pt x="13652" y="8166"/>
                    <a:pt x="12687" y="5283"/>
                    <a:pt x="11252" y="2628"/>
                  </a:cubicBezTo>
                  <a:lnTo>
                    <a:pt x="10286" y="596"/>
                  </a:lnTo>
                  <a:lnTo>
                    <a:pt x="11340" y="0"/>
                  </a:lnTo>
                  <a:cubicBezTo>
                    <a:pt x="12839" y="2819"/>
                    <a:pt x="12115" y="6299"/>
                    <a:pt x="9613" y="8280"/>
                  </a:cubicBezTo>
                  <a:cubicBezTo>
                    <a:pt x="8547" y="9105"/>
                    <a:pt x="7226" y="9537"/>
                    <a:pt x="5892" y="9474"/>
                  </a:cubicBezTo>
                  <a:cubicBezTo>
                    <a:pt x="4762" y="9372"/>
                    <a:pt x="3682" y="8978"/>
                    <a:pt x="2768" y="8318"/>
                  </a:cubicBezTo>
                  <a:cubicBezTo>
                    <a:pt x="1435" y="7416"/>
                    <a:pt x="507" y="6032"/>
                    <a:pt x="177" y="4457"/>
                  </a:cubicBezTo>
                  <a:cubicBezTo>
                    <a:pt x="0" y="3911"/>
                    <a:pt x="0" y="3327"/>
                    <a:pt x="177" y="2781"/>
                  </a:cubicBezTo>
                  <a:cubicBezTo>
                    <a:pt x="177" y="2781"/>
                    <a:pt x="177" y="3378"/>
                    <a:pt x="520" y="4368"/>
                  </a:cubicBezTo>
                  <a:cubicBezTo>
                    <a:pt x="990" y="5727"/>
                    <a:pt x="1917" y="6870"/>
                    <a:pt x="3136" y="7632"/>
                  </a:cubicBezTo>
                  <a:cubicBezTo>
                    <a:pt x="3987" y="8178"/>
                    <a:pt x="4965" y="8470"/>
                    <a:pt x="5968" y="8508"/>
                  </a:cubicBezTo>
                  <a:cubicBezTo>
                    <a:pt x="7010" y="8483"/>
                    <a:pt x="8013" y="8102"/>
                    <a:pt x="8813" y="7429"/>
                  </a:cubicBezTo>
                  <a:cubicBezTo>
                    <a:pt x="10782" y="5740"/>
                    <a:pt x="11353" y="2946"/>
                    <a:pt x="10210" y="622"/>
                  </a:cubicBezTo>
                  <a:lnTo>
                    <a:pt x="11252" y="50"/>
                  </a:lnTo>
                  <a:lnTo>
                    <a:pt x="12242" y="2095"/>
                  </a:lnTo>
                  <a:cubicBezTo>
                    <a:pt x="13703" y="4876"/>
                    <a:pt x="14668" y="7899"/>
                    <a:pt x="15087" y="11010"/>
                  </a:cubicBezTo>
                  <a:cubicBezTo>
                    <a:pt x="15354" y="13614"/>
                    <a:pt x="14757" y="16243"/>
                    <a:pt x="13385" y="18478"/>
                  </a:cubicBezTo>
                  <a:cubicBezTo>
                    <a:pt x="12496" y="19989"/>
                    <a:pt x="11150" y="21196"/>
                    <a:pt x="9550" y="21907"/>
                  </a:cubicBezTo>
                  <a:cubicBezTo>
                    <a:pt x="9029" y="22199"/>
                    <a:pt x="8445" y="22351"/>
                    <a:pt x="7848" y="22339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3" name="Free Form 3348">
              <a:extLst>
                <a:ext uri="{FF2B5EF4-FFF2-40B4-BE49-F238E27FC236}">
                  <a16:creationId xmlns:a16="http://schemas.microsoft.com/office/drawing/2014/main" id="{3F53A806-1832-6031-952A-66A4FB5B7A25}"/>
                </a:ext>
              </a:extLst>
            </p:cNvPr>
            <p:cNvSpPr/>
            <p:nvPr/>
          </p:nvSpPr>
          <p:spPr>
            <a:xfrm>
              <a:off x="25718014" y="29942051"/>
              <a:ext cx="91070" cy="2502"/>
            </a:xfrm>
            <a:custGeom>
              <a:avLst/>
              <a:gdLst/>
              <a:ahLst/>
              <a:cxnLst/>
              <a:rect l="0" t="0" r="0" b="0"/>
              <a:pathLst>
                <a:path w="91070" h="2501">
                  <a:moveTo>
                    <a:pt x="91070" y="114"/>
                  </a:moveTo>
                  <a:cubicBezTo>
                    <a:pt x="89889" y="380"/>
                    <a:pt x="88695" y="546"/>
                    <a:pt x="87489" y="596"/>
                  </a:cubicBezTo>
                  <a:cubicBezTo>
                    <a:pt x="85190" y="825"/>
                    <a:pt x="81812" y="1104"/>
                    <a:pt x="77761" y="1396"/>
                  </a:cubicBezTo>
                  <a:cubicBezTo>
                    <a:pt x="69519" y="1930"/>
                    <a:pt x="58139" y="2438"/>
                    <a:pt x="45529" y="2476"/>
                  </a:cubicBezTo>
                  <a:cubicBezTo>
                    <a:pt x="32930" y="2501"/>
                    <a:pt x="21538" y="2070"/>
                    <a:pt x="13284" y="1562"/>
                  </a:cubicBezTo>
                  <a:cubicBezTo>
                    <a:pt x="9169" y="1308"/>
                    <a:pt x="5841" y="1054"/>
                    <a:pt x="3543" y="825"/>
                  </a:cubicBezTo>
                  <a:cubicBezTo>
                    <a:pt x="2349" y="787"/>
                    <a:pt x="1155" y="634"/>
                    <a:pt x="0" y="368"/>
                  </a:cubicBezTo>
                  <a:cubicBezTo>
                    <a:pt x="1181" y="253"/>
                    <a:pt x="2387" y="253"/>
                    <a:pt x="3568" y="368"/>
                  </a:cubicBezTo>
                  <a:lnTo>
                    <a:pt x="13334" y="711"/>
                  </a:lnTo>
                  <a:cubicBezTo>
                    <a:pt x="21577" y="990"/>
                    <a:pt x="32956" y="1282"/>
                    <a:pt x="45529" y="1244"/>
                  </a:cubicBezTo>
                  <a:cubicBezTo>
                    <a:pt x="58114" y="1219"/>
                    <a:pt x="69468" y="850"/>
                    <a:pt x="77723" y="546"/>
                  </a:cubicBezTo>
                  <a:lnTo>
                    <a:pt x="87463" y="114"/>
                  </a:lnTo>
                  <a:cubicBezTo>
                    <a:pt x="88670" y="0"/>
                    <a:pt x="89876" y="0"/>
                    <a:pt x="91070" y="11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4" name="Free Form 3349">
              <a:extLst>
                <a:ext uri="{FF2B5EF4-FFF2-40B4-BE49-F238E27FC236}">
                  <a16:creationId xmlns:a16="http://schemas.microsoft.com/office/drawing/2014/main" id="{F6A22041-661A-2C81-B6F4-F347ACEA21A4}"/>
                </a:ext>
              </a:extLst>
            </p:cNvPr>
            <p:cNvSpPr/>
            <p:nvPr/>
          </p:nvSpPr>
          <p:spPr>
            <a:xfrm>
              <a:off x="25732650" y="29920115"/>
              <a:ext cx="12243" cy="1613"/>
            </a:xfrm>
            <a:custGeom>
              <a:avLst/>
              <a:gdLst/>
              <a:ahLst/>
              <a:cxnLst/>
              <a:rect l="0" t="0" r="0" b="0"/>
              <a:pathLst>
                <a:path w="12242" h="1612">
                  <a:moveTo>
                    <a:pt x="12242" y="190"/>
                  </a:moveTo>
                  <a:cubicBezTo>
                    <a:pt x="10375" y="1181"/>
                    <a:pt x="8254" y="1612"/>
                    <a:pt x="6134" y="1409"/>
                  </a:cubicBezTo>
                  <a:cubicBezTo>
                    <a:pt x="4025" y="1600"/>
                    <a:pt x="1892" y="1181"/>
                    <a:pt x="0" y="190"/>
                  </a:cubicBezTo>
                  <a:cubicBezTo>
                    <a:pt x="2044" y="0"/>
                    <a:pt x="4102" y="0"/>
                    <a:pt x="6134" y="190"/>
                  </a:cubicBezTo>
                  <a:cubicBezTo>
                    <a:pt x="8166" y="0"/>
                    <a:pt x="10210" y="0"/>
                    <a:pt x="12242" y="19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5" name="Free Form 3350">
              <a:extLst>
                <a:ext uri="{FF2B5EF4-FFF2-40B4-BE49-F238E27FC236}">
                  <a16:creationId xmlns:a16="http://schemas.microsoft.com/office/drawing/2014/main" id="{2F882282-28D5-101D-3D42-091156DD0866}"/>
                </a:ext>
              </a:extLst>
            </p:cNvPr>
            <p:cNvSpPr/>
            <p:nvPr/>
          </p:nvSpPr>
          <p:spPr>
            <a:xfrm>
              <a:off x="25732596" y="29923178"/>
              <a:ext cx="14985" cy="15913"/>
            </a:xfrm>
            <a:custGeom>
              <a:avLst/>
              <a:gdLst/>
              <a:ahLst/>
              <a:cxnLst/>
              <a:rect l="0" t="0" r="0" b="0"/>
              <a:pathLst>
                <a:path w="14985" h="15912">
                  <a:moveTo>
                    <a:pt x="88" y="10528"/>
                  </a:moveTo>
                  <a:cubicBezTo>
                    <a:pt x="88" y="10528"/>
                    <a:pt x="546" y="10896"/>
                    <a:pt x="1282" y="11633"/>
                  </a:cubicBezTo>
                  <a:cubicBezTo>
                    <a:pt x="2260" y="12674"/>
                    <a:pt x="3390" y="13550"/>
                    <a:pt x="4660" y="14223"/>
                  </a:cubicBezTo>
                  <a:cubicBezTo>
                    <a:pt x="6464" y="15227"/>
                    <a:pt x="8674" y="15227"/>
                    <a:pt x="10477" y="14223"/>
                  </a:cubicBezTo>
                  <a:cubicBezTo>
                    <a:pt x="12737" y="13106"/>
                    <a:pt x="13931" y="10566"/>
                    <a:pt x="13322" y="8115"/>
                  </a:cubicBezTo>
                  <a:cubicBezTo>
                    <a:pt x="12826" y="5880"/>
                    <a:pt x="10921" y="4229"/>
                    <a:pt x="8635" y="4089"/>
                  </a:cubicBezTo>
                  <a:cubicBezTo>
                    <a:pt x="6718" y="3987"/>
                    <a:pt x="4889" y="4914"/>
                    <a:pt x="3835" y="6527"/>
                  </a:cubicBezTo>
                  <a:lnTo>
                    <a:pt x="3492" y="7124"/>
                  </a:lnTo>
                  <a:lnTo>
                    <a:pt x="3098" y="6603"/>
                  </a:lnTo>
                  <a:cubicBezTo>
                    <a:pt x="1917" y="5092"/>
                    <a:pt x="1777" y="3009"/>
                    <a:pt x="2755" y="1358"/>
                  </a:cubicBezTo>
                  <a:cubicBezTo>
                    <a:pt x="3467" y="253"/>
                    <a:pt x="4203" y="0"/>
                    <a:pt x="4229" y="50"/>
                  </a:cubicBezTo>
                  <a:cubicBezTo>
                    <a:pt x="3848" y="533"/>
                    <a:pt x="3505" y="1041"/>
                    <a:pt x="3213" y="1587"/>
                  </a:cubicBezTo>
                  <a:cubicBezTo>
                    <a:pt x="2539" y="3047"/>
                    <a:pt x="2755" y="4775"/>
                    <a:pt x="3784" y="6019"/>
                  </a:cubicBezTo>
                  <a:lnTo>
                    <a:pt x="3047" y="6019"/>
                  </a:lnTo>
                  <a:cubicBezTo>
                    <a:pt x="4203" y="3987"/>
                    <a:pt x="6388" y="2781"/>
                    <a:pt x="8724" y="2857"/>
                  </a:cubicBezTo>
                  <a:cubicBezTo>
                    <a:pt x="12306" y="3124"/>
                    <a:pt x="14985" y="6235"/>
                    <a:pt x="14731" y="9816"/>
                  </a:cubicBezTo>
                  <a:cubicBezTo>
                    <a:pt x="14668" y="10655"/>
                    <a:pt x="14452" y="11455"/>
                    <a:pt x="14084" y="12204"/>
                  </a:cubicBezTo>
                  <a:cubicBezTo>
                    <a:pt x="13436" y="13411"/>
                    <a:pt x="12445" y="14388"/>
                    <a:pt x="11252" y="15036"/>
                  </a:cubicBezTo>
                  <a:cubicBezTo>
                    <a:pt x="10121" y="15646"/>
                    <a:pt x="8839" y="15912"/>
                    <a:pt x="7556" y="15811"/>
                  </a:cubicBezTo>
                  <a:cubicBezTo>
                    <a:pt x="6476" y="15709"/>
                    <a:pt x="5422" y="15366"/>
                    <a:pt x="4495" y="14820"/>
                  </a:cubicBezTo>
                  <a:cubicBezTo>
                    <a:pt x="3187" y="14033"/>
                    <a:pt x="2044" y="13004"/>
                    <a:pt x="1142" y="11772"/>
                  </a:cubicBezTo>
                  <a:cubicBezTo>
                    <a:pt x="292" y="11099"/>
                    <a:pt x="0" y="10553"/>
                    <a:pt x="88" y="1052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6" name="Free Form 3351">
              <a:extLst>
                <a:ext uri="{FF2B5EF4-FFF2-40B4-BE49-F238E27FC236}">
                  <a16:creationId xmlns:a16="http://schemas.microsoft.com/office/drawing/2014/main" id="{BA3AC8B6-AC1C-7E0D-9299-CED0B8EE2649}"/>
                </a:ext>
              </a:extLst>
            </p:cNvPr>
            <p:cNvSpPr/>
            <p:nvPr/>
          </p:nvSpPr>
          <p:spPr>
            <a:xfrm>
              <a:off x="25753098" y="29922660"/>
              <a:ext cx="8154" cy="13970"/>
            </a:xfrm>
            <a:custGeom>
              <a:avLst/>
              <a:gdLst/>
              <a:ahLst/>
              <a:cxnLst/>
              <a:rect l="0" t="0" r="0" b="0"/>
              <a:pathLst>
                <a:path w="8153" h="13969">
                  <a:moveTo>
                    <a:pt x="0" y="13969"/>
                  </a:moveTo>
                  <a:cubicBezTo>
                    <a:pt x="825" y="11379"/>
                    <a:pt x="2019" y="8915"/>
                    <a:pt x="3543" y="6667"/>
                  </a:cubicBezTo>
                  <a:cubicBezTo>
                    <a:pt x="4737" y="4229"/>
                    <a:pt x="6286" y="1981"/>
                    <a:pt x="8153" y="0"/>
                  </a:cubicBezTo>
                  <a:cubicBezTo>
                    <a:pt x="7327" y="2590"/>
                    <a:pt x="6134" y="5054"/>
                    <a:pt x="4597" y="7302"/>
                  </a:cubicBezTo>
                  <a:cubicBezTo>
                    <a:pt x="3403" y="9740"/>
                    <a:pt x="1854" y="11988"/>
                    <a:pt x="0" y="13969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7" name="Free Form 3352">
              <a:extLst>
                <a:ext uri="{FF2B5EF4-FFF2-40B4-BE49-F238E27FC236}">
                  <a16:creationId xmlns:a16="http://schemas.microsoft.com/office/drawing/2014/main" id="{1FF3D903-649D-6BC7-3F62-BC6E27B3B192}"/>
                </a:ext>
              </a:extLst>
            </p:cNvPr>
            <p:cNvSpPr/>
            <p:nvPr/>
          </p:nvSpPr>
          <p:spPr>
            <a:xfrm>
              <a:off x="25751314" y="29925958"/>
              <a:ext cx="12433" cy="14135"/>
            </a:xfrm>
            <a:custGeom>
              <a:avLst/>
              <a:gdLst/>
              <a:ahLst/>
              <a:cxnLst/>
              <a:rect l="0" t="0" r="0" b="0"/>
              <a:pathLst>
                <a:path w="12433" h="14134">
                  <a:moveTo>
                    <a:pt x="12204" y="14134"/>
                  </a:moveTo>
                  <a:cubicBezTo>
                    <a:pt x="6794" y="10845"/>
                    <a:pt x="2539" y="5968"/>
                    <a:pt x="0" y="165"/>
                  </a:cubicBezTo>
                  <a:cubicBezTo>
                    <a:pt x="304" y="0"/>
                    <a:pt x="2578" y="3454"/>
                    <a:pt x="5930" y="7289"/>
                  </a:cubicBezTo>
                  <a:cubicBezTo>
                    <a:pt x="9283" y="11125"/>
                    <a:pt x="12433" y="13855"/>
                    <a:pt x="12204" y="14134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8" name="Free Form 3353">
              <a:extLst>
                <a:ext uri="{FF2B5EF4-FFF2-40B4-BE49-F238E27FC236}">
                  <a16:creationId xmlns:a16="http://schemas.microsoft.com/office/drawing/2014/main" id="{7930D4F9-6330-B03A-60CF-94CF342F1C2C}"/>
                </a:ext>
              </a:extLst>
            </p:cNvPr>
            <p:cNvSpPr/>
            <p:nvPr/>
          </p:nvSpPr>
          <p:spPr>
            <a:xfrm>
              <a:off x="25655190" y="29862612"/>
              <a:ext cx="18694" cy="37846"/>
            </a:xfrm>
            <a:custGeom>
              <a:avLst/>
              <a:gdLst/>
              <a:ahLst/>
              <a:cxnLst/>
              <a:rect l="0" t="0" r="0" b="0"/>
              <a:pathLst>
                <a:path w="18694" h="37845">
                  <a:moveTo>
                    <a:pt x="1777" y="34696"/>
                  </a:moveTo>
                  <a:cubicBezTo>
                    <a:pt x="2514" y="35546"/>
                    <a:pt x="3441" y="36220"/>
                    <a:pt x="4470" y="36651"/>
                  </a:cubicBezTo>
                  <a:cubicBezTo>
                    <a:pt x="7365" y="37642"/>
                    <a:pt x="10578" y="36829"/>
                    <a:pt x="12649" y="34581"/>
                  </a:cubicBezTo>
                  <a:cubicBezTo>
                    <a:pt x="15443" y="30987"/>
                    <a:pt x="16979" y="26580"/>
                    <a:pt x="17017" y="22034"/>
                  </a:cubicBezTo>
                  <a:cubicBezTo>
                    <a:pt x="17386" y="16433"/>
                    <a:pt x="17106" y="10794"/>
                    <a:pt x="16205" y="5257"/>
                  </a:cubicBezTo>
                  <a:cubicBezTo>
                    <a:pt x="15912" y="3492"/>
                    <a:pt x="15658" y="1790"/>
                    <a:pt x="15430" y="177"/>
                  </a:cubicBezTo>
                  <a:lnTo>
                    <a:pt x="16624" y="177"/>
                  </a:lnTo>
                  <a:cubicBezTo>
                    <a:pt x="16979" y="2832"/>
                    <a:pt x="16979" y="5524"/>
                    <a:pt x="16624" y="8178"/>
                  </a:cubicBezTo>
                  <a:cubicBezTo>
                    <a:pt x="16281" y="10744"/>
                    <a:pt x="14998" y="13093"/>
                    <a:pt x="13017" y="14769"/>
                  </a:cubicBezTo>
                  <a:cubicBezTo>
                    <a:pt x="11226" y="16357"/>
                    <a:pt x="8724" y="16890"/>
                    <a:pt x="6438" y="16154"/>
                  </a:cubicBezTo>
                  <a:cubicBezTo>
                    <a:pt x="4546" y="15443"/>
                    <a:pt x="2971" y="14122"/>
                    <a:pt x="1943" y="12382"/>
                  </a:cubicBezTo>
                  <a:cubicBezTo>
                    <a:pt x="622" y="9931"/>
                    <a:pt x="0" y="7162"/>
                    <a:pt x="126" y="4368"/>
                  </a:cubicBezTo>
                  <a:cubicBezTo>
                    <a:pt x="76" y="3378"/>
                    <a:pt x="139" y="2374"/>
                    <a:pt x="304" y="1396"/>
                  </a:cubicBezTo>
                  <a:cubicBezTo>
                    <a:pt x="469" y="2336"/>
                    <a:pt x="558" y="3276"/>
                    <a:pt x="558" y="4229"/>
                  </a:cubicBezTo>
                  <a:cubicBezTo>
                    <a:pt x="596" y="6908"/>
                    <a:pt x="1308" y="9524"/>
                    <a:pt x="2628" y="11836"/>
                  </a:cubicBezTo>
                  <a:cubicBezTo>
                    <a:pt x="3594" y="13360"/>
                    <a:pt x="5029" y="14515"/>
                    <a:pt x="6718" y="15138"/>
                  </a:cubicBezTo>
                  <a:cubicBezTo>
                    <a:pt x="8712" y="15773"/>
                    <a:pt x="10883" y="15277"/>
                    <a:pt x="12395" y="13830"/>
                  </a:cubicBezTo>
                  <a:cubicBezTo>
                    <a:pt x="14134" y="12293"/>
                    <a:pt x="15265" y="10172"/>
                    <a:pt x="15544" y="7861"/>
                  </a:cubicBezTo>
                  <a:cubicBezTo>
                    <a:pt x="15874" y="5308"/>
                    <a:pt x="15874" y="2730"/>
                    <a:pt x="15544" y="177"/>
                  </a:cubicBezTo>
                  <a:lnTo>
                    <a:pt x="16738" y="0"/>
                  </a:lnTo>
                  <a:cubicBezTo>
                    <a:pt x="16967" y="1650"/>
                    <a:pt x="17246" y="3352"/>
                    <a:pt x="17513" y="5118"/>
                  </a:cubicBezTo>
                  <a:cubicBezTo>
                    <a:pt x="18440" y="10744"/>
                    <a:pt x="18694" y="16459"/>
                    <a:pt x="18249" y="22148"/>
                  </a:cubicBezTo>
                  <a:cubicBezTo>
                    <a:pt x="18135" y="26923"/>
                    <a:pt x="16420" y="31521"/>
                    <a:pt x="13385" y="35204"/>
                  </a:cubicBezTo>
                  <a:cubicBezTo>
                    <a:pt x="12064" y="36537"/>
                    <a:pt x="10337" y="37401"/>
                    <a:pt x="8483" y="37655"/>
                  </a:cubicBezTo>
                  <a:cubicBezTo>
                    <a:pt x="7086" y="37845"/>
                    <a:pt x="5676" y="37655"/>
                    <a:pt x="4394" y="37109"/>
                  </a:cubicBezTo>
                  <a:cubicBezTo>
                    <a:pt x="3581" y="36766"/>
                    <a:pt x="2882" y="36220"/>
                    <a:pt x="2349" y="35521"/>
                  </a:cubicBezTo>
                  <a:cubicBezTo>
                    <a:pt x="1866" y="35013"/>
                    <a:pt x="1752" y="34721"/>
                    <a:pt x="1777" y="34696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89" name="Free Form 3354">
              <a:extLst>
                <a:ext uri="{FF2B5EF4-FFF2-40B4-BE49-F238E27FC236}">
                  <a16:creationId xmlns:a16="http://schemas.microsoft.com/office/drawing/2014/main" id="{5510FDDC-DECD-71FC-D28E-94C745B98A3A}"/>
                </a:ext>
              </a:extLst>
            </p:cNvPr>
            <p:cNvSpPr/>
            <p:nvPr/>
          </p:nvSpPr>
          <p:spPr>
            <a:xfrm>
              <a:off x="25682404" y="29878185"/>
              <a:ext cx="14453" cy="17132"/>
            </a:xfrm>
            <a:custGeom>
              <a:avLst/>
              <a:gdLst/>
              <a:ahLst/>
              <a:cxnLst/>
              <a:rect l="0" t="0" r="0" b="0"/>
              <a:pathLst>
                <a:path w="14452" h="17132">
                  <a:moveTo>
                    <a:pt x="14452" y="16370"/>
                  </a:moveTo>
                  <a:cubicBezTo>
                    <a:pt x="14452" y="16370"/>
                    <a:pt x="13919" y="17132"/>
                    <a:pt x="12433" y="17132"/>
                  </a:cubicBezTo>
                  <a:cubicBezTo>
                    <a:pt x="10324" y="16954"/>
                    <a:pt x="8547" y="15481"/>
                    <a:pt x="7975" y="13449"/>
                  </a:cubicBezTo>
                  <a:cubicBezTo>
                    <a:pt x="7581" y="12115"/>
                    <a:pt x="7442" y="10731"/>
                    <a:pt x="7581" y="9359"/>
                  </a:cubicBezTo>
                  <a:cubicBezTo>
                    <a:pt x="7581" y="7886"/>
                    <a:pt x="7975" y="6375"/>
                    <a:pt x="7899" y="4902"/>
                  </a:cubicBezTo>
                  <a:cubicBezTo>
                    <a:pt x="7873" y="4178"/>
                    <a:pt x="7670" y="3467"/>
                    <a:pt x="7302" y="2857"/>
                  </a:cubicBezTo>
                  <a:cubicBezTo>
                    <a:pt x="6908" y="2260"/>
                    <a:pt x="6311" y="1841"/>
                    <a:pt x="5626" y="1663"/>
                  </a:cubicBezTo>
                  <a:cubicBezTo>
                    <a:pt x="4267" y="1409"/>
                    <a:pt x="3238" y="3060"/>
                    <a:pt x="2781" y="4724"/>
                  </a:cubicBezTo>
                  <a:cubicBezTo>
                    <a:pt x="1803" y="8762"/>
                    <a:pt x="1523" y="12941"/>
                    <a:pt x="1955" y="17081"/>
                  </a:cubicBezTo>
                  <a:lnTo>
                    <a:pt x="876" y="17081"/>
                  </a:lnTo>
                  <a:cubicBezTo>
                    <a:pt x="546" y="12852"/>
                    <a:pt x="292" y="9334"/>
                    <a:pt x="139" y="6857"/>
                  </a:cubicBezTo>
                  <a:cubicBezTo>
                    <a:pt x="0" y="5562"/>
                    <a:pt x="0" y="4241"/>
                    <a:pt x="139" y="2946"/>
                  </a:cubicBezTo>
                  <a:cubicBezTo>
                    <a:pt x="520" y="4190"/>
                    <a:pt x="749" y="5486"/>
                    <a:pt x="825" y="6807"/>
                  </a:cubicBezTo>
                  <a:cubicBezTo>
                    <a:pt x="1168" y="9245"/>
                    <a:pt x="1562" y="12763"/>
                    <a:pt x="2019" y="16967"/>
                  </a:cubicBezTo>
                  <a:lnTo>
                    <a:pt x="939" y="16967"/>
                  </a:lnTo>
                  <a:cubicBezTo>
                    <a:pt x="393" y="12699"/>
                    <a:pt x="647" y="8369"/>
                    <a:pt x="1676" y="4190"/>
                  </a:cubicBezTo>
                  <a:cubicBezTo>
                    <a:pt x="1854" y="3162"/>
                    <a:pt x="2273" y="2197"/>
                    <a:pt x="2895" y="1346"/>
                  </a:cubicBezTo>
                  <a:cubicBezTo>
                    <a:pt x="3555" y="457"/>
                    <a:pt x="4635" y="0"/>
                    <a:pt x="5740" y="126"/>
                  </a:cubicBezTo>
                  <a:cubicBezTo>
                    <a:pt x="7670" y="660"/>
                    <a:pt x="9004" y="2438"/>
                    <a:pt x="8940" y="4444"/>
                  </a:cubicBezTo>
                  <a:cubicBezTo>
                    <a:pt x="8902" y="5981"/>
                    <a:pt x="8750" y="7518"/>
                    <a:pt x="8496" y="9042"/>
                  </a:cubicBezTo>
                  <a:cubicBezTo>
                    <a:pt x="8343" y="10312"/>
                    <a:pt x="8420" y="11582"/>
                    <a:pt x="8712" y="12814"/>
                  </a:cubicBezTo>
                  <a:cubicBezTo>
                    <a:pt x="9131" y="14604"/>
                    <a:pt x="10566" y="15976"/>
                    <a:pt x="12382" y="16281"/>
                  </a:cubicBezTo>
                  <a:cubicBezTo>
                    <a:pt x="13055" y="16459"/>
                    <a:pt x="13766" y="16497"/>
                    <a:pt x="14452" y="1637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0" name="Free Form 3355">
              <a:extLst>
                <a:ext uri="{FF2B5EF4-FFF2-40B4-BE49-F238E27FC236}">
                  <a16:creationId xmlns:a16="http://schemas.microsoft.com/office/drawing/2014/main" id="{9DC02899-152D-05FA-CFC9-CF9E0D295C42}"/>
                </a:ext>
              </a:extLst>
            </p:cNvPr>
            <p:cNvSpPr/>
            <p:nvPr/>
          </p:nvSpPr>
          <p:spPr>
            <a:xfrm>
              <a:off x="25644875" y="30235701"/>
              <a:ext cx="139622" cy="84747"/>
            </a:xfrm>
            <a:custGeom>
              <a:avLst/>
              <a:gdLst/>
              <a:ahLst/>
              <a:cxnLst/>
              <a:rect l="0" t="0" r="0" b="0"/>
              <a:pathLst>
                <a:path w="139622" h="84746">
                  <a:moveTo>
                    <a:pt x="118756" y="20776"/>
                  </a:moveTo>
                  <a:cubicBezTo>
                    <a:pt x="118756" y="20776"/>
                    <a:pt x="109612" y="9423"/>
                    <a:pt x="97433" y="6870"/>
                  </a:cubicBezTo>
                  <a:cubicBezTo>
                    <a:pt x="85254" y="4305"/>
                    <a:pt x="70458" y="11213"/>
                    <a:pt x="64820" y="6870"/>
                  </a:cubicBezTo>
                  <a:cubicBezTo>
                    <a:pt x="59168" y="2527"/>
                    <a:pt x="40880" y="0"/>
                    <a:pt x="38721" y="6273"/>
                  </a:cubicBezTo>
                  <a:cubicBezTo>
                    <a:pt x="36562" y="12547"/>
                    <a:pt x="39598" y="19926"/>
                    <a:pt x="51751" y="20776"/>
                  </a:cubicBezTo>
                  <a:cubicBezTo>
                    <a:pt x="59689" y="21424"/>
                    <a:pt x="67550" y="22732"/>
                    <a:pt x="75259" y="24688"/>
                  </a:cubicBezTo>
                  <a:cubicBezTo>
                    <a:pt x="75259" y="24688"/>
                    <a:pt x="10451" y="64731"/>
                    <a:pt x="6959" y="69074"/>
                  </a:cubicBezTo>
                  <a:cubicBezTo>
                    <a:pt x="3467" y="73417"/>
                    <a:pt x="0" y="77761"/>
                    <a:pt x="3060" y="81253"/>
                  </a:cubicBezTo>
                  <a:cubicBezTo>
                    <a:pt x="6134" y="84746"/>
                    <a:pt x="17856" y="76021"/>
                    <a:pt x="17856" y="76021"/>
                  </a:cubicBezTo>
                  <a:lnTo>
                    <a:pt x="47408" y="72528"/>
                  </a:lnTo>
                  <a:cubicBezTo>
                    <a:pt x="56730" y="74573"/>
                    <a:pt x="66280" y="75310"/>
                    <a:pt x="75805" y="74713"/>
                  </a:cubicBezTo>
                  <a:cubicBezTo>
                    <a:pt x="88860" y="73417"/>
                    <a:pt x="102767" y="63842"/>
                    <a:pt x="102767" y="63842"/>
                  </a:cubicBezTo>
                  <a:lnTo>
                    <a:pt x="133208" y="59041"/>
                  </a:lnTo>
                  <a:cubicBezTo>
                    <a:pt x="133208" y="59041"/>
                    <a:pt x="139622" y="28180"/>
                    <a:pt x="118756" y="20776"/>
                  </a:cubicBez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1" name="Free Form 3356">
              <a:extLst>
                <a:ext uri="{FF2B5EF4-FFF2-40B4-BE49-F238E27FC236}">
                  <a16:creationId xmlns:a16="http://schemas.microsoft.com/office/drawing/2014/main" id="{4B625362-0E6E-7FE9-51D8-2FFF5EB0C035}"/>
                </a:ext>
              </a:extLst>
            </p:cNvPr>
            <p:cNvSpPr/>
            <p:nvPr/>
          </p:nvSpPr>
          <p:spPr>
            <a:xfrm>
              <a:off x="25663347" y="30295252"/>
              <a:ext cx="41859" cy="16028"/>
            </a:xfrm>
            <a:custGeom>
              <a:avLst/>
              <a:gdLst/>
              <a:ahLst/>
              <a:cxnLst/>
              <a:rect l="0" t="0" r="0" b="0"/>
              <a:pathLst>
                <a:path w="41858" h="16027">
                  <a:moveTo>
                    <a:pt x="774" y="15963"/>
                  </a:moveTo>
                  <a:cubicBezTo>
                    <a:pt x="914" y="15963"/>
                    <a:pt x="774" y="15252"/>
                    <a:pt x="774" y="14084"/>
                  </a:cubicBezTo>
                  <a:cubicBezTo>
                    <a:pt x="952" y="12445"/>
                    <a:pt x="1638" y="10896"/>
                    <a:pt x="2730" y="9664"/>
                  </a:cubicBezTo>
                  <a:cubicBezTo>
                    <a:pt x="6845" y="5829"/>
                    <a:pt x="12064" y="3403"/>
                    <a:pt x="17640" y="2705"/>
                  </a:cubicBezTo>
                  <a:cubicBezTo>
                    <a:pt x="23278" y="1854"/>
                    <a:pt x="28993" y="1689"/>
                    <a:pt x="34670" y="2222"/>
                  </a:cubicBezTo>
                  <a:cubicBezTo>
                    <a:pt x="37058" y="2552"/>
                    <a:pt x="39458" y="2616"/>
                    <a:pt x="41858" y="2425"/>
                  </a:cubicBezTo>
                  <a:cubicBezTo>
                    <a:pt x="39598" y="1574"/>
                    <a:pt x="37223" y="1066"/>
                    <a:pt x="34810" y="914"/>
                  </a:cubicBezTo>
                  <a:cubicBezTo>
                    <a:pt x="29019" y="0"/>
                    <a:pt x="23113" y="0"/>
                    <a:pt x="17322" y="914"/>
                  </a:cubicBezTo>
                  <a:cubicBezTo>
                    <a:pt x="11353" y="1650"/>
                    <a:pt x="5841" y="4470"/>
                    <a:pt x="1739" y="8864"/>
                  </a:cubicBezTo>
                  <a:cubicBezTo>
                    <a:pt x="584" y="10363"/>
                    <a:pt x="0" y="12229"/>
                    <a:pt x="88" y="14122"/>
                  </a:cubicBezTo>
                  <a:cubicBezTo>
                    <a:pt x="241" y="15392"/>
                    <a:pt x="660" y="16027"/>
                    <a:pt x="774" y="15963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2" name="Free Form 3357">
              <a:extLst>
                <a:ext uri="{FF2B5EF4-FFF2-40B4-BE49-F238E27FC236}">
                  <a16:creationId xmlns:a16="http://schemas.microsoft.com/office/drawing/2014/main" id="{B35A0127-610D-A587-6D9C-A4888FAB3EB0}"/>
                </a:ext>
              </a:extLst>
            </p:cNvPr>
            <p:cNvSpPr/>
            <p:nvPr/>
          </p:nvSpPr>
          <p:spPr>
            <a:xfrm>
              <a:off x="25684139" y="30282544"/>
              <a:ext cx="20955" cy="12369"/>
            </a:xfrm>
            <a:custGeom>
              <a:avLst/>
              <a:gdLst/>
              <a:ahLst/>
              <a:cxnLst/>
              <a:rect l="0" t="0" r="0" b="0"/>
              <a:pathLst>
                <a:path w="20954" h="12369">
                  <a:moveTo>
                    <a:pt x="253" y="11950"/>
                  </a:moveTo>
                  <a:cubicBezTo>
                    <a:pt x="482" y="12369"/>
                    <a:pt x="5283" y="10159"/>
                    <a:pt x="10921" y="6984"/>
                  </a:cubicBezTo>
                  <a:cubicBezTo>
                    <a:pt x="16573" y="3797"/>
                    <a:pt x="20954" y="850"/>
                    <a:pt x="20688" y="419"/>
                  </a:cubicBezTo>
                  <a:cubicBezTo>
                    <a:pt x="20434" y="0"/>
                    <a:pt x="15671" y="2184"/>
                    <a:pt x="10020" y="5359"/>
                  </a:cubicBezTo>
                  <a:cubicBezTo>
                    <a:pt x="4368" y="8547"/>
                    <a:pt x="0" y="11493"/>
                    <a:pt x="253" y="11950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3" name="Free Form 3358">
              <a:extLst>
                <a:ext uri="{FF2B5EF4-FFF2-40B4-BE49-F238E27FC236}">
                  <a16:creationId xmlns:a16="http://schemas.microsoft.com/office/drawing/2014/main" id="{C659AF7C-F593-31C6-78CB-D984BB8AF509}"/>
                </a:ext>
              </a:extLst>
            </p:cNvPr>
            <p:cNvSpPr/>
            <p:nvPr/>
          </p:nvSpPr>
          <p:spPr>
            <a:xfrm>
              <a:off x="25708496" y="30271103"/>
              <a:ext cx="7671" cy="21628"/>
            </a:xfrm>
            <a:custGeom>
              <a:avLst/>
              <a:gdLst/>
              <a:ahLst/>
              <a:cxnLst/>
              <a:rect l="0" t="0" r="0" b="0"/>
              <a:pathLst>
                <a:path w="7670" h="21627">
                  <a:moveTo>
                    <a:pt x="7238" y="393"/>
                  </a:moveTo>
                  <a:cubicBezTo>
                    <a:pt x="6984" y="0"/>
                    <a:pt x="2730" y="3632"/>
                    <a:pt x="1358" y="10109"/>
                  </a:cubicBezTo>
                  <a:cubicBezTo>
                    <a:pt x="0" y="16573"/>
                    <a:pt x="2298" y="21627"/>
                    <a:pt x="2692" y="21462"/>
                  </a:cubicBezTo>
                  <a:cubicBezTo>
                    <a:pt x="3098" y="21284"/>
                    <a:pt x="1841" y="16433"/>
                    <a:pt x="3149" y="10578"/>
                  </a:cubicBezTo>
                  <a:cubicBezTo>
                    <a:pt x="4457" y="4737"/>
                    <a:pt x="7670" y="761"/>
                    <a:pt x="7238" y="393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4" name="Free Form 3359">
              <a:extLst>
                <a:ext uri="{FF2B5EF4-FFF2-40B4-BE49-F238E27FC236}">
                  <a16:creationId xmlns:a16="http://schemas.microsoft.com/office/drawing/2014/main" id="{84B8444D-C455-9613-83D0-0BFF4F31CD44}"/>
                </a:ext>
              </a:extLst>
            </p:cNvPr>
            <p:cNvSpPr/>
            <p:nvPr/>
          </p:nvSpPr>
          <p:spPr>
            <a:xfrm>
              <a:off x="25990244" y="30020812"/>
              <a:ext cx="280870" cy="285264"/>
            </a:xfrm>
            <a:custGeom>
              <a:avLst/>
              <a:gdLst/>
              <a:ahLst/>
              <a:cxnLst/>
              <a:rect l="0" t="0" r="0" b="0"/>
              <a:pathLst>
                <a:path w="280870" h="285264">
                  <a:moveTo>
                    <a:pt x="280870" y="36931"/>
                  </a:moveTo>
                  <a:lnTo>
                    <a:pt x="187208" y="14922"/>
                  </a:lnTo>
                  <a:lnTo>
                    <a:pt x="178382" y="0"/>
                  </a:lnTo>
                  <a:lnTo>
                    <a:pt x="84428" y="1498"/>
                  </a:lnTo>
                  <a:lnTo>
                    <a:pt x="62597" y="24866"/>
                  </a:lnTo>
                  <a:lnTo>
                    <a:pt x="0" y="55587"/>
                  </a:lnTo>
                  <a:lnTo>
                    <a:pt x="52552" y="276209"/>
                  </a:lnTo>
                  <a:lnTo>
                    <a:pt x="228889" y="285264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5" name="Free Form 3360">
              <a:extLst>
                <a:ext uri="{FF2B5EF4-FFF2-40B4-BE49-F238E27FC236}">
                  <a16:creationId xmlns:a16="http://schemas.microsoft.com/office/drawing/2014/main" id="{D76DDE75-CF43-D186-33ED-516A6D47A28C}"/>
                </a:ext>
              </a:extLst>
            </p:cNvPr>
            <p:cNvSpPr/>
            <p:nvPr/>
          </p:nvSpPr>
          <p:spPr>
            <a:xfrm>
              <a:off x="25755570" y="30069446"/>
              <a:ext cx="261134" cy="266189"/>
            </a:xfrm>
            <a:custGeom>
              <a:avLst/>
              <a:gdLst/>
              <a:ahLst/>
              <a:cxnLst/>
              <a:rect l="0" t="0" r="0" b="0"/>
              <a:pathLst>
                <a:path w="261134" h="266189">
                  <a:moveTo>
                    <a:pt x="20865" y="166165"/>
                  </a:moveTo>
                  <a:lnTo>
                    <a:pt x="91845" y="172921"/>
                  </a:lnTo>
                  <a:cubicBezTo>
                    <a:pt x="100938" y="170381"/>
                    <a:pt x="110552" y="170381"/>
                    <a:pt x="119632" y="172921"/>
                  </a:cubicBezTo>
                  <a:cubicBezTo>
                    <a:pt x="133259" y="177353"/>
                    <a:pt x="155154" y="161364"/>
                    <a:pt x="155154" y="161364"/>
                  </a:cubicBezTo>
                  <a:lnTo>
                    <a:pt x="186040" y="115263"/>
                  </a:lnTo>
                  <a:cubicBezTo>
                    <a:pt x="186040" y="115263"/>
                    <a:pt x="199667" y="20573"/>
                    <a:pt x="215656" y="10502"/>
                  </a:cubicBezTo>
                  <a:cubicBezTo>
                    <a:pt x="231632" y="419"/>
                    <a:pt x="233029" y="0"/>
                    <a:pt x="233029" y="0"/>
                  </a:cubicBezTo>
                  <a:lnTo>
                    <a:pt x="261134" y="174369"/>
                  </a:lnTo>
                  <a:lnTo>
                    <a:pt x="223911" y="235404"/>
                  </a:lnTo>
                  <a:cubicBezTo>
                    <a:pt x="223911" y="235404"/>
                    <a:pt x="190790" y="266189"/>
                    <a:pt x="177188" y="265020"/>
                  </a:cubicBezTo>
                  <a:cubicBezTo>
                    <a:pt x="163586" y="263852"/>
                    <a:pt x="0" y="241538"/>
                    <a:pt x="0" y="241538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6" name="Free Form 3361">
              <a:extLst>
                <a:ext uri="{FF2B5EF4-FFF2-40B4-BE49-F238E27FC236}">
                  <a16:creationId xmlns:a16="http://schemas.microsoft.com/office/drawing/2014/main" id="{FF7691F5-F0C8-F922-AEB4-C59194832F77}"/>
                </a:ext>
              </a:extLst>
            </p:cNvPr>
            <p:cNvSpPr/>
            <p:nvPr/>
          </p:nvSpPr>
          <p:spPr>
            <a:xfrm>
              <a:off x="26127883" y="30017918"/>
              <a:ext cx="164412" cy="406637"/>
            </a:xfrm>
            <a:custGeom>
              <a:avLst/>
              <a:gdLst/>
              <a:ahLst/>
              <a:cxnLst/>
              <a:rect l="0" t="0" r="0" b="0"/>
              <a:pathLst>
                <a:path w="164412" h="406636">
                  <a:moveTo>
                    <a:pt x="71119" y="21742"/>
                  </a:moveTo>
                  <a:lnTo>
                    <a:pt x="39890" y="0"/>
                  </a:lnTo>
                  <a:lnTo>
                    <a:pt x="47954" y="33832"/>
                  </a:lnTo>
                  <a:lnTo>
                    <a:pt x="0" y="212951"/>
                  </a:lnTo>
                  <a:cubicBezTo>
                    <a:pt x="0" y="212951"/>
                    <a:pt x="4622" y="347074"/>
                    <a:pt x="2844" y="406636"/>
                  </a:cubicBezTo>
                  <a:lnTo>
                    <a:pt x="164412" y="406636"/>
                  </a:lnTo>
                  <a:lnTo>
                    <a:pt x="121486" y="333384"/>
                  </a:lnTo>
                  <a:lnTo>
                    <a:pt x="144791" y="37756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7" name="Free Form 3362">
              <a:extLst>
                <a:ext uri="{FF2B5EF4-FFF2-40B4-BE49-F238E27FC236}">
                  <a16:creationId xmlns:a16="http://schemas.microsoft.com/office/drawing/2014/main" id="{764360FD-41D2-8796-CF7A-213423DD6310}"/>
                </a:ext>
              </a:extLst>
            </p:cNvPr>
            <p:cNvSpPr/>
            <p:nvPr/>
          </p:nvSpPr>
          <p:spPr>
            <a:xfrm>
              <a:off x="25985416" y="30019731"/>
              <a:ext cx="151153" cy="404961"/>
            </a:xfrm>
            <a:custGeom>
              <a:avLst/>
              <a:gdLst/>
              <a:ahLst/>
              <a:cxnLst/>
              <a:rect l="0" t="0" r="0" b="0"/>
              <a:pathLst>
                <a:path w="151153" h="404960">
                  <a:moveTo>
                    <a:pt x="151153" y="404820"/>
                  </a:moveTo>
                  <a:lnTo>
                    <a:pt x="143978" y="205382"/>
                  </a:lnTo>
                  <a:cubicBezTo>
                    <a:pt x="143978" y="205382"/>
                    <a:pt x="99795" y="153249"/>
                    <a:pt x="92467" y="100786"/>
                  </a:cubicBezTo>
                  <a:cubicBezTo>
                    <a:pt x="85139" y="48322"/>
                    <a:pt x="82701" y="20180"/>
                    <a:pt x="82701" y="20180"/>
                  </a:cubicBezTo>
                  <a:lnTo>
                    <a:pt x="89267" y="0"/>
                  </a:lnTo>
                  <a:lnTo>
                    <a:pt x="64794" y="24637"/>
                  </a:lnTo>
                  <a:cubicBezTo>
                    <a:pt x="64794" y="24637"/>
                    <a:pt x="50278" y="29666"/>
                    <a:pt x="47192" y="30835"/>
                  </a:cubicBezTo>
                  <a:cubicBezTo>
                    <a:pt x="31114" y="36931"/>
                    <a:pt x="15366" y="43852"/>
                    <a:pt x="0" y="51561"/>
                  </a:cubicBezTo>
                  <a:lnTo>
                    <a:pt x="35432" y="326297"/>
                  </a:lnTo>
                  <a:cubicBezTo>
                    <a:pt x="35432" y="326297"/>
                    <a:pt x="14477" y="370099"/>
                    <a:pt x="0" y="404960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8" name="Free Form 3363">
              <a:extLst>
                <a:ext uri="{FF2B5EF4-FFF2-40B4-BE49-F238E27FC236}">
                  <a16:creationId xmlns:a16="http://schemas.microsoft.com/office/drawing/2014/main" id="{9DCEA835-CEBB-30FB-8E7F-355D19307C08}"/>
                </a:ext>
              </a:extLst>
            </p:cNvPr>
            <p:cNvSpPr/>
            <p:nvPr/>
          </p:nvSpPr>
          <p:spPr>
            <a:xfrm>
              <a:off x="25990257" y="30153170"/>
              <a:ext cx="33934" cy="194727"/>
            </a:xfrm>
            <a:custGeom>
              <a:avLst/>
              <a:gdLst/>
              <a:ahLst/>
              <a:cxnLst/>
              <a:rect l="0" t="0" r="0" b="0"/>
              <a:pathLst>
                <a:path w="33934" h="194727">
                  <a:moveTo>
                    <a:pt x="28180" y="166279"/>
                  </a:moveTo>
                  <a:cubicBezTo>
                    <a:pt x="29831" y="175080"/>
                    <a:pt x="31190" y="182179"/>
                    <a:pt x="32206" y="187094"/>
                  </a:cubicBezTo>
                  <a:lnTo>
                    <a:pt x="33400" y="192771"/>
                  </a:lnTo>
                  <a:cubicBezTo>
                    <a:pt x="33514" y="193431"/>
                    <a:pt x="33680" y="194092"/>
                    <a:pt x="33908" y="194727"/>
                  </a:cubicBezTo>
                  <a:cubicBezTo>
                    <a:pt x="33934" y="194053"/>
                    <a:pt x="33870" y="193368"/>
                    <a:pt x="33718" y="192707"/>
                  </a:cubicBezTo>
                  <a:cubicBezTo>
                    <a:pt x="33489" y="191234"/>
                    <a:pt x="33210" y="189367"/>
                    <a:pt x="32829" y="187030"/>
                  </a:cubicBezTo>
                  <a:cubicBezTo>
                    <a:pt x="31990" y="181887"/>
                    <a:pt x="30797" y="174800"/>
                    <a:pt x="29349" y="166139"/>
                  </a:cubicBezTo>
                  <a:cubicBezTo>
                    <a:pt x="26364" y="148309"/>
                    <a:pt x="22275" y="124039"/>
                    <a:pt x="17792" y="97230"/>
                  </a:cubicBezTo>
                  <a:cubicBezTo>
                    <a:pt x="13296" y="70433"/>
                    <a:pt x="9016" y="45986"/>
                    <a:pt x="5727" y="28384"/>
                  </a:cubicBezTo>
                  <a:cubicBezTo>
                    <a:pt x="4102" y="19608"/>
                    <a:pt x="2717" y="12483"/>
                    <a:pt x="1714" y="7607"/>
                  </a:cubicBezTo>
                  <a:cubicBezTo>
                    <a:pt x="1231" y="5270"/>
                    <a:pt x="838" y="3428"/>
                    <a:pt x="533" y="1930"/>
                  </a:cubicBezTo>
                  <a:cubicBezTo>
                    <a:pt x="419" y="1269"/>
                    <a:pt x="241" y="622"/>
                    <a:pt x="12" y="0"/>
                  </a:cubicBezTo>
                  <a:cubicBezTo>
                    <a:pt x="0" y="660"/>
                    <a:pt x="50" y="1333"/>
                    <a:pt x="190" y="1981"/>
                  </a:cubicBezTo>
                  <a:cubicBezTo>
                    <a:pt x="444" y="3454"/>
                    <a:pt x="723" y="5359"/>
                    <a:pt x="1092" y="7658"/>
                  </a:cubicBezTo>
                  <a:cubicBezTo>
                    <a:pt x="1943" y="12801"/>
                    <a:pt x="3136" y="19862"/>
                    <a:pt x="4584" y="28523"/>
                  </a:cubicBezTo>
                  <a:cubicBezTo>
                    <a:pt x="7569" y="46354"/>
                    <a:pt x="11633" y="70636"/>
                    <a:pt x="16141" y="9743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399" name="Free Form 3364">
              <a:extLst>
                <a:ext uri="{FF2B5EF4-FFF2-40B4-BE49-F238E27FC236}">
                  <a16:creationId xmlns:a16="http://schemas.microsoft.com/office/drawing/2014/main" id="{243F02DB-09C0-6832-789E-BFBF64A7DB2C}"/>
                </a:ext>
              </a:extLst>
            </p:cNvPr>
            <p:cNvSpPr/>
            <p:nvPr/>
          </p:nvSpPr>
          <p:spPr>
            <a:xfrm>
              <a:off x="26131630" y="30039741"/>
              <a:ext cx="102437" cy="226845"/>
            </a:xfrm>
            <a:custGeom>
              <a:avLst/>
              <a:gdLst/>
              <a:ahLst/>
              <a:cxnLst/>
              <a:rect l="0" t="0" r="0" b="0"/>
              <a:pathLst>
                <a:path w="102437" h="226844">
                  <a:moveTo>
                    <a:pt x="0" y="226844"/>
                  </a:moveTo>
                  <a:cubicBezTo>
                    <a:pt x="596" y="226362"/>
                    <a:pt x="1142" y="225828"/>
                    <a:pt x="1650" y="225257"/>
                  </a:cubicBezTo>
                  <a:lnTo>
                    <a:pt x="6108" y="220431"/>
                  </a:lnTo>
                  <a:lnTo>
                    <a:pt x="22453" y="202283"/>
                  </a:lnTo>
                  <a:lnTo>
                    <a:pt x="77850" y="139825"/>
                  </a:lnTo>
                  <a:lnTo>
                    <a:pt x="78193" y="139431"/>
                  </a:lnTo>
                  <a:lnTo>
                    <a:pt x="78053" y="138949"/>
                  </a:lnTo>
                  <a:lnTo>
                    <a:pt x="69239" y="107237"/>
                  </a:lnTo>
                  <a:cubicBezTo>
                    <a:pt x="67906" y="102500"/>
                    <a:pt x="66598" y="97827"/>
                    <a:pt x="65328" y="93204"/>
                  </a:cubicBezTo>
                  <a:lnTo>
                    <a:pt x="64451" y="94436"/>
                  </a:lnTo>
                  <a:lnTo>
                    <a:pt x="101192" y="93013"/>
                  </a:lnTo>
                  <a:lnTo>
                    <a:pt x="102437" y="93013"/>
                  </a:lnTo>
                  <a:lnTo>
                    <a:pt x="102005" y="91845"/>
                  </a:lnTo>
                  <a:lnTo>
                    <a:pt x="77367" y="25729"/>
                  </a:lnTo>
                  <a:cubicBezTo>
                    <a:pt x="74332" y="17741"/>
                    <a:pt x="71919" y="11328"/>
                    <a:pt x="70154" y="6730"/>
                  </a:cubicBezTo>
                  <a:lnTo>
                    <a:pt x="68160" y="1701"/>
                  </a:lnTo>
                  <a:cubicBezTo>
                    <a:pt x="67956" y="1117"/>
                    <a:pt x="67690" y="546"/>
                    <a:pt x="67372" y="0"/>
                  </a:cubicBezTo>
                  <a:cubicBezTo>
                    <a:pt x="67461" y="634"/>
                    <a:pt x="67639" y="1244"/>
                    <a:pt x="67880" y="1816"/>
                  </a:cubicBezTo>
                  <a:cubicBezTo>
                    <a:pt x="68312" y="3124"/>
                    <a:pt x="68884" y="4825"/>
                    <a:pt x="69582" y="6934"/>
                  </a:cubicBezTo>
                  <a:cubicBezTo>
                    <a:pt x="71233" y="11582"/>
                    <a:pt x="73506" y="18059"/>
                    <a:pt x="76313" y="26123"/>
                  </a:cubicBezTo>
                  <a:lnTo>
                    <a:pt x="100303" y="92607"/>
                  </a:lnTo>
                  <a:lnTo>
                    <a:pt x="101103" y="91388"/>
                  </a:lnTo>
                  <a:lnTo>
                    <a:pt x="64362" y="92696"/>
                  </a:lnTo>
                  <a:lnTo>
                    <a:pt x="63143" y="92696"/>
                  </a:lnTo>
                  <a:lnTo>
                    <a:pt x="63486" y="93864"/>
                  </a:lnTo>
                  <a:cubicBezTo>
                    <a:pt x="64769" y="98462"/>
                    <a:pt x="66064" y="103135"/>
                    <a:pt x="67372" y="107885"/>
                  </a:cubicBezTo>
                  <a:cubicBezTo>
                    <a:pt x="70433" y="118819"/>
                    <a:pt x="73392" y="129462"/>
                    <a:pt x="76224" y="139596"/>
                  </a:cubicBezTo>
                  <a:lnTo>
                    <a:pt x="76427" y="138720"/>
                  </a:lnTo>
                  <a:lnTo>
                    <a:pt x="21551" y="201521"/>
                  </a:lnTo>
                  <a:lnTo>
                    <a:pt x="5587" y="220025"/>
                  </a:lnTo>
                  <a:cubicBezTo>
                    <a:pt x="3860" y="222133"/>
                    <a:pt x="2438" y="223784"/>
                    <a:pt x="1396" y="225054"/>
                  </a:cubicBezTo>
                  <a:cubicBezTo>
                    <a:pt x="876" y="225613"/>
                    <a:pt x="406" y="226209"/>
                    <a:pt x="0" y="22684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0" name="Free Form 3365">
              <a:extLst>
                <a:ext uri="{FF2B5EF4-FFF2-40B4-BE49-F238E27FC236}">
                  <a16:creationId xmlns:a16="http://schemas.microsoft.com/office/drawing/2014/main" id="{34E81111-1892-2CBE-EAB1-F6973A3AFD45}"/>
                </a:ext>
              </a:extLst>
            </p:cNvPr>
            <p:cNvSpPr/>
            <p:nvPr/>
          </p:nvSpPr>
          <p:spPr>
            <a:xfrm>
              <a:off x="26129296" y="30222130"/>
              <a:ext cx="7328" cy="202449"/>
            </a:xfrm>
            <a:custGeom>
              <a:avLst/>
              <a:gdLst/>
              <a:ahLst/>
              <a:cxnLst/>
              <a:rect l="0" t="0" r="0" b="0"/>
              <a:pathLst>
                <a:path w="7327" h="202448">
                  <a:moveTo>
                    <a:pt x="6819" y="202448"/>
                  </a:moveTo>
                  <a:cubicBezTo>
                    <a:pt x="7327" y="202448"/>
                    <a:pt x="6362" y="157021"/>
                    <a:pt x="4635" y="101205"/>
                  </a:cubicBezTo>
                  <a:cubicBezTo>
                    <a:pt x="2895" y="45389"/>
                    <a:pt x="1079" y="0"/>
                    <a:pt x="546" y="25"/>
                  </a:cubicBezTo>
                  <a:cubicBezTo>
                    <a:pt x="0" y="50"/>
                    <a:pt x="977" y="45452"/>
                    <a:pt x="2705" y="101268"/>
                  </a:cubicBezTo>
                  <a:cubicBezTo>
                    <a:pt x="4432" y="157084"/>
                    <a:pt x="6286" y="202448"/>
                    <a:pt x="6819" y="2024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1" name="Free Form 3366">
              <a:extLst>
                <a:ext uri="{FF2B5EF4-FFF2-40B4-BE49-F238E27FC236}">
                  <a16:creationId xmlns:a16="http://schemas.microsoft.com/office/drawing/2014/main" id="{AA87FD7C-3387-B2D9-0F99-1CC28D608714}"/>
                </a:ext>
              </a:extLst>
            </p:cNvPr>
            <p:cNvSpPr/>
            <p:nvPr/>
          </p:nvSpPr>
          <p:spPr>
            <a:xfrm>
              <a:off x="26036640" y="30043236"/>
              <a:ext cx="95440" cy="228179"/>
            </a:xfrm>
            <a:custGeom>
              <a:avLst/>
              <a:gdLst/>
              <a:ahLst/>
              <a:cxnLst/>
              <a:rect l="0" t="0" r="0" b="0"/>
              <a:pathLst>
                <a:path w="95439" h="228178">
                  <a:moveTo>
                    <a:pt x="13792" y="0"/>
                  </a:moveTo>
                  <a:cubicBezTo>
                    <a:pt x="13588" y="685"/>
                    <a:pt x="13449" y="1384"/>
                    <a:pt x="13398" y="2095"/>
                  </a:cubicBezTo>
                  <a:cubicBezTo>
                    <a:pt x="13169" y="3657"/>
                    <a:pt x="12852" y="5702"/>
                    <a:pt x="12483" y="8229"/>
                  </a:cubicBezTo>
                  <a:cubicBezTo>
                    <a:pt x="11772" y="13906"/>
                    <a:pt x="10756" y="21488"/>
                    <a:pt x="9651" y="30949"/>
                  </a:cubicBezTo>
                  <a:cubicBezTo>
                    <a:pt x="7200" y="50596"/>
                    <a:pt x="3975" y="77824"/>
                    <a:pt x="0" y="108939"/>
                  </a:cubicBezTo>
                  <a:lnTo>
                    <a:pt x="0" y="110209"/>
                  </a:lnTo>
                  <a:lnTo>
                    <a:pt x="1244" y="109980"/>
                  </a:lnTo>
                  <a:lnTo>
                    <a:pt x="21602" y="106488"/>
                  </a:lnTo>
                  <a:lnTo>
                    <a:pt x="20548" y="105129"/>
                  </a:lnTo>
                  <a:cubicBezTo>
                    <a:pt x="19329" y="107974"/>
                    <a:pt x="17995" y="110806"/>
                    <a:pt x="16687" y="113816"/>
                  </a:cubicBezTo>
                  <a:lnTo>
                    <a:pt x="9055" y="130846"/>
                  </a:lnTo>
                  <a:lnTo>
                    <a:pt x="8801" y="131418"/>
                  </a:lnTo>
                  <a:lnTo>
                    <a:pt x="9194" y="131875"/>
                  </a:lnTo>
                  <a:lnTo>
                    <a:pt x="65632" y="197317"/>
                  </a:lnTo>
                  <a:lnTo>
                    <a:pt x="82663" y="216596"/>
                  </a:lnTo>
                  <a:lnTo>
                    <a:pt x="87298" y="221726"/>
                  </a:lnTo>
                  <a:cubicBezTo>
                    <a:pt x="88378" y="222895"/>
                    <a:pt x="95388" y="228178"/>
                    <a:pt x="95414" y="228114"/>
                  </a:cubicBezTo>
                  <a:cubicBezTo>
                    <a:pt x="95439" y="228064"/>
                    <a:pt x="88543" y="222755"/>
                    <a:pt x="87578" y="221498"/>
                  </a:cubicBezTo>
                  <a:lnTo>
                    <a:pt x="83209" y="216138"/>
                  </a:lnTo>
                  <a:lnTo>
                    <a:pt x="66737" y="196492"/>
                  </a:lnTo>
                  <a:cubicBezTo>
                    <a:pt x="52552" y="179741"/>
                    <a:pt x="32930" y="156741"/>
                    <a:pt x="10782" y="130630"/>
                  </a:cubicBezTo>
                  <a:lnTo>
                    <a:pt x="10782" y="131621"/>
                  </a:lnTo>
                  <a:cubicBezTo>
                    <a:pt x="13258" y="126173"/>
                    <a:pt x="15811" y="120267"/>
                    <a:pt x="18452" y="114590"/>
                  </a:cubicBezTo>
                  <a:cubicBezTo>
                    <a:pt x="19748" y="111746"/>
                    <a:pt x="21081" y="108647"/>
                    <a:pt x="22313" y="105904"/>
                  </a:cubicBezTo>
                  <a:lnTo>
                    <a:pt x="23050" y="104253"/>
                  </a:lnTo>
                  <a:lnTo>
                    <a:pt x="21284" y="104557"/>
                  </a:lnTo>
                  <a:lnTo>
                    <a:pt x="927" y="108113"/>
                  </a:lnTo>
                  <a:lnTo>
                    <a:pt x="2006" y="109129"/>
                  </a:lnTo>
                  <a:cubicBezTo>
                    <a:pt x="5587" y="77900"/>
                    <a:pt x="8737" y="50735"/>
                    <a:pt x="10985" y="31089"/>
                  </a:cubicBezTo>
                  <a:cubicBezTo>
                    <a:pt x="12001" y="21488"/>
                    <a:pt x="12826" y="13741"/>
                    <a:pt x="13423" y="8178"/>
                  </a:cubicBezTo>
                  <a:cubicBezTo>
                    <a:pt x="13677" y="5651"/>
                    <a:pt x="13855" y="3606"/>
                    <a:pt x="13995" y="2044"/>
                  </a:cubicBezTo>
                  <a:cubicBezTo>
                    <a:pt x="13995" y="1358"/>
                    <a:pt x="13931" y="673"/>
                    <a:pt x="13792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2" name="Free Form 3367">
              <a:extLst>
                <a:ext uri="{FF2B5EF4-FFF2-40B4-BE49-F238E27FC236}">
                  <a16:creationId xmlns:a16="http://schemas.microsoft.com/office/drawing/2014/main" id="{F09EB2F8-5037-39BA-3F75-B3D3B2835F4E}"/>
                </a:ext>
              </a:extLst>
            </p:cNvPr>
            <p:cNvSpPr/>
            <p:nvPr/>
          </p:nvSpPr>
          <p:spPr>
            <a:xfrm>
              <a:off x="26131630" y="30131602"/>
              <a:ext cx="101155" cy="134987"/>
            </a:xfrm>
            <a:custGeom>
              <a:avLst/>
              <a:gdLst/>
              <a:ahLst/>
              <a:cxnLst/>
              <a:rect l="0" t="0" r="0" b="0"/>
              <a:pathLst>
                <a:path w="101154" h="134986">
                  <a:moveTo>
                    <a:pt x="101154" y="355"/>
                  </a:moveTo>
                  <a:cubicBezTo>
                    <a:pt x="100532" y="2374"/>
                    <a:pt x="87324" y="4394"/>
                    <a:pt x="85025" y="9956"/>
                  </a:cubicBezTo>
                  <a:cubicBezTo>
                    <a:pt x="82726" y="15519"/>
                    <a:pt x="83869" y="21881"/>
                    <a:pt x="85482" y="27673"/>
                  </a:cubicBezTo>
                  <a:cubicBezTo>
                    <a:pt x="87108" y="33464"/>
                    <a:pt x="89254" y="39331"/>
                    <a:pt x="88860" y="45351"/>
                  </a:cubicBezTo>
                  <a:cubicBezTo>
                    <a:pt x="88124" y="56146"/>
                    <a:pt x="79602" y="64540"/>
                    <a:pt x="71652" y="71868"/>
                  </a:cubicBezTo>
                  <a:cubicBezTo>
                    <a:pt x="49402" y="92315"/>
                    <a:pt x="22262" y="114451"/>
                    <a:pt x="0" y="134986"/>
                  </a:cubicBezTo>
                  <a:cubicBezTo>
                    <a:pt x="19697" y="109853"/>
                    <a:pt x="45427" y="83882"/>
                    <a:pt x="67194" y="60464"/>
                  </a:cubicBezTo>
                  <a:cubicBezTo>
                    <a:pt x="70687" y="57250"/>
                    <a:pt x="73405" y="53288"/>
                    <a:pt x="75119" y="48869"/>
                  </a:cubicBezTo>
                  <a:cubicBezTo>
                    <a:pt x="76846" y="43192"/>
                    <a:pt x="75119" y="37121"/>
                    <a:pt x="73481" y="31444"/>
                  </a:cubicBezTo>
                  <a:cubicBezTo>
                    <a:pt x="71246" y="23875"/>
                    <a:pt x="69011" y="16306"/>
                    <a:pt x="66775" y="8737"/>
                  </a:cubicBezTo>
                  <a:cubicBezTo>
                    <a:pt x="66204" y="6794"/>
                    <a:pt x="64959" y="3530"/>
                    <a:pt x="64642" y="2489"/>
                  </a:cubicBezTo>
                  <a:cubicBezTo>
                    <a:pt x="67372" y="1904"/>
                    <a:pt x="70141" y="1562"/>
                    <a:pt x="72935" y="1460"/>
                  </a:cubicBezTo>
                  <a:cubicBezTo>
                    <a:pt x="82307" y="419"/>
                    <a:pt x="91731" y="0"/>
                    <a:pt x="101154" y="215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3" name="Free Form 3368">
              <a:extLst>
                <a:ext uri="{FF2B5EF4-FFF2-40B4-BE49-F238E27FC236}">
                  <a16:creationId xmlns:a16="http://schemas.microsoft.com/office/drawing/2014/main" id="{D0154BE7-9C3E-9361-27B4-D076FD048D89}"/>
                </a:ext>
              </a:extLst>
            </p:cNvPr>
            <p:cNvSpPr/>
            <p:nvPr/>
          </p:nvSpPr>
          <p:spPr>
            <a:xfrm>
              <a:off x="26241696" y="30055671"/>
              <a:ext cx="133527" cy="309152"/>
            </a:xfrm>
            <a:custGeom>
              <a:avLst/>
              <a:gdLst/>
              <a:ahLst/>
              <a:cxnLst/>
              <a:rect l="0" t="0" r="0" b="0"/>
              <a:pathLst>
                <a:path w="133526" h="309152">
                  <a:moveTo>
                    <a:pt x="30949" y="0"/>
                  </a:moveTo>
                  <a:cubicBezTo>
                    <a:pt x="30949" y="0"/>
                    <a:pt x="61784" y="10845"/>
                    <a:pt x="71436" y="43865"/>
                  </a:cubicBezTo>
                  <a:cubicBezTo>
                    <a:pt x="81088" y="76884"/>
                    <a:pt x="88467" y="122871"/>
                    <a:pt x="98182" y="151750"/>
                  </a:cubicBezTo>
                  <a:cubicBezTo>
                    <a:pt x="107885" y="180617"/>
                    <a:pt x="100227" y="182979"/>
                    <a:pt x="105675" y="194612"/>
                  </a:cubicBezTo>
                  <a:cubicBezTo>
                    <a:pt x="111123" y="206258"/>
                    <a:pt x="133526" y="241805"/>
                    <a:pt x="116381" y="267979"/>
                  </a:cubicBezTo>
                  <a:cubicBezTo>
                    <a:pt x="99224" y="294154"/>
                    <a:pt x="82142" y="309152"/>
                    <a:pt x="50024" y="296376"/>
                  </a:cubicBezTo>
                  <a:cubicBezTo>
                    <a:pt x="31228" y="289048"/>
                    <a:pt x="14173" y="277834"/>
                    <a:pt x="0" y="263458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4" name="Free Form 3369">
              <a:extLst>
                <a:ext uri="{FF2B5EF4-FFF2-40B4-BE49-F238E27FC236}">
                  <a16:creationId xmlns:a16="http://schemas.microsoft.com/office/drawing/2014/main" id="{A54A435A-FF1F-F4B5-AF15-31E9A1BCDB87}"/>
                </a:ext>
              </a:extLst>
            </p:cNvPr>
            <p:cNvSpPr/>
            <p:nvPr/>
          </p:nvSpPr>
          <p:spPr>
            <a:xfrm>
              <a:off x="26251131" y="30116114"/>
              <a:ext cx="41389" cy="239698"/>
            </a:xfrm>
            <a:custGeom>
              <a:avLst/>
              <a:gdLst/>
              <a:ahLst/>
              <a:cxnLst/>
              <a:rect l="0" t="0" r="0" b="0"/>
              <a:pathLst>
                <a:path w="41388" h="239697">
                  <a:moveTo>
                    <a:pt x="40652" y="0"/>
                  </a:moveTo>
                  <a:cubicBezTo>
                    <a:pt x="40525" y="812"/>
                    <a:pt x="40461" y="1638"/>
                    <a:pt x="40487" y="2476"/>
                  </a:cubicBezTo>
                  <a:lnTo>
                    <a:pt x="40487" y="9562"/>
                  </a:lnTo>
                  <a:lnTo>
                    <a:pt x="40487" y="14706"/>
                  </a:lnTo>
                  <a:cubicBezTo>
                    <a:pt x="40487" y="16586"/>
                    <a:pt x="40195" y="18592"/>
                    <a:pt x="40029" y="20776"/>
                  </a:cubicBezTo>
                  <a:cubicBezTo>
                    <a:pt x="39661" y="25133"/>
                    <a:pt x="39458" y="30124"/>
                    <a:pt x="38582" y="35572"/>
                  </a:cubicBezTo>
                  <a:cubicBezTo>
                    <a:pt x="38213" y="38417"/>
                    <a:pt x="37807" y="41249"/>
                    <a:pt x="37413" y="44093"/>
                  </a:cubicBezTo>
                  <a:cubicBezTo>
                    <a:pt x="37020" y="46925"/>
                    <a:pt x="36308" y="50139"/>
                    <a:pt x="35737" y="53352"/>
                  </a:cubicBezTo>
                  <a:cubicBezTo>
                    <a:pt x="34696" y="59727"/>
                    <a:pt x="33045" y="66458"/>
                    <a:pt x="31457" y="73583"/>
                  </a:cubicBezTo>
                  <a:cubicBezTo>
                    <a:pt x="28041" y="87781"/>
                    <a:pt x="23761" y="103262"/>
                    <a:pt x="19164" y="119493"/>
                  </a:cubicBezTo>
                  <a:cubicBezTo>
                    <a:pt x="14566" y="135736"/>
                    <a:pt x="10439" y="151318"/>
                    <a:pt x="7238" y="165606"/>
                  </a:cubicBezTo>
                  <a:cubicBezTo>
                    <a:pt x="5791" y="172781"/>
                    <a:pt x="4394" y="179576"/>
                    <a:pt x="3340" y="186014"/>
                  </a:cubicBezTo>
                  <a:cubicBezTo>
                    <a:pt x="2857" y="189253"/>
                    <a:pt x="2298" y="192352"/>
                    <a:pt x="1930" y="195323"/>
                  </a:cubicBezTo>
                  <a:cubicBezTo>
                    <a:pt x="1562" y="198308"/>
                    <a:pt x="1333" y="201203"/>
                    <a:pt x="1041" y="203985"/>
                  </a:cubicBezTo>
                  <a:cubicBezTo>
                    <a:pt x="368" y="209471"/>
                    <a:pt x="368" y="214488"/>
                    <a:pt x="190" y="218869"/>
                  </a:cubicBezTo>
                  <a:cubicBezTo>
                    <a:pt x="190" y="221079"/>
                    <a:pt x="0" y="223098"/>
                    <a:pt x="25" y="224990"/>
                  </a:cubicBezTo>
                  <a:cubicBezTo>
                    <a:pt x="50" y="226895"/>
                    <a:pt x="190" y="228572"/>
                    <a:pt x="253" y="230134"/>
                  </a:cubicBezTo>
                  <a:cubicBezTo>
                    <a:pt x="419" y="232979"/>
                    <a:pt x="533" y="235442"/>
                    <a:pt x="647" y="237233"/>
                  </a:cubicBezTo>
                  <a:cubicBezTo>
                    <a:pt x="660" y="238058"/>
                    <a:pt x="749" y="238884"/>
                    <a:pt x="901" y="239697"/>
                  </a:cubicBezTo>
                  <a:cubicBezTo>
                    <a:pt x="965" y="238871"/>
                    <a:pt x="965" y="238033"/>
                    <a:pt x="901" y="237208"/>
                  </a:cubicBezTo>
                  <a:lnTo>
                    <a:pt x="901" y="230108"/>
                  </a:lnTo>
                  <a:lnTo>
                    <a:pt x="901" y="224990"/>
                  </a:lnTo>
                  <a:cubicBezTo>
                    <a:pt x="901" y="223149"/>
                    <a:pt x="1104" y="221079"/>
                    <a:pt x="1193" y="218894"/>
                  </a:cubicBezTo>
                  <a:cubicBezTo>
                    <a:pt x="1473" y="214551"/>
                    <a:pt x="1562" y="209547"/>
                    <a:pt x="2349" y="204099"/>
                  </a:cubicBezTo>
                  <a:cubicBezTo>
                    <a:pt x="2666" y="201267"/>
                    <a:pt x="3009" y="198422"/>
                    <a:pt x="3340" y="195577"/>
                  </a:cubicBezTo>
                  <a:cubicBezTo>
                    <a:pt x="3682" y="192745"/>
                    <a:pt x="4343" y="189532"/>
                    <a:pt x="4851" y="186332"/>
                  </a:cubicBezTo>
                  <a:cubicBezTo>
                    <a:pt x="5816" y="179944"/>
                    <a:pt x="7378" y="173188"/>
                    <a:pt x="8889" y="166025"/>
                  </a:cubicBezTo>
                  <a:cubicBezTo>
                    <a:pt x="12179" y="151839"/>
                    <a:pt x="16344" y="136307"/>
                    <a:pt x="20916" y="120064"/>
                  </a:cubicBezTo>
                  <a:cubicBezTo>
                    <a:pt x="25488" y="103821"/>
                    <a:pt x="29755" y="88302"/>
                    <a:pt x="33095" y="74040"/>
                  </a:cubicBezTo>
                  <a:cubicBezTo>
                    <a:pt x="34632" y="66890"/>
                    <a:pt x="36220" y="60108"/>
                    <a:pt x="37248" y="53656"/>
                  </a:cubicBezTo>
                  <a:cubicBezTo>
                    <a:pt x="37782" y="50456"/>
                    <a:pt x="38404" y="47383"/>
                    <a:pt x="38810" y="44373"/>
                  </a:cubicBezTo>
                  <a:cubicBezTo>
                    <a:pt x="39204" y="41363"/>
                    <a:pt x="39521" y="38531"/>
                    <a:pt x="39852" y="35851"/>
                  </a:cubicBezTo>
                  <a:cubicBezTo>
                    <a:pt x="40652" y="30378"/>
                    <a:pt x="40766" y="25348"/>
                    <a:pt x="41045" y="20980"/>
                  </a:cubicBezTo>
                  <a:cubicBezTo>
                    <a:pt x="41045" y="18795"/>
                    <a:pt x="41325" y="16751"/>
                    <a:pt x="41363" y="14871"/>
                  </a:cubicBezTo>
                  <a:cubicBezTo>
                    <a:pt x="41388" y="13004"/>
                    <a:pt x="41363" y="11277"/>
                    <a:pt x="41363" y="9715"/>
                  </a:cubicBezTo>
                  <a:cubicBezTo>
                    <a:pt x="41363" y="6870"/>
                    <a:pt x="41223" y="4406"/>
                    <a:pt x="41160" y="2616"/>
                  </a:cubicBezTo>
                  <a:cubicBezTo>
                    <a:pt x="41084" y="1727"/>
                    <a:pt x="40918" y="850"/>
                    <a:pt x="40652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5" name="Free Form 3370">
              <a:extLst>
                <a:ext uri="{FF2B5EF4-FFF2-40B4-BE49-F238E27FC236}">
                  <a16:creationId xmlns:a16="http://schemas.microsoft.com/office/drawing/2014/main" id="{B75E6A2D-CD67-9BB2-938B-A794AC98A376}"/>
                </a:ext>
              </a:extLst>
            </p:cNvPr>
            <p:cNvSpPr/>
            <p:nvPr/>
          </p:nvSpPr>
          <p:spPr>
            <a:xfrm>
              <a:off x="26264045" y="30229910"/>
              <a:ext cx="78219" cy="22568"/>
            </a:xfrm>
            <a:custGeom>
              <a:avLst/>
              <a:gdLst/>
              <a:ahLst/>
              <a:cxnLst/>
              <a:rect l="0" t="0" r="0" b="0"/>
              <a:pathLst>
                <a:path w="78218" h="22567">
                  <a:moveTo>
                    <a:pt x="0" y="5587"/>
                  </a:moveTo>
                  <a:cubicBezTo>
                    <a:pt x="0" y="5930"/>
                    <a:pt x="4571" y="4737"/>
                    <a:pt x="11975" y="4000"/>
                  </a:cubicBezTo>
                  <a:cubicBezTo>
                    <a:pt x="31355" y="2082"/>
                    <a:pt x="50862" y="6248"/>
                    <a:pt x="67766" y="15925"/>
                  </a:cubicBezTo>
                  <a:cubicBezTo>
                    <a:pt x="74218" y="19646"/>
                    <a:pt x="77812" y="22567"/>
                    <a:pt x="78015" y="22275"/>
                  </a:cubicBezTo>
                  <a:cubicBezTo>
                    <a:pt x="78218" y="21996"/>
                    <a:pt x="77278" y="21399"/>
                    <a:pt x="75665" y="20040"/>
                  </a:cubicBezTo>
                  <a:cubicBezTo>
                    <a:pt x="73392" y="18110"/>
                    <a:pt x="70966" y="16357"/>
                    <a:pt x="68414" y="14808"/>
                  </a:cubicBezTo>
                  <a:cubicBezTo>
                    <a:pt x="51548" y="4292"/>
                    <a:pt x="31521" y="0"/>
                    <a:pt x="11810" y="2692"/>
                  </a:cubicBezTo>
                  <a:cubicBezTo>
                    <a:pt x="8851" y="3086"/>
                    <a:pt x="5930" y="3682"/>
                    <a:pt x="3060" y="4508"/>
                  </a:cubicBezTo>
                  <a:cubicBezTo>
                    <a:pt x="1993" y="4711"/>
                    <a:pt x="965" y="5079"/>
                    <a:pt x="0" y="558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6" name="Free Form 3371">
              <a:extLst>
                <a:ext uri="{FF2B5EF4-FFF2-40B4-BE49-F238E27FC236}">
                  <a16:creationId xmlns:a16="http://schemas.microsoft.com/office/drawing/2014/main" id="{2512BB6E-85B9-F325-D4F2-B8AA4DD92D38}"/>
                </a:ext>
              </a:extLst>
            </p:cNvPr>
            <p:cNvSpPr/>
            <p:nvPr/>
          </p:nvSpPr>
          <p:spPr>
            <a:xfrm>
              <a:off x="25905669" y="30234985"/>
              <a:ext cx="41757" cy="51955"/>
            </a:xfrm>
            <a:custGeom>
              <a:avLst/>
              <a:gdLst/>
              <a:ahLst/>
              <a:cxnLst/>
              <a:rect l="0" t="0" r="0" b="0"/>
              <a:pathLst>
                <a:path w="41757" h="51955">
                  <a:moveTo>
                    <a:pt x="0" y="114"/>
                  </a:moveTo>
                  <a:cubicBezTo>
                    <a:pt x="0" y="393"/>
                    <a:pt x="3174" y="2273"/>
                    <a:pt x="8115" y="5791"/>
                  </a:cubicBezTo>
                  <a:cubicBezTo>
                    <a:pt x="20992" y="15328"/>
                    <a:pt x="31152" y="28041"/>
                    <a:pt x="37616" y="42696"/>
                  </a:cubicBezTo>
                  <a:cubicBezTo>
                    <a:pt x="40080" y="48373"/>
                    <a:pt x="41198" y="51955"/>
                    <a:pt x="41477" y="51866"/>
                  </a:cubicBezTo>
                  <a:cubicBezTo>
                    <a:pt x="41757" y="51790"/>
                    <a:pt x="41477" y="50901"/>
                    <a:pt x="41058" y="49199"/>
                  </a:cubicBezTo>
                  <a:cubicBezTo>
                    <a:pt x="40461" y="46824"/>
                    <a:pt x="39725" y="44474"/>
                    <a:pt x="38836" y="42188"/>
                  </a:cubicBezTo>
                  <a:cubicBezTo>
                    <a:pt x="32892" y="26949"/>
                    <a:pt x="22427" y="13880"/>
                    <a:pt x="8864" y="4737"/>
                  </a:cubicBezTo>
                  <a:cubicBezTo>
                    <a:pt x="6832" y="3365"/>
                    <a:pt x="4698" y="2133"/>
                    <a:pt x="2501" y="1054"/>
                  </a:cubicBezTo>
                  <a:cubicBezTo>
                    <a:pt x="939" y="368"/>
                    <a:pt x="63" y="0"/>
                    <a:pt x="0" y="11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7" name="Free Form 3372">
              <a:extLst>
                <a:ext uri="{FF2B5EF4-FFF2-40B4-BE49-F238E27FC236}">
                  <a16:creationId xmlns:a16="http://schemas.microsoft.com/office/drawing/2014/main" id="{6C8D1AEB-FC39-78CF-8D0D-0A8BECE181A7}"/>
                </a:ext>
              </a:extLst>
            </p:cNvPr>
            <p:cNvSpPr/>
            <p:nvPr/>
          </p:nvSpPr>
          <p:spPr>
            <a:xfrm>
              <a:off x="25950069" y="29762793"/>
              <a:ext cx="244435" cy="260055"/>
            </a:xfrm>
            <a:custGeom>
              <a:avLst/>
              <a:gdLst/>
              <a:ahLst/>
              <a:cxnLst/>
              <a:rect l="0" t="0" r="0" b="0"/>
              <a:pathLst>
                <a:path w="244434" h="260055">
                  <a:moveTo>
                    <a:pt x="196238" y="51218"/>
                  </a:moveTo>
                  <a:cubicBezTo>
                    <a:pt x="205890" y="45084"/>
                    <a:pt x="208214" y="30860"/>
                    <a:pt x="202994" y="20700"/>
                  </a:cubicBezTo>
                  <a:cubicBezTo>
                    <a:pt x="197774" y="10540"/>
                    <a:pt x="186675" y="4368"/>
                    <a:pt x="175372" y="2552"/>
                  </a:cubicBezTo>
                  <a:cubicBezTo>
                    <a:pt x="158697" y="0"/>
                    <a:pt x="141806" y="5587"/>
                    <a:pt x="129945" y="17576"/>
                  </a:cubicBezTo>
                  <a:cubicBezTo>
                    <a:pt x="123734" y="23990"/>
                    <a:pt x="118591" y="32371"/>
                    <a:pt x="110247" y="35292"/>
                  </a:cubicBezTo>
                  <a:cubicBezTo>
                    <a:pt x="102805" y="37870"/>
                    <a:pt x="94601" y="35546"/>
                    <a:pt x="86790" y="36562"/>
                  </a:cubicBezTo>
                  <a:cubicBezTo>
                    <a:pt x="76351" y="37909"/>
                    <a:pt x="67398" y="45338"/>
                    <a:pt x="62038" y="54431"/>
                  </a:cubicBezTo>
                  <a:cubicBezTo>
                    <a:pt x="57035" y="63740"/>
                    <a:pt x="54037" y="73989"/>
                    <a:pt x="53237" y="84517"/>
                  </a:cubicBezTo>
                  <a:cubicBezTo>
                    <a:pt x="52094" y="94144"/>
                    <a:pt x="51332" y="104672"/>
                    <a:pt x="44716" y="111695"/>
                  </a:cubicBezTo>
                  <a:cubicBezTo>
                    <a:pt x="38099" y="118705"/>
                    <a:pt x="27939" y="119975"/>
                    <a:pt x="19875" y="124839"/>
                  </a:cubicBezTo>
                  <a:cubicBezTo>
                    <a:pt x="4483" y="135024"/>
                    <a:pt x="0" y="155624"/>
                    <a:pt x="9766" y="171283"/>
                  </a:cubicBezTo>
                  <a:cubicBezTo>
                    <a:pt x="12953" y="175943"/>
                    <a:pt x="17551" y="180223"/>
                    <a:pt x="17919" y="185875"/>
                  </a:cubicBezTo>
                  <a:cubicBezTo>
                    <a:pt x="18262" y="191018"/>
                    <a:pt x="14935" y="195616"/>
                    <a:pt x="13372" y="200556"/>
                  </a:cubicBezTo>
                  <a:cubicBezTo>
                    <a:pt x="9347" y="213218"/>
                    <a:pt x="19735" y="228292"/>
                    <a:pt x="33019" y="228940"/>
                  </a:cubicBezTo>
                  <a:cubicBezTo>
                    <a:pt x="39725" y="229346"/>
                    <a:pt x="46900" y="226730"/>
                    <a:pt x="52894" y="229740"/>
                  </a:cubicBezTo>
                  <a:cubicBezTo>
                    <a:pt x="58889" y="232750"/>
                    <a:pt x="61099" y="239900"/>
                    <a:pt x="64909" y="245386"/>
                  </a:cubicBezTo>
                  <a:cubicBezTo>
                    <a:pt x="72998" y="256295"/>
                    <a:pt x="87616" y="260055"/>
                    <a:pt x="99960" y="254416"/>
                  </a:cubicBezTo>
                  <a:cubicBezTo>
                    <a:pt x="104875" y="251990"/>
                    <a:pt x="109536" y="247990"/>
                    <a:pt x="115009" y="248358"/>
                  </a:cubicBezTo>
                  <a:cubicBezTo>
                    <a:pt x="120496" y="248726"/>
                    <a:pt x="124801" y="253413"/>
                    <a:pt x="130173" y="254441"/>
                  </a:cubicBezTo>
                  <a:cubicBezTo>
                    <a:pt x="137222" y="255800"/>
                    <a:pt x="143914" y="250606"/>
                    <a:pt x="148093" y="244789"/>
                  </a:cubicBezTo>
                  <a:cubicBezTo>
                    <a:pt x="152258" y="238960"/>
                    <a:pt x="155217" y="232090"/>
                    <a:pt x="160551" y="227352"/>
                  </a:cubicBezTo>
                  <a:cubicBezTo>
                    <a:pt x="167587" y="221104"/>
                    <a:pt x="177582" y="219542"/>
                    <a:pt x="186332" y="216507"/>
                  </a:cubicBezTo>
                  <a:cubicBezTo>
                    <a:pt x="224279" y="203426"/>
                    <a:pt x="244434" y="162062"/>
                    <a:pt x="231366" y="124115"/>
                  </a:cubicBezTo>
                  <a:cubicBezTo>
                    <a:pt x="230248" y="120890"/>
                    <a:pt x="228915" y="117740"/>
                    <a:pt x="227352" y="11470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8" name="Free Form 3373">
              <a:extLst>
                <a:ext uri="{FF2B5EF4-FFF2-40B4-BE49-F238E27FC236}">
                  <a16:creationId xmlns:a16="http://schemas.microsoft.com/office/drawing/2014/main" id="{5D6DE0F5-E1D3-36EB-EE86-216B3E391113}"/>
                </a:ext>
              </a:extLst>
            </p:cNvPr>
            <p:cNvSpPr/>
            <p:nvPr/>
          </p:nvSpPr>
          <p:spPr>
            <a:xfrm>
              <a:off x="26030275" y="29810491"/>
              <a:ext cx="151941" cy="273403"/>
            </a:xfrm>
            <a:custGeom>
              <a:avLst/>
              <a:gdLst/>
              <a:ahLst/>
              <a:cxnLst/>
              <a:rect l="0" t="0" r="0" b="0"/>
              <a:pathLst>
                <a:path w="151941" h="273402">
                  <a:moveTo>
                    <a:pt x="137069" y="229169"/>
                  </a:moveTo>
                  <a:lnTo>
                    <a:pt x="138466" y="160297"/>
                  </a:lnTo>
                  <a:lnTo>
                    <a:pt x="151547" y="44093"/>
                  </a:lnTo>
                  <a:cubicBezTo>
                    <a:pt x="151941" y="35800"/>
                    <a:pt x="145921" y="28574"/>
                    <a:pt x="137691" y="27482"/>
                  </a:cubicBezTo>
                  <a:lnTo>
                    <a:pt x="53517" y="3657"/>
                  </a:lnTo>
                  <a:cubicBezTo>
                    <a:pt x="26466" y="0"/>
                    <a:pt x="7442" y="32930"/>
                    <a:pt x="4940" y="60133"/>
                  </a:cubicBezTo>
                  <a:cubicBezTo>
                    <a:pt x="2108" y="90372"/>
                    <a:pt x="0" y="127354"/>
                    <a:pt x="2946" y="150048"/>
                  </a:cubicBezTo>
                  <a:cubicBezTo>
                    <a:pt x="8864" y="195692"/>
                    <a:pt x="43522" y="202448"/>
                    <a:pt x="43522" y="202448"/>
                  </a:cubicBezTo>
                  <a:lnTo>
                    <a:pt x="42303" y="231378"/>
                  </a:lnTo>
                  <a:lnTo>
                    <a:pt x="94677" y="273402"/>
                  </a:ln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09" name="Free Form 3374">
              <a:extLst>
                <a:ext uri="{FF2B5EF4-FFF2-40B4-BE49-F238E27FC236}">
                  <a16:creationId xmlns:a16="http://schemas.microsoft.com/office/drawing/2014/main" id="{2395CEF5-E808-FF30-D7CA-45922743F82E}"/>
                </a:ext>
              </a:extLst>
            </p:cNvPr>
            <p:cNvSpPr/>
            <p:nvPr/>
          </p:nvSpPr>
          <p:spPr>
            <a:xfrm>
              <a:off x="26045295" y="29899161"/>
              <a:ext cx="11900" cy="11671"/>
            </a:xfrm>
            <a:custGeom>
              <a:avLst/>
              <a:gdLst/>
              <a:ahLst/>
              <a:cxnLst/>
              <a:rect l="0" t="0" r="0" b="0"/>
              <a:pathLst>
                <a:path w="11899" h="11671">
                  <a:moveTo>
                    <a:pt x="114" y="5359"/>
                  </a:moveTo>
                  <a:cubicBezTo>
                    <a:pt x="0" y="8521"/>
                    <a:pt x="2412" y="11188"/>
                    <a:pt x="5562" y="11404"/>
                  </a:cubicBezTo>
                  <a:cubicBezTo>
                    <a:pt x="8648" y="11671"/>
                    <a:pt x="11379" y="9410"/>
                    <a:pt x="11696" y="6324"/>
                  </a:cubicBezTo>
                  <a:cubicBezTo>
                    <a:pt x="11899" y="3200"/>
                    <a:pt x="9537" y="495"/>
                    <a:pt x="6400" y="279"/>
                  </a:cubicBezTo>
                  <a:cubicBezTo>
                    <a:pt x="6362" y="279"/>
                    <a:pt x="6324" y="279"/>
                    <a:pt x="6273" y="279"/>
                  </a:cubicBezTo>
                  <a:cubicBezTo>
                    <a:pt x="3174" y="0"/>
                    <a:pt x="431" y="2260"/>
                    <a:pt x="114" y="535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0" name="Free Form 3375">
              <a:extLst>
                <a:ext uri="{FF2B5EF4-FFF2-40B4-BE49-F238E27FC236}">
                  <a16:creationId xmlns:a16="http://schemas.microsoft.com/office/drawing/2014/main" id="{A34BC70B-9978-C618-3B2A-24C02B1D5D31}"/>
                </a:ext>
              </a:extLst>
            </p:cNvPr>
            <p:cNvSpPr/>
            <p:nvPr/>
          </p:nvSpPr>
          <p:spPr>
            <a:xfrm>
              <a:off x="26042369" y="29884361"/>
              <a:ext cx="23901" cy="7048"/>
            </a:xfrm>
            <a:custGeom>
              <a:avLst/>
              <a:gdLst/>
              <a:ahLst/>
              <a:cxnLst/>
              <a:rect l="0" t="0" r="0" b="0"/>
              <a:pathLst>
                <a:path w="23901" h="7048">
                  <a:moveTo>
                    <a:pt x="342" y="5765"/>
                  </a:moveTo>
                  <a:cubicBezTo>
                    <a:pt x="1054" y="6527"/>
                    <a:pt x="5562" y="3403"/>
                    <a:pt x="11696" y="3606"/>
                  </a:cubicBezTo>
                  <a:cubicBezTo>
                    <a:pt x="17830" y="3809"/>
                    <a:pt x="22491" y="7048"/>
                    <a:pt x="23202" y="6451"/>
                  </a:cubicBezTo>
                  <a:cubicBezTo>
                    <a:pt x="23901" y="5854"/>
                    <a:pt x="22834" y="4711"/>
                    <a:pt x="20865" y="3213"/>
                  </a:cubicBezTo>
                  <a:cubicBezTo>
                    <a:pt x="18198" y="1257"/>
                    <a:pt x="14998" y="165"/>
                    <a:pt x="11696" y="88"/>
                  </a:cubicBezTo>
                  <a:cubicBezTo>
                    <a:pt x="8445" y="0"/>
                    <a:pt x="5245" y="939"/>
                    <a:pt x="2552" y="2781"/>
                  </a:cubicBezTo>
                  <a:cubicBezTo>
                    <a:pt x="685" y="4063"/>
                    <a:pt x="0" y="5397"/>
                    <a:pt x="342" y="576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1" name="Free Form 3376">
              <a:extLst>
                <a:ext uri="{FF2B5EF4-FFF2-40B4-BE49-F238E27FC236}">
                  <a16:creationId xmlns:a16="http://schemas.microsoft.com/office/drawing/2014/main" id="{19F39BAF-01D8-CF15-B1AA-BFD43E2D2D3B}"/>
                </a:ext>
              </a:extLst>
            </p:cNvPr>
            <p:cNvSpPr/>
            <p:nvPr/>
          </p:nvSpPr>
          <p:spPr>
            <a:xfrm>
              <a:off x="26104270" y="29900552"/>
              <a:ext cx="11963" cy="11646"/>
            </a:xfrm>
            <a:custGeom>
              <a:avLst/>
              <a:gdLst/>
              <a:ahLst/>
              <a:cxnLst/>
              <a:rect l="0" t="0" r="0" b="0"/>
              <a:pathLst>
                <a:path w="11963" h="11645">
                  <a:moveTo>
                    <a:pt x="190" y="5359"/>
                  </a:moveTo>
                  <a:cubicBezTo>
                    <a:pt x="0" y="8483"/>
                    <a:pt x="2387" y="11175"/>
                    <a:pt x="5511" y="11366"/>
                  </a:cubicBezTo>
                  <a:cubicBezTo>
                    <a:pt x="5562" y="11379"/>
                    <a:pt x="5600" y="11379"/>
                    <a:pt x="5638" y="11379"/>
                  </a:cubicBezTo>
                  <a:cubicBezTo>
                    <a:pt x="8737" y="11645"/>
                    <a:pt x="11455" y="9385"/>
                    <a:pt x="11772" y="6299"/>
                  </a:cubicBezTo>
                  <a:cubicBezTo>
                    <a:pt x="11963" y="3162"/>
                    <a:pt x="9588" y="469"/>
                    <a:pt x="6451" y="279"/>
                  </a:cubicBezTo>
                  <a:lnTo>
                    <a:pt x="6349" y="279"/>
                  </a:lnTo>
                  <a:cubicBezTo>
                    <a:pt x="3251" y="0"/>
                    <a:pt x="507" y="2260"/>
                    <a:pt x="190" y="535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2" name="Free Form 3377">
              <a:extLst>
                <a:ext uri="{FF2B5EF4-FFF2-40B4-BE49-F238E27FC236}">
                  <a16:creationId xmlns:a16="http://schemas.microsoft.com/office/drawing/2014/main" id="{BCCA5E4A-7095-7E0E-C0D6-12E96DACE01D}"/>
                </a:ext>
              </a:extLst>
            </p:cNvPr>
            <p:cNvSpPr/>
            <p:nvPr/>
          </p:nvSpPr>
          <p:spPr>
            <a:xfrm>
              <a:off x="26103946" y="29887234"/>
              <a:ext cx="23799" cy="7099"/>
            </a:xfrm>
            <a:custGeom>
              <a:avLst/>
              <a:gdLst/>
              <a:ahLst/>
              <a:cxnLst/>
              <a:rect l="0" t="0" r="0" b="0"/>
              <a:pathLst>
                <a:path w="23799" h="7099">
                  <a:moveTo>
                    <a:pt x="342" y="5816"/>
                  </a:moveTo>
                  <a:cubicBezTo>
                    <a:pt x="1054" y="6578"/>
                    <a:pt x="5562" y="3454"/>
                    <a:pt x="11848" y="3632"/>
                  </a:cubicBezTo>
                  <a:cubicBezTo>
                    <a:pt x="18110" y="3797"/>
                    <a:pt x="22605" y="7099"/>
                    <a:pt x="23202" y="6464"/>
                  </a:cubicBezTo>
                  <a:cubicBezTo>
                    <a:pt x="23799" y="5841"/>
                    <a:pt x="22859" y="4737"/>
                    <a:pt x="20865" y="3238"/>
                  </a:cubicBezTo>
                  <a:cubicBezTo>
                    <a:pt x="18211" y="1282"/>
                    <a:pt x="15023" y="190"/>
                    <a:pt x="11721" y="114"/>
                  </a:cubicBezTo>
                  <a:cubicBezTo>
                    <a:pt x="8470" y="0"/>
                    <a:pt x="5257" y="939"/>
                    <a:pt x="2565" y="2781"/>
                  </a:cubicBezTo>
                  <a:cubicBezTo>
                    <a:pt x="711" y="4114"/>
                    <a:pt x="0" y="5448"/>
                    <a:pt x="342" y="581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3" name="Free Form 3378">
              <a:extLst>
                <a:ext uri="{FF2B5EF4-FFF2-40B4-BE49-F238E27FC236}">
                  <a16:creationId xmlns:a16="http://schemas.microsoft.com/office/drawing/2014/main" id="{C1B0EB8B-F821-CFE1-CBEB-FEF1C67A4761}"/>
                </a:ext>
              </a:extLst>
            </p:cNvPr>
            <p:cNvSpPr/>
            <p:nvPr/>
          </p:nvSpPr>
          <p:spPr>
            <a:xfrm>
              <a:off x="26064090" y="29886411"/>
              <a:ext cx="21183" cy="52818"/>
            </a:xfrm>
            <a:custGeom>
              <a:avLst/>
              <a:gdLst/>
              <a:ahLst/>
              <a:cxnLst/>
              <a:rect l="0" t="0" r="0" b="0"/>
              <a:pathLst>
                <a:path w="21183" h="52818">
                  <a:moveTo>
                    <a:pt x="16154" y="52463"/>
                  </a:moveTo>
                  <a:cubicBezTo>
                    <a:pt x="12877" y="51358"/>
                    <a:pt x="9474" y="50647"/>
                    <a:pt x="6019" y="50354"/>
                  </a:cubicBezTo>
                  <a:cubicBezTo>
                    <a:pt x="4432" y="50139"/>
                    <a:pt x="2895" y="49770"/>
                    <a:pt x="2666" y="48691"/>
                  </a:cubicBezTo>
                  <a:cubicBezTo>
                    <a:pt x="2578" y="47027"/>
                    <a:pt x="2997" y="45389"/>
                    <a:pt x="3860" y="43979"/>
                  </a:cubicBezTo>
                  <a:lnTo>
                    <a:pt x="8940" y="31902"/>
                  </a:lnTo>
                  <a:cubicBezTo>
                    <a:pt x="16014" y="14871"/>
                    <a:pt x="21183" y="673"/>
                    <a:pt x="20497" y="342"/>
                  </a:cubicBezTo>
                  <a:cubicBezTo>
                    <a:pt x="19811" y="0"/>
                    <a:pt x="13512" y="13741"/>
                    <a:pt x="6299" y="30911"/>
                  </a:cubicBezTo>
                  <a:cubicBezTo>
                    <a:pt x="4597" y="35140"/>
                    <a:pt x="2946" y="39179"/>
                    <a:pt x="1422" y="43039"/>
                  </a:cubicBezTo>
                  <a:cubicBezTo>
                    <a:pt x="355" y="44944"/>
                    <a:pt x="0" y="47167"/>
                    <a:pt x="393" y="49313"/>
                  </a:cubicBezTo>
                  <a:cubicBezTo>
                    <a:pt x="850" y="50469"/>
                    <a:pt x="1803" y="51358"/>
                    <a:pt x="2984" y="51726"/>
                  </a:cubicBezTo>
                  <a:cubicBezTo>
                    <a:pt x="3898" y="51993"/>
                    <a:pt x="4864" y="52145"/>
                    <a:pt x="5816" y="52183"/>
                  </a:cubicBezTo>
                  <a:cubicBezTo>
                    <a:pt x="9232" y="52717"/>
                    <a:pt x="12712" y="52818"/>
                    <a:pt x="16154" y="5246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4" name="Free Form 3379">
              <a:extLst>
                <a:ext uri="{FF2B5EF4-FFF2-40B4-BE49-F238E27FC236}">
                  <a16:creationId xmlns:a16="http://schemas.microsoft.com/office/drawing/2014/main" id="{B304A487-4325-C9F7-6BFE-894B5ADC7D56}"/>
                </a:ext>
              </a:extLst>
            </p:cNvPr>
            <p:cNvSpPr/>
            <p:nvPr/>
          </p:nvSpPr>
          <p:spPr>
            <a:xfrm>
              <a:off x="26073798" y="29998440"/>
              <a:ext cx="61289" cy="30797"/>
            </a:xfrm>
            <a:custGeom>
              <a:avLst/>
              <a:gdLst/>
              <a:ahLst/>
              <a:cxnLst/>
              <a:rect l="0" t="0" r="0" b="0"/>
              <a:pathLst>
                <a:path w="61289" h="30797">
                  <a:moveTo>
                    <a:pt x="0" y="14503"/>
                  </a:moveTo>
                  <a:cubicBezTo>
                    <a:pt x="21386" y="15430"/>
                    <a:pt x="42595" y="10413"/>
                    <a:pt x="61289" y="0"/>
                  </a:cubicBezTo>
                  <a:cubicBezTo>
                    <a:pt x="61289" y="0"/>
                    <a:pt x="45656" y="30797"/>
                    <a:pt x="317" y="25260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5" name="Free Form 3380">
              <a:extLst>
                <a:ext uri="{FF2B5EF4-FFF2-40B4-BE49-F238E27FC236}">
                  <a16:creationId xmlns:a16="http://schemas.microsoft.com/office/drawing/2014/main" id="{72A01BE2-95F8-0BDF-F9D8-800A31CB3C90}"/>
                </a:ext>
              </a:extLst>
            </p:cNvPr>
            <p:cNvSpPr/>
            <p:nvPr/>
          </p:nvSpPr>
          <p:spPr>
            <a:xfrm>
              <a:off x="26102019" y="29861659"/>
              <a:ext cx="29096" cy="10947"/>
            </a:xfrm>
            <a:custGeom>
              <a:avLst/>
              <a:gdLst/>
              <a:ahLst/>
              <a:cxnLst/>
              <a:rect l="0" t="0" r="0" b="0"/>
              <a:pathLst>
                <a:path w="29095" h="10947">
                  <a:moveTo>
                    <a:pt x="253" y="5499"/>
                  </a:moveTo>
                  <a:cubicBezTo>
                    <a:pt x="825" y="7200"/>
                    <a:pt x="7099" y="6578"/>
                    <a:pt x="14452" y="7683"/>
                  </a:cubicBezTo>
                  <a:cubicBezTo>
                    <a:pt x="21805" y="8788"/>
                    <a:pt x="27685" y="10947"/>
                    <a:pt x="28650" y="9448"/>
                  </a:cubicBezTo>
                  <a:cubicBezTo>
                    <a:pt x="29095" y="8737"/>
                    <a:pt x="28104" y="7086"/>
                    <a:pt x="25806" y="5384"/>
                  </a:cubicBezTo>
                  <a:cubicBezTo>
                    <a:pt x="19443" y="1104"/>
                    <a:pt x="11467" y="0"/>
                    <a:pt x="4178" y="2374"/>
                  </a:cubicBezTo>
                  <a:cubicBezTo>
                    <a:pt x="1422" y="3365"/>
                    <a:pt x="0" y="4673"/>
                    <a:pt x="253" y="549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6" name="Free Form 3381">
              <a:extLst>
                <a:ext uri="{FF2B5EF4-FFF2-40B4-BE49-F238E27FC236}">
                  <a16:creationId xmlns:a16="http://schemas.microsoft.com/office/drawing/2014/main" id="{55F8B4BB-DFF7-5A3C-1535-3D215AC14BF2}"/>
                </a:ext>
              </a:extLst>
            </p:cNvPr>
            <p:cNvSpPr/>
            <p:nvPr/>
          </p:nvSpPr>
          <p:spPr>
            <a:xfrm>
              <a:off x="26045064" y="29861557"/>
              <a:ext cx="22174" cy="8496"/>
            </a:xfrm>
            <a:custGeom>
              <a:avLst/>
              <a:gdLst/>
              <a:ahLst/>
              <a:cxnLst/>
              <a:rect l="0" t="0" r="0" b="0"/>
              <a:pathLst>
                <a:path w="22173" h="8496">
                  <a:moveTo>
                    <a:pt x="457" y="7048"/>
                  </a:moveTo>
                  <a:cubicBezTo>
                    <a:pt x="1536" y="8496"/>
                    <a:pt x="5880" y="7048"/>
                    <a:pt x="11074" y="7213"/>
                  </a:cubicBezTo>
                  <a:cubicBezTo>
                    <a:pt x="16268" y="7391"/>
                    <a:pt x="20637" y="8470"/>
                    <a:pt x="21691" y="6997"/>
                  </a:cubicBezTo>
                  <a:cubicBezTo>
                    <a:pt x="22173" y="6286"/>
                    <a:pt x="21526" y="4838"/>
                    <a:pt x="19621" y="3441"/>
                  </a:cubicBezTo>
                  <a:cubicBezTo>
                    <a:pt x="14465" y="0"/>
                    <a:pt x="7746" y="0"/>
                    <a:pt x="2590" y="3441"/>
                  </a:cubicBezTo>
                  <a:cubicBezTo>
                    <a:pt x="660" y="4889"/>
                    <a:pt x="0" y="6337"/>
                    <a:pt x="457" y="70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7" name="Free Form 3382">
              <a:extLst>
                <a:ext uri="{FF2B5EF4-FFF2-40B4-BE49-F238E27FC236}">
                  <a16:creationId xmlns:a16="http://schemas.microsoft.com/office/drawing/2014/main" id="{2D1BD79B-7238-66A3-F6D6-758726AA2AD2}"/>
                </a:ext>
              </a:extLst>
            </p:cNvPr>
            <p:cNvSpPr/>
            <p:nvPr/>
          </p:nvSpPr>
          <p:spPr>
            <a:xfrm>
              <a:off x="26081460" y="29950794"/>
              <a:ext cx="22389" cy="20053"/>
            </a:xfrm>
            <a:custGeom>
              <a:avLst/>
              <a:gdLst/>
              <a:ahLst/>
              <a:cxnLst/>
              <a:rect l="0" t="0" r="0" b="0"/>
              <a:pathLst>
                <a:path w="22389" h="20053">
                  <a:moveTo>
                    <a:pt x="18402" y="939"/>
                  </a:moveTo>
                  <a:cubicBezTo>
                    <a:pt x="22389" y="6172"/>
                    <a:pt x="21386" y="13652"/>
                    <a:pt x="16154" y="17652"/>
                  </a:cubicBezTo>
                  <a:cubicBezTo>
                    <a:pt x="15036" y="18503"/>
                    <a:pt x="13779" y="19151"/>
                    <a:pt x="12445" y="19557"/>
                  </a:cubicBezTo>
                  <a:cubicBezTo>
                    <a:pt x="10985" y="20053"/>
                    <a:pt x="9410" y="20053"/>
                    <a:pt x="7950" y="19557"/>
                  </a:cubicBezTo>
                  <a:cubicBezTo>
                    <a:pt x="5575" y="18237"/>
                    <a:pt x="3848" y="15989"/>
                    <a:pt x="3187" y="13347"/>
                  </a:cubicBezTo>
                  <a:cubicBezTo>
                    <a:pt x="2336" y="11277"/>
                    <a:pt x="1511" y="9169"/>
                    <a:pt x="685" y="7099"/>
                  </a:cubicBezTo>
                  <a:cubicBezTo>
                    <a:pt x="0" y="6172"/>
                    <a:pt x="190" y="4851"/>
                    <a:pt x="1117" y="4165"/>
                  </a:cubicBezTo>
                  <a:cubicBezTo>
                    <a:pt x="1511" y="3873"/>
                    <a:pt x="1993" y="3721"/>
                    <a:pt x="2476" y="3746"/>
                  </a:cubicBezTo>
                  <a:lnTo>
                    <a:pt x="17919" y="0"/>
                  </a:ln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8" name="Free Form 3383">
              <a:extLst>
                <a:ext uri="{FF2B5EF4-FFF2-40B4-BE49-F238E27FC236}">
                  <a16:creationId xmlns:a16="http://schemas.microsoft.com/office/drawing/2014/main" id="{039583B7-2C17-5BF6-DD43-4B0578CF8519}"/>
                </a:ext>
              </a:extLst>
            </p:cNvPr>
            <p:cNvSpPr/>
            <p:nvPr/>
          </p:nvSpPr>
          <p:spPr>
            <a:xfrm>
              <a:off x="26078403" y="29948491"/>
              <a:ext cx="25577" cy="22263"/>
            </a:xfrm>
            <a:custGeom>
              <a:avLst/>
              <a:gdLst/>
              <a:ahLst/>
              <a:cxnLst/>
              <a:rect l="0" t="0" r="0" b="0"/>
              <a:pathLst>
                <a:path w="25577" h="22262">
                  <a:moveTo>
                    <a:pt x="9931" y="21894"/>
                  </a:moveTo>
                  <a:cubicBezTo>
                    <a:pt x="12534" y="22262"/>
                    <a:pt x="15189" y="21932"/>
                    <a:pt x="17627" y="20929"/>
                  </a:cubicBezTo>
                  <a:cubicBezTo>
                    <a:pt x="20472" y="20014"/>
                    <a:pt x="22872" y="18071"/>
                    <a:pt x="24358" y="15481"/>
                  </a:cubicBezTo>
                  <a:cubicBezTo>
                    <a:pt x="25221" y="13868"/>
                    <a:pt x="25577" y="12039"/>
                    <a:pt x="25374" y="10223"/>
                  </a:cubicBezTo>
                  <a:cubicBezTo>
                    <a:pt x="25272" y="8356"/>
                    <a:pt x="24815" y="6527"/>
                    <a:pt x="24040" y="4825"/>
                  </a:cubicBezTo>
                  <a:cubicBezTo>
                    <a:pt x="23278" y="3174"/>
                    <a:pt x="22199" y="1676"/>
                    <a:pt x="20865" y="431"/>
                  </a:cubicBezTo>
                  <a:lnTo>
                    <a:pt x="20408" y="0"/>
                  </a:lnTo>
                  <a:lnTo>
                    <a:pt x="19862" y="203"/>
                  </a:lnTo>
                  <a:cubicBezTo>
                    <a:pt x="8648" y="4178"/>
                    <a:pt x="0" y="6172"/>
                    <a:pt x="0" y="6654"/>
                  </a:cubicBezTo>
                  <a:cubicBezTo>
                    <a:pt x="0" y="7137"/>
                    <a:pt x="9105" y="5943"/>
                    <a:pt x="20497" y="2108"/>
                  </a:cubicBezTo>
                  <a:lnTo>
                    <a:pt x="19494" y="1879"/>
                  </a:lnTo>
                  <a:cubicBezTo>
                    <a:pt x="20675" y="2959"/>
                    <a:pt x="21640" y="4254"/>
                    <a:pt x="22339" y="5689"/>
                  </a:cubicBezTo>
                  <a:cubicBezTo>
                    <a:pt x="25056" y="10159"/>
                    <a:pt x="23621" y="15989"/>
                    <a:pt x="19151" y="18706"/>
                  </a:cubicBezTo>
                  <a:cubicBezTo>
                    <a:pt x="18541" y="19075"/>
                    <a:pt x="17894" y="19367"/>
                    <a:pt x="17233" y="19595"/>
                  </a:cubicBezTo>
                  <a:cubicBezTo>
                    <a:pt x="12890" y="21323"/>
                    <a:pt x="9842" y="21526"/>
                    <a:pt x="9931" y="2189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19" name="Free Form 3384">
              <a:extLst>
                <a:ext uri="{FF2B5EF4-FFF2-40B4-BE49-F238E27FC236}">
                  <a16:creationId xmlns:a16="http://schemas.microsoft.com/office/drawing/2014/main" id="{86EF61FC-9E05-A14F-4557-034263114F8A}"/>
                </a:ext>
              </a:extLst>
            </p:cNvPr>
            <p:cNvSpPr/>
            <p:nvPr/>
          </p:nvSpPr>
          <p:spPr>
            <a:xfrm>
              <a:off x="26001513" y="29788766"/>
              <a:ext cx="143292" cy="95745"/>
            </a:xfrm>
            <a:custGeom>
              <a:avLst/>
              <a:gdLst/>
              <a:ahLst/>
              <a:cxnLst/>
              <a:rect l="0" t="0" r="0" b="0"/>
              <a:pathLst>
                <a:path w="143292" h="95744">
                  <a:moveTo>
                    <a:pt x="3098" y="72287"/>
                  </a:moveTo>
                  <a:cubicBezTo>
                    <a:pt x="4978" y="65340"/>
                    <a:pt x="9207" y="59257"/>
                    <a:pt x="15074" y="55079"/>
                  </a:cubicBezTo>
                  <a:cubicBezTo>
                    <a:pt x="18554" y="53301"/>
                    <a:pt x="21919" y="51345"/>
                    <a:pt x="25183" y="49199"/>
                  </a:cubicBezTo>
                  <a:cubicBezTo>
                    <a:pt x="31736" y="43903"/>
                    <a:pt x="33273" y="34696"/>
                    <a:pt x="37312" y="27292"/>
                  </a:cubicBezTo>
                  <a:cubicBezTo>
                    <a:pt x="42722" y="17640"/>
                    <a:pt x="52463" y="11175"/>
                    <a:pt x="63461" y="9943"/>
                  </a:cubicBezTo>
                  <a:cubicBezTo>
                    <a:pt x="72452" y="9029"/>
                    <a:pt x="81736" y="11734"/>
                    <a:pt x="90511" y="9512"/>
                  </a:cubicBezTo>
                  <a:cubicBezTo>
                    <a:pt x="96988" y="7873"/>
                    <a:pt x="102665" y="3670"/>
                    <a:pt x="109218" y="2412"/>
                  </a:cubicBezTo>
                  <a:cubicBezTo>
                    <a:pt x="122032" y="0"/>
                    <a:pt x="133920" y="9182"/>
                    <a:pt x="143292" y="18313"/>
                  </a:cubicBezTo>
                  <a:cubicBezTo>
                    <a:pt x="143292" y="27482"/>
                    <a:pt x="136028" y="33591"/>
                    <a:pt x="129094" y="39471"/>
                  </a:cubicBezTo>
                  <a:cubicBezTo>
                    <a:pt x="121931" y="45402"/>
                    <a:pt x="112533" y="47891"/>
                    <a:pt x="103376" y="46278"/>
                  </a:cubicBezTo>
                  <a:cubicBezTo>
                    <a:pt x="96366" y="45008"/>
                    <a:pt x="88721" y="41452"/>
                    <a:pt x="82650" y="45173"/>
                  </a:cubicBezTo>
                  <a:cubicBezTo>
                    <a:pt x="76580" y="48894"/>
                    <a:pt x="76034" y="58686"/>
                    <a:pt x="70382" y="63600"/>
                  </a:cubicBezTo>
                  <a:cubicBezTo>
                    <a:pt x="62318" y="70585"/>
                    <a:pt x="49491" y="64020"/>
                    <a:pt x="39153" y="67067"/>
                  </a:cubicBezTo>
                  <a:cubicBezTo>
                    <a:pt x="31228" y="69417"/>
                    <a:pt x="26288" y="76973"/>
                    <a:pt x="21043" y="83336"/>
                  </a:cubicBezTo>
                  <a:cubicBezTo>
                    <a:pt x="15785" y="89686"/>
                    <a:pt x="7924" y="95744"/>
                    <a:pt x="0" y="93382"/>
                  </a:cubicBezTo>
                  <a:cubicBezTo>
                    <a:pt x="215" y="86257"/>
                    <a:pt x="1257" y="79170"/>
                    <a:pt x="3098" y="7228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0" name="Free Form 3385">
              <a:extLst>
                <a:ext uri="{FF2B5EF4-FFF2-40B4-BE49-F238E27FC236}">
                  <a16:creationId xmlns:a16="http://schemas.microsoft.com/office/drawing/2014/main" id="{2C788889-CC52-2A4D-B941-EB251C7756B7}"/>
                </a:ext>
              </a:extLst>
            </p:cNvPr>
            <p:cNvSpPr/>
            <p:nvPr/>
          </p:nvSpPr>
          <p:spPr>
            <a:xfrm>
              <a:off x="26098161" y="29793846"/>
              <a:ext cx="158825" cy="212139"/>
            </a:xfrm>
            <a:custGeom>
              <a:avLst/>
              <a:gdLst/>
              <a:ahLst/>
              <a:cxnLst/>
              <a:rect l="0" t="0" r="0" b="0"/>
              <a:pathLst>
                <a:path w="158824" h="212138">
                  <a:moveTo>
                    <a:pt x="2438" y="28511"/>
                  </a:moveTo>
                  <a:cubicBezTo>
                    <a:pt x="8115" y="26860"/>
                    <a:pt x="19926" y="23177"/>
                    <a:pt x="22986" y="18173"/>
                  </a:cubicBezTo>
                  <a:cubicBezTo>
                    <a:pt x="29666" y="7391"/>
                    <a:pt x="41452" y="0"/>
                    <a:pt x="53491" y="660"/>
                  </a:cubicBezTo>
                  <a:cubicBezTo>
                    <a:pt x="66280" y="1663"/>
                    <a:pt x="76897" y="10985"/>
                    <a:pt x="79551" y="23545"/>
                  </a:cubicBezTo>
                  <a:cubicBezTo>
                    <a:pt x="94791" y="24078"/>
                    <a:pt x="108520" y="32918"/>
                    <a:pt x="115314" y="46570"/>
                  </a:cubicBezTo>
                  <a:cubicBezTo>
                    <a:pt x="116203" y="48297"/>
                    <a:pt x="116953" y="50075"/>
                    <a:pt x="117588" y="51904"/>
                  </a:cubicBezTo>
                  <a:cubicBezTo>
                    <a:pt x="122172" y="60019"/>
                    <a:pt x="122947" y="69747"/>
                    <a:pt x="119696" y="78472"/>
                  </a:cubicBezTo>
                  <a:cubicBezTo>
                    <a:pt x="117702" y="83641"/>
                    <a:pt x="114324" y="89407"/>
                    <a:pt x="116851" y="94296"/>
                  </a:cubicBezTo>
                  <a:cubicBezTo>
                    <a:pt x="119378" y="99173"/>
                    <a:pt x="126414" y="99401"/>
                    <a:pt x="131761" y="101243"/>
                  </a:cubicBezTo>
                  <a:cubicBezTo>
                    <a:pt x="141285" y="104824"/>
                    <a:pt x="146873" y="114717"/>
                    <a:pt x="145019" y="124725"/>
                  </a:cubicBezTo>
                  <a:cubicBezTo>
                    <a:pt x="144270" y="128167"/>
                    <a:pt x="142632" y="131595"/>
                    <a:pt x="143343" y="135063"/>
                  </a:cubicBezTo>
                  <a:cubicBezTo>
                    <a:pt x="144054" y="138530"/>
                    <a:pt x="147166" y="141197"/>
                    <a:pt x="149528" y="144003"/>
                  </a:cubicBezTo>
                  <a:cubicBezTo>
                    <a:pt x="158824" y="155078"/>
                    <a:pt x="157389" y="171587"/>
                    <a:pt x="146315" y="180884"/>
                  </a:cubicBezTo>
                  <a:cubicBezTo>
                    <a:pt x="142835" y="183805"/>
                    <a:pt x="138644" y="185773"/>
                    <a:pt x="134174" y="186586"/>
                  </a:cubicBezTo>
                  <a:cubicBezTo>
                    <a:pt x="130110" y="187323"/>
                    <a:pt x="125652" y="187157"/>
                    <a:pt x="122134" y="189431"/>
                  </a:cubicBezTo>
                  <a:cubicBezTo>
                    <a:pt x="118096" y="191933"/>
                    <a:pt x="116457" y="196809"/>
                    <a:pt x="113612" y="200619"/>
                  </a:cubicBezTo>
                  <a:cubicBezTo>
                    <a:pt x="107809" y="207960"/>
                    <a:pt x="98093" y="210995"/>
                    <a:pt x="89140" y="208252"/>
                  </a:cubicBezTo>
                  <a:cubicBezTo>
                    <a:pt x="87400" y="207655"/>
                    <a:pt x="85749" y="206829"/>
                    <a:pt x="84225" y="205775"/>
                  </a:cubicBezTo>
                  <a:cubicBezTo>
                    <a:pt x="81393" y="209585"/>
                    <a:pt x="77215" y="212138"/>
                    <a:pt x="69861" y="212138"/>
                  </a:cubicBezTo>
                  <a:lnTo>
                    <a:pt x="71563" y="116356"/>
                  </a:lnTo>
                  <a:cubicBezTo>
                    <a:pt x="70522" y="118705"/>
                    <a:pt x="68414" y="120407"/>
                    <a:pt x="65886" y="120928"/>
                  </a:cubicBezTo>
                  <a:cubicBezTo>
                    <a:pt x="50532" y="124382"/>
                    <a:pt x="48284" y="92696"/>
                    <a:pt x="51701" y="84009"/>
                  </a:cubicBezTo>
                  <a:cubicBezTo>
                    <a:pt x="45910" y="79259"/>
                    <a:pt x="40728" y="73798"/>
                    <a:pt x="36283" y="67779"/>
                  </a:cubicBezTo>
                  <a:cubicBezTo>
                    <a:pt x="32054" y="61505"/>
                    <a:pt x="28307" y="44411"/>
                    <a:pt x="29209" y="36715"/>
                  </a:cubicBezTo>
                  <a:cubicBezTo>
                    <a:pt x="23621" y="37032"/>
                    <a:pt x="0" y="29247"/>
                    <a:pt x="2438" y="2851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1" name="Free Form 3386">
              <a:extLst>
                <a:ext uri="{FF2B5EF4-FFF2-40B4-BE49-F238E27FC236}">
                  <a16:creationId xmlns:a16="http://schemas.microsoft.com/office/drawing/2014/main" id="{B17DFDF2-B362-9559-C837-1B32BE499D99}"/>
                </a:ext>
              </a:extLst>
            </p:cNvPr>
            <p:cNvSpPr/>
            <p:nvPr/>
          </p:nvSpPr>
          <p:spPr>
            <a:xfrm>
              <a:off x="26165016" y="29906026"/>
              <a:ext cx="29590" cy="50824"/>
            </a:xfrm>
            <a:custGeom>
              <a:avLst/>
              <a:gdLst/>
              <a:ahLst/>
              <a:cxnLst/>
              <a:rect l="0" t="0" r="0" b="0"/>
              <a:pathLst>
                <a:path w="29590" h="50824">
                  <a:moveTo>
                    <a:pt x="571" y="11810"/>
                  </a:moveTo>
                  <a:cubicBezTo>
                    <a:pt x="1054" y="2070"/>
                    <a:pt x="12953" y="0"/>
                    <a:pt x="21411" y="4851"/>
                  </a:cubicBezTo>
                  <a:cubicBezTo>
                    <a:pt x="26034" y="7696"/>
                    <a:pt x="29590" y="12915"/>
                    <a:pt x="29158" y="23253"/>
                  </a:cubicBezTo>
                  <a:cubicBezTo>
                    <a:pt x="28028" y="50824"/>
                    <a:pt x="571" y="44005"/>
                    <a:pt x="571" y="43128"/>
                  </a:cubicBezTo>
                  <a:cubicBezTo>
                    <a:pt x="571" y="42239"/>
                    <a:pt x="0" y="23164"/>
                    <a:pt x="571" y="11810"/>
                  </a:cubicBez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2" name="Free Form 3387">
              <a:extLst>
                <a:ext uri="{FF2B5EF4-FFF2-40B4-BE49-F238E27FC236}">
                  <a16:creationId xmlns:a16="http://schemas.microsoft.com/office/drawing/2014/main" id="{47D0E4D8-A0A8-94F1-E61B-129D5DFF5B26}"/>
                </a:ext>
              </a:extLst>
            </p:cNvPr>
            <p:cNvSpPr/>
            <p:nvPr/>
          </p:nvSpPr>
          <p:spPr>
            <a:xfrm>
              <a:off x="26174415" y="29917481"/>
              <a:ext cx="12966" cy="24371"/>
            </a:xfrm>
            <a:custGeom>
              <a:avLst/>
              <a:gdLst/>
              <a:ahLst/>
              <a:cxnLst/>
              <a:rect l="0" t="0" r="0" b="0"/>
              <a:pathLst>
                <a:path w="12966" h="24371">
                  <a:moveTo>
                    <a:pt x="0" y="21704"/>
                  </a:moveTo>
                  <a:cubicBezTo>
                    <a:pt x="0" y="21704"/>
                    <a:pt x="482" y="22072"/>
                    <a:pt x="1282" y="22466"/>
                  </a:cubicBezTo>
                  <a:cubicBezTo>
                    <a:pt x="2400" y="23012"/>
                    <a:pt x="3682" y="23088"/>
                    <a:pt x="4851" y="22694"/>
                  </a:cubicBezTo>
                  <a:cubicBezTo>
                    <a:pt x="7696" y="21767"/>
                    <a:pt x="10528" y="17221"/>
                    <a:pt x="10794" y="12255"/>
                  </a:cubicBezTo>
                  <a:cubicBezTo>
                    <a:pt x="10947" y="9893"/>
                    <a:pt x="10591" y="7531"/>
                    <a:pt x="9740" y="5321"/>
                  </a:cubicBezTo>
                  <a:cubicBezTo>
                    <a:pt x="9270" y="3568"/>
                    <a:pt x="7975" y="2133"/>
                    <a:pt x="6273" y="1485"/>
                  </a:cubicBezTo>
                  <a:cubicBezTo>
                    <a:pt x="5156" y="1181"/>
                    <a:pt x="3975" y="1689"/>
                    <a:pt x="3441" y="2717"/>
                  </a:cubicBezTo>
                  <a:cubicBezTo>
                    <a:pt x="3035" y="3454"/>
                    <a:pt x="3213" y="4013"/>
                    <a:pt x="3035" y="4038"/>
                  </a:cubicBezTo>
                  <a:cubicBezTo>
                    <a:pt x="2870" y="4076"/>
                    <a:pt x="2476" y="3568"/>
                    <a:pt x="2755" y="2425"/>
                  </a:cubicBezTo>
                  <a:cubicBezTo>
                    <a:pt x="2933" y="1752"/>
                    <a:pt x="3327" y="1168"/>
                    <a:pt x="3886" y="749"/>
                  </a:cubicBezTo>
                  <a:cubicBezTo>
                    <a:pt x="4673" y="215"/>
                    <a:pt x="5651" y="0"/>
                    <a:pt x="6591" y="152"/>
                  </a:cubicBezTo>
                  <a:cubicBezTo>
                    <a:pt x="8864" y="711"/>
                    <a:pt x="10693" y="2400"/>
                    <a:pt x="11417" y="4635"/>
                  </a:cubicBezTo>
                  <a:cubicBezTo>
                    <a:pt x="12509" y="7073"/>
                    <a:pt x="12966" y="9740"/>
                    <a:pt x="12776" y="12395"/>
                  </a:cubicBezTo>
                  <a:cubicBezTo>
                    <a:pt x="12382" y="17932"/>
                    <a:pt x="9309" y="23012"/>
                    <a:pt x="5283" y="24002"/>
                  </a:cubicBezTo>
                  <a:cubicBezTo>
                    <a:pt x="3759" y="24371"/>
                    <a:pt x="2158" y="24040"/>
                    <a:pt x="914" y="23088"/>
                  </a:cubicBezTo>
                  <a:cubicBezTo>
                    <a:pt x="0" y="22389"/>
                    <a:pt x="0" y="21767"/>
                    <a:pt x="0" y="21704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3" name="Free Form 3388">
              <a:extLst>
                <a:ext uri="{FF2B5EF4-FFF2-40B4-BE49-F238E27FC236}">
                  <a16:creationId xmlns:a16="http://schemas.microsoft.com/office/drawing/2014/main" id="{E48E3155-8DD5-5CAC-56A9-167C4ACCA76C}"/>
                </a:ext>
              </a:extLst>
            </p:cNvPr>
            <p:cNvSpPr/>
            <p:nvPr/>
          </p:nvSpPr>
          <p:spPr>
            <a:xfrm>
              <a:off x="26138643" y="29814919"/>
              <a:ext cx="66001" cy="134632"/>
            </a:xfrm>
            <a:custGeom>
              <a:avLst/>
              <a:gdLst/>
              <a:ahLst/>
              <a:cxnLst/>
              <a:rect l="0" t="0" r="0" b="0"/>
              <a:pathLst>
                <a:path w="66001" h="134631">
                  <a:moveTo>
                    <a:pt x="0" y="0"/>
                  </a:moveTo>
                  <a:cubicBezTo>
                    <a:pt x="2146" y="1104"/>
                    <a:pt x="4013" y="2679"/>
                    <a:pt x="5473" y="4597"/>
                  </a:cubicBezTo>
                  <a:cubicBezTo>
                    <a:pt x="8318" y="8369"/>
                    <a:pt x="9258" y="15557"/>
                    <a:pt x="7518" y="23672"/>
                  </a:cubicBezTo>
                  <a:lnTo>
                    <a:pt x="7518" y="24358"/>
                  </a:lnTo>
                  <a:lnTo>
                    <a:pt x="8204" y="24536"/>
                  </a:lnTo>
                  <a:cubicBezTo>
                    <a:pt x="16230" y="26695"/>
                    <a:pt x="22796" y="32473"/>
                    <a:pt x="25945" y="40169"/>
                  </a:cubicBezTo>
                  <a:cubicBezTo>
                    <a:pt x="26809" y="42315"/>
                    <a:pt x="27279" y="44589"/>
                    <a:pt x="27368" y="46900"/>
                  </a:cubicBezTo>
                  <a:cubicBezTo>
                    <a:pt x="27317" y="49351"/>
                    <a:pt x="27025" y="51802"/>
                    <a:pt x="26517" y="54203"/>
                  </a:cubicBezTo>
                  <a:cubicBezTo>
                    <a:pt x="25971" y="56781"/>
                    <a:pt x="25615" y="59397"/>
                    <a:pt x="25463" y="62038"/>
                  </a:cubicBezTo>
                  <a:cubicBezTo>
                    <a:pt x="25260" y="64909"/>
                    <a:pt x="26034" y="67766"/>
                    <a:pt x="27647" y="70154"/>
                  </a:cubicBezTo>
                  <a:cubicBezTo>
                    <a:pt x="31089" y="75373"/>
                    <a:pt x="36601" y="77926"/>
                    <a:pt x="41312" y="80428"/>
                  </a:cubicBezTo>
                  <a:cubicBezTo>
                    <a:pt x="46011" y="82485"/>
                    <a:pt x="50342" y="85317"/>
                    <a:pt x="54114" y="88810"/>
                  </a:cubicBezTo>
                  <a:cubicBezTo>
                    <a:pt x="60349" y="94918"/>
                    <a:pt x="64032" y="103186"/>
                    <a:pt x="64413" y="111911"/>
                  </a:cubicBezTo>
                  <a:cubicBezTo>
                    <a:pt x="64604" y="117803"/>
                    <a:pt x="63359" y="123645"/>
                    <a:pt x="60781" y="128954"/>
                  </a:cubicBezTo>
                  <a:cubicBezTo>
                    <a:pt x="58940" y="132700"/>
                    <a:pt x="57403" y="134631"/>
                    <a:pt x="57581" y="134631"/>
                  </a:cubicBezTo>
                  <a:cubicBezTo>
                    <a:pt x="58025" y="134262"/>
                    <a:pt x="58406" y="133843"/>
                    <a:pt x="58736" y="133373"/>
                  </a:cubicBezTo>
                  <a:cubicBezTo>
                    <a:pt x="59803" y="132103"/>
                    <a:pt x="60743" y="130732"/>
                    <a:pt x="61581" y="129297"/>
                  </a:cubicBezTo>
                  <a:cubicBezTo>
                    <a:pt x="64515" y="123963"/>
                    <a:pt x="66001" y="117969"/>
                    <a:pt x="65886" y="111885"/>
                  </a:cubicBezTo>
                  <a:cubicBezTo>
                    <a:pt x="65709" y="102741"/>
                    <a:pt x="61975" y="94017"/>
                    <a:pt x="55498" y="87552"/>
                  </a:cubicBezTo>
                  <a:cubicBezTo>
                    <a:pt x="51624" y="83895"/>
                    <a:pt x="47167" y="80910"/>
                    <a:pt x="42303" y="78726"/>
                  </a:cubicBezTo>
                  <a:cubicBezTo>
                    <a:pt x="37566" y="76262"/>
                    <a:pt x="32359" y="73697"/>
                    <a:pt x="29387" y="69099"/>
                  </a:cubicBezTo>
                  <a:cubicBezTo>
                    <a:pt x="26339" y="64934"/>
                    <a:pt x="27711" y="59448"/>
                    <a:pt x="28498" y="54507"/>
                  </a:cubicBezTo>
                  <a:cubicBezTo>
                    <a:pt x="29031" y="51993"/>
                    <a:pt x="29311" y="49440"/>
                    <a:pt x="29362" y="46875"/>
                  </a:cubicBezTo>
                  <a:cubicBezTo>
                    <a:pt x="29247" y="44347"/>
                    <a:pt x="28701" y="41858"/>
                    <a:pt x="27736" y="39521"/>
                  </a:cubicBezTo>
                  <a:cubicBezTo>
                    <a:pt x="24345" y="31330"/>
                    <a:pt x="17259" y="25260"/>
                    <a:pt x="8661" y="23139"/>
                  </a:cubicBezTo>
                  <a:lnTo>
                    <a:pt x="9169" y="23990"/>
                  </a:lnTo>
                  <a:cubicBezTo>
                    <a:pt x="10820" y="15468"/>
                    <a:pt x="9512" y="8039"/>
                    <a:pt x="6337" y="4114"/>
                  </a:cubicBezTo>
                  <a:cubicBezTo>
                    <a:pt x="5105" y="2603"/>
                    <a:pt x="3517" y="1435"/>
                    <a:pt x="1701" y="711"/>
                  </a:cubicBezTo>
                  <a:cubicBezTo>
                    <a:pt x="1168" y="393"/>
                    <a:pt x="596" y="152"/>
                    <a:pt x="0" y="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4" name="Free Form 3389">
              <a:extLst>
                <a:ext uri="{FF2B5EF4-FFF2-40B4-BE49-F238E27FC236}">
                  <a16:creationId xmlns:a16="http://schemas.microsoft.com/office/drawing/2014/main" id="{FD836CAB-6215-8085-C6E0-97B36D754CAF}"/>
                </a:ext>
              </a:extLst>
            </p:cNvPr>
            <p:cNvSpPr/>
            <p:nvPr/>
          </p:nvSpPr>
          <p:spPr>
            <a:xfrm>
              <a:off x="26197633" y="30190323"/>
              <a:ext cx="108063" cy="140067"/>
            </a:xfrm>
            <a:custGeom>
              <a:avLst/>
              <a:gdLst/>
              <a:ahLst/>
              <a:cxnLst/>
              <a:rect l="0" t="0" r="0" b="0"/>
              <a:pathLst>
                <a:path w="108063" h="140066">
                  <a:moveTo>
                    <a:pt x="72287" y="21894"/>
                  </a:moveTo>
                  <a:cubicBezTo>
                    <a:pt x="65988" y="26593"/>
                    <a:pt x="59422" y="30936"/>
                    <a:pt x="52640" y="34899"/>
                  </a:cubicBezTo>
                  <a:cubicBezTo>
                    <a:pt x="48208" y="36804"/>
                    <a:pt x="36461" y="47243"/>
                    <a:pt x="33616" y="58038"/>
                  </a:cubicBezTo>
                  <a:cubicBezTo>
                    <a:pt x="30784" y="68820"/>
                    <a:pt x="23139" y="74218"/>
                    <a:pt x="20611" y="79272"/>
                  </a:cubicBezTo>
                  <a:cubicBezTo>
                    <a:pt x="18084" y="84327"/>
                    <a:pt x="18084" y="105281"/>
                    <a:pt x="18402" y="110501"/>
                  </a:cubicBezTo>
                  <a:cubicBezTo>
                    <a:pt x="18719" y="115721"/>
                    <a:pt x="3187" y="127532"/>
                    <a:pt x="2222" y="129830"/>
                  </a:cubicBezTo>
                  <a:cubicBezTo>
                    <a:pt x="1257" y="132129"/>
                    <a:pt x="0" y="137450"/>
                    <a:pt x="4127" y="138720"/>
                  </a:cubicBezTo>
                  <a:cubicBezTo>
                    <a:pt x="7746" y="140066"/>
                    <a:pt x="11823" y="139469"/>
                    <a:pt x="14909" y="137133"/>
                  </a:cubicBezTo>
                  <a:cubicBezTo>
                    <a:pt x="17119" y="134923"/>
                    <a:pt x="26263" y="126973"/>
                    <a:pt x="26263" y="126973"/>
                  </a:cubicBezTo>
                  <a:cubicBezTo>
                    <a:pt x="26263" y="126973"/>
                    <a:pt x="25323" y="136815"/>
                    <a:pt x="28485" y="137450"/>
                  </a:cubicBezTo>
                  <a:cubicBezTo>
                    <a:pt x="31216" y="137780"/>
                    <a:pt x="33984" y="137780"/>
                    <a:pt x="36715" y="137450"/>
                  </a:cubicBezTo>
                  <a:lnTo>
                    <a:pt x="48475" y="120013"/>
                  </a:lnTo>
                  <a:cubicBezTo>
                    <a:pt x="48475" y="120013"/>
                    <a:pt x="51307" y="132357"/>
                    <a:pt x="56387" y="131113"/>
                  </a:cubicBezTo>
                  <a:cubicBezTo>
                    <a:pt x="61467" y="129868"/>
                    <a:pt x="64616" y="128560"/>
                    <a:pt x="65277" y="120953"/>
                  </a:cubicBezTo>
                  <a:cubicBezTo>
                    <a:pt x="65988" y="115200"/>
                    <a:pt x="67372" y="109561"/>
                    <a:pt x="69392" y="104138"/>
                  </a:cubicBezTo>
                  <a:lnTo>
                    <a:pt x="69392" y="97814"/>
                  </a:lnTo>
                  <a:cubicBezTo>
                    <a:pt x="69392" y="97814"/>
                    <a:pt x="76034" y="106043"/>
                    <a:pt x="81114" y="104799"/>
                  </a:cubicBezTo>
                  <a:cubicBezTo>
                    <a:pt x="86193" y="103541"/>
                    <a:pt x="88416" y="100989"/>
                    <a:pt x="88721" y="99122"/>
                  </a:cubicBezTo>
                  <a:cubicBezTo>
                    <a:pt x="88302" y="92404"/>
                    <a:pt x="87248" y="85749"/>
                    <a:pt x="85546" y="79247"/>
                  </a:cubicBezTo>
                  <a:cubicBezTo>
                    <a:pt x="83768" y="73837"/>
                    <a:pt x="81660" y="68541"/>
                    <a:pt x="79209" y="63397"/>
                  </a:cubicBezTo>
                  <a:cubicBezTo>
                    <a:pt x="79209" y="63397"/>
                    <a:pt x="76376" y="49427"/>
                    <a:pt x="79526" y="44068"/>
                  </a:cubicBezTo>
                  <a:cubicBezTo>
                    <a:pt x="82676" y="38696"/>
                    <a:pt x="100455" y="23456"/>
                    <a:pt x="102665" y="18376"/>
                  </a:cubicBezTo>
                  <a:cubicBezTo>
                    <a:pt x="104875" y="13296"/>
                    <a:pt x="108063" y="5689"/>
                    <a:pt x="100455" y="2844"/>
                  </a:cubicBezTo>
                  <a:cubicBezTo>
                    <a:pt x="92848" y="0"/>
                    <a:pt x="83247" y="14261"/>
                    <a:pt x="72287" y="21894"/>
                  </a:cubicBezTo>
                  <a:close/>
                </a:path>
              </a:pathLst>
            </a:custGeom>
            <a:solidFill>
              <a:srgbClr val="A1544E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5" name="Free Form 3390">
              <a:extLst>
                <a:ext uri="{FF2B5EF4-FFF2-40B4-BE49-F238E27FC236}">
                  <a16:creationId xmlns:a16="http://schemas.microsoft.com/office/drawing/2014/main" id="{A5C46940-8CFC-688B-26F2-AF4ECFC3E25D}"/>
                </a:ext>
              </a:extLst>
            </p:cNvPr>
            <p:cNvSpPr/>
            <p:nvPr/>
          </p:nvSpPr>
          <p:spPr>
            <a:xfrm>
              <a:off x="26232757" y="30254891"/>
              <a:ext cx="27025" cy="6566"/>
            </a:xfrm>
            <a:custGeom>
              <a:avLst/>
              <a:gdLst/>
              <a:ahLst/>
              <a:cxnLst/>
              <a:rect l="0" t="0" r="0" b="0"/>
              <a:pathLst>
                <a:path w="27025" h="6565">
                  <a:moveTo>
                    <a:pt x="0" y="507"/>
                  </a:moveTo>
                  <a:cubicBezTo>
                    <a:pt x="0" y="673"/>
                    <a:pt x="1054" y="1816"/>
                    <a:pt x="3378" y="3035"/>
                  </a:cubicBezTo>
                  <a:cubicBezTo>
                    <a:pt x="9562" y="6134"/>
                    <a:pt x="16738" y="6565"/>
                    <a:pt x="23253" y="4229"/>
                  </a:cubicBezTo>
                  <a:cubicBezTo>
                    <a:pt x="25717" y="3289"/>
                    <a:pt x="27025" y="2298"/>
                    <a:pt x="26949" y="2095"/>
                  </a:cubicBezTo>
                  <a:cubicBezTo>
                    <a:pt x="26860" y="1904"/>
                    <a:pt x="20891" y="4368"/>
                    <a:pt x="13233" y="3860"/>
                  </a:cubicBezTo>
                  <a:cubicBezTo>
                    <a:pt x="5562" y="3352"/>
                    <a:pt x="253" y="0"/>
                    <a:pt x="0" y="507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6" name="Free Form 3391">
              <a:extLst>
                <a:ext uri="{FF2B5EF4-FFF2-40B4-BE49-F238E27FC236}">
                  <a16:creationId xmlns:a16="http://schemas.microsoft.com/office/drawing/2014/main" id="{D732836A-27F9-F0D4-EA48-972DBFC67CBB}"/>
                </a:ext>
              </a:extLst>
            </p:cNvPr>
            <p:cNvSpPr/>
            <p:nvPr/>
          </p:nvSpPr>
          <p:spPr>
            <a:xfrm>
              <a:off x="26224587" y="30302616"/>
              <a:ext cx="6833" cy="16090"/>
            </a:xfrm>
            <a:custGeom>
              <a:avLst/>
              <a:gdLst/>
              <a:ahLst/>
              <a:cxnLst/>
              <a:rect l="0" t="0" r="0" b="0"/>
              <a:pathLst>
                <a:path w="6832" h="16090">
                  <a:moveTo>
                    <a:pt x="419" y="15811"/>
                  </a:moveTo>
                  <a:cubicBezTo>
                    <a:pt x="850" y="16090"/>
                    <a:pt x="3263" y="12966"/>
                    <a:pt x="5054" y="8508"/>
                  </a:cubicBezTo>
                  <a:cubicBezTo>
                    <a:pt x="6832" y="4051"/>
                    <a:pt x="6756" y="0"/>
                    <a:pt x="6273" y="0"/>
                  </a:cubicBezTo>
                  <a:cubicBezTo>
                    <a:pt x="5791" y="0"/>
                    <a:pt x="4902" y="3606"/>
                    <a:pt x="3428" y="7924"/>
                  </a:cubicBezTo>
                  <a:cubicBezTo>
                    <a:pt x="1955" y="12229"/>
                    <a:pt x="0" y="15531"/>
                    <a:pt x="419" y="15811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7" name="Free Form 3392">
              <a:extLst>
                <a:ext uri="{FF2B5EF4-FFF2-40B4-BE49-F238E27FC236}">
                  <a16:creationId xmlns:a16="http://schemas.microsoft.com/office/drawing/2014/main" id="{5C216173-118F-150B-61E7-853C0F2D78BD}"/>
                </a:ext>
              </a:extLst>
            </p:cNvPr>
            <p:cNvSpPr/>
            <p:nvPr/>
          </p:nvSpPr>
          <p:spPr>
            <a:xfrm>
              <a:off x="26245398" y="30294385"/>
              <a:ext cx="4598" cy="16548"/>
            </a:xfrm>
            <a:custGeom>
              <a:avLst/>
              <a:gdLst/>
              <a:ahLst/>
              <a:cxnLst/>
              <a:rect l="0" t="0" r="0" b="0"/>
              <a:pathLst>
                <a:path w="4597" h="16547">
                  <a:moveTo>
                    <a:pt x="419" y="16319"/>
                  </a:moveTo>
                  <a:cubicBezTo>
                    <a:pt x="850" y="16547"/>
                    <a:pt x="2832" y="13169"/>
                    <a:pt x="3708" y="8508"/>
                  </a:cubicBezTo>
                  <a:cubicBezTo>
                    <a:pt x="4597" y="3860"/>
                    <a:pt x="4076" y="0"/>
                    <a:pt x="3708" y="0"/>
                  </a:cubicBezTo>
                  <a:cubicBezTo>
                    <a:pt x="2857" y="2641"/>
                    <a:pt x="2285" y="5372"/>
                    <a:pt x="2031" y="8140"/>
                  </a:cubicBezTo>
                  <a:cubicBezTo>
                    <a:pt x="1041" y="12572"/>
                    <a:pt x="0" y="16116"/>
                    <a:pt x="419" y="16319"/>
                  </a:cubicBezTo>
                  <a:close/>
                </a:path>
              </a:pathLst>
            </a:custGeom>
            <a:solidFill>
              <a:srgbClr val="693630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8" name="Free Form 3393">
              <a:extLst>
                <a:ext uri="{FF2B5EF4-FFF2-40B4-BE49-F238E27FC236}">
                  <a16:creationId xmlns:a16="http://schemas.microsoft.com/office/drawing/2014/main" id="{F8AA57A3-C62F-D4C6-31D5-89A6114DAE41}"/>
                </a:ext>
              </a:extLst>
            </p:cNvPr>
            <p:cNvSpPr/>
            <p:nvPr/>
          </p:nvSpPr>
          <p:spPr>
            <a:xfrm>
              <a:off x="25401534" y="29663881"/>
              <a:ext cx="982970" cy="761319"/>
            </a:xfrm>
            <a:custGeom>
              <a:avLst/>
              <a:gdLst/>
              <a:ahLst/>
              <a:cxnLst/>
              <a:rect l="0" t="0" r="0" b="0"/>
              <a:pathLst>
                <a:path w="982969" h="761318">
                  <a:moveTo>
                    <a:pt x="982461" y="760671"/>
                  </a:moveTo>
                  <a:cubicBezTo>
                    <a:pt x="982461" y="755591"/>
                    <a:pt x="982207" y="459735"/>
                    <a:pt x="981839" y="736"/>
                  </a:cubicBezTo>
                  <a:lnTo>
                    <a:pt x="982461" y="1358"/>
                  </a:lnTo>
                  <a:lnTo>
                    <a:pt x="660" y="1473"/>
                  </a:lnTo>
                  <a:lnTo>
                    <a:pt x="1396" y="736"/>
                  </a:lnTo>
                  <a:lnTo>
                    <a:pt x="1396" y="760671"/>
                  </a:lnTo>
                  <a:lnTo>
                    <a:pt x="711" y="759985"/>
                  </a:lnTo>
                  <a:lnTo>
                    <a:pt x="982601" y="760671"/>
                  </a:lnTo>
                  <a:lnTo>
                    <a:pt x="660" y="761318"/>
                  </a:lnTo>
                  <a:lnTo>
                    <a:pt x="0" y="761318"/>
                  </a:lnTo>
                  <a:lnTo>
                    <a:pt x="0" y="760671"/>
                  </a:lnTo>
                  <a:lnTo>
                    <a:pt x="0" y="736"/>
                  </a:lnTo>
                  <a:lnTo>
                    <a:pt x="0" y="0"/>
                  </a:lnTo>
                  <a:lnTo>
                    <a:pt x="660" y="0"/>
                  </a:lnTo>
                  <a:lnTo>
                    <a:pt x="982461" y="139"/>
                  </a:lnTo>
                  <a:lnTo>
                    <a:pt x="982969" y="139"/>
                  </a:lnTo>
                  <a:lnTo>
                    <a:pt x="982969" y="736"/>
                  </a:lnTo>
                  <a:cubicBezTo>
                    <a:pt x="982690" y="459671"/>
                    <a:pt x="982461" y="755591"/>
                    <a:pt x="982461" y="76067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29" name="Free Form 3394">
              <a:extLst>
                <a:ext uri="{FF2B5EF4-FFF2-40B4-BE49-F238E27FC236}">
                  <a16:creationId xmlns:a16="http://schemas.microsoft.com/office/drawing/2014/main" id="{040A39C8-539C-3098-874F-C34251FCC06B}"/>
                </a:ext>
              </a:extLst>
            </p:cNvPr>
            <p:cNvSpPr/>
            <p:nvPr/>
          </p:nvSpPr>
          <p:spPr>
            <a:xfrm>
              <a:off x="25739470" y="30696817"/>
              <a:ext cx="171258" cy="137946"/>
            </a:xfrm>
            <a:custGeom>
              <a:avLst/>
              <a:gdLst/>
              <a:ahLst/>
              <a:cxnLst/>
              <a:rect l="0" t="0" r="0" b="0"/>
              <a:pathLst>
                <a:path w="171257" h="137945">
                  <a:moveTo>
                    <a:pt x="0" y="0"/>
                  </a:moveTo>
                  <a:lnTo>
                    <a:pt x="20980" y="137945"/>
                  </a:lnTo>
                  <a:lnTo>
                    <a:pt x="142949" y="137945"/>
                  </a:lnTo>
                  <a:lnTo>
                    <a:pt x="171257" y="1981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0" name="Free Form 3406">
              <a:extLst>
                <a:ext uri="{FF2B5EF4-FFF2-40B4-BE49-F238E27FC236}">
                  <a16:creationId xmlns:a16="http://schemas.microsoft.com/office/drawing/2014/main" id="{54A3356D-8955-94CC-A0D1-148DA0F6D884}"/>
                </a:ext>
              </a:extLst>
            </p:cNvPr>
            <p:cNvSpPr/>
            <p:nvPr/>
          </p:nvSpPr>
          <p:spPr>
            <a:xfrm>
              <a:off x="25826568" y="30424637"/>
              <a:ext cx="32144" cy="264056"/>
            </a:xfrm>
            <a:custGeom>
              <a:avLst/>
              <a:gdLst/>
              <a:ahLst/>
              <a:cxnLst/>
              <a:rect l="0" t="0" r="0" b="0"/>
              <a:pathLst>
                <a:path w="32143" h="264055">
                  <a:moveTo>
                    <a:pt x="32143" y="0"/>
                  </a:moveTo>
                  <a:cubicBezTo>
                    <a:pt x="32130" y="228"/>
                    <a:pt x="32079" y="457"/>
                    <a:pt x="32003" y="685"/>
                  </a:cubicBezTo>
                  <a:lnTo>
                    <a:pt x="31432" y="2616"/>
                  </a:lnTo>
                  <a:cubicBezTo>
                    <a:pt x="30860" y="4432"/>
                    <a:pt x="30098" y="6921"/>
                    <a:pt x="29108" y="10045"/>
                  </a:cubicBezTo>
                  <a:cubicBezTo>
                    <a:pt x="28117" y="13169"/>
                    <a:pt x="26834" y="17233"/>
                    <a:pt x="25526" y="21856"/>
                  </a:cubicBezTo>
                  <a:cubicBezTo>
                    <a:pt x="24218" y="26491"/>
                    <a:pt x="22694" y="31711"/>
                    <a:pt x="21132" y="37591"/>
                  </a:cubicBezTo>
                  <a:cubicBezTo>
                    <a:pt x="19570" y="43458"/>
                    <a:pt x="17919" y="49859"/>
                    <a:pt x="16382" y="56806"/>
                  </a:cubicBezTo>
                  <a:cubicBezTo>
                    <a:pt x="14858" y="63766"/>
                    <a:pt x="13258" y="71170"/>
                    <a:pt x="11671" y="79005"/>
                  </a:cubicBezTo>
                  <a:cubicBezTo>
                    <a:pt x="8839" y="94740"/>
                    <a:pt x="5994" y="112139"/>
                    <a:pt x="4203" y="130478"/>
                  </a:cubicBezTo>
                  <a:cubicBezTo>
                    <a:pt x="2412" y="148829"/>
                    <a:pt x="1600" y="166457"/>
                    <a:pt x="1371" y="182433"/>
                  </a:cubicBezTo>
                  <a:cubicBezTo>
                    <a:pt x="1371" y="190447"/>
                    <a:pt x="1371" y="198054"/>
                    <a:pt x="1600" y="205153"/>
                  </a:cubicBezTo>
                  <a:cubicBezTo>
                    <a:pt x="1816" y="212252"/>
                    <a:pt x="2082" y="218894"/>
                    <a:pt x="2451" y="225028"/>
                  </a:cubicBezTo>
                  <a:cubicBezTo>
                    <a:pt x="2819" y="231150"/>
                    <a:pt x="3263" y="236382"/>
                    <a:pt x="3632" y="241322"/>
                  </a:cubicBezTo>
                  <a:cubicBezTo>
                    <a:pt x="4013" y="246263"/>
                    <a:pt x="4432" y="250238"/>
                    <a:pt x="4825" y="253590"/>
                  </a:cubicBezTo>
                  <a:cubicBezTo>
                    <a:pt x="5232" y="256930"/>
                    <a:pt x="5422" y="259458"/>
                    <a:pt x="5626" y="261363"/>
                  </a:cubicBezTo>
                  <a:cubicBezTo>
                    <a:pt x="5626" y="262163"/>
                    <a:pt x="5765" y="262836"/>
                    <a:pt x="5791" y="263382"/>
                  </a:cubicBezTo>
                  <a:cubicBezTo>
                    <a:pt x="5829" y="263915"/>
                    <a:pt x="5791" y="264055"/>
                    <a:pt x="5791" y="264055"/>
                  </a:cubicBezTo>
                  <a:cubicBezTo>
                    <a:pt x="5702" y="263852"/>
                    <a:pt x="5651" y="263636"/>
                    <a:pt x="5626" y="263407"/>
                  </a:cubicBezTo>
                  <a:cubicBezTo>
                    <a:pt x="5626" y="262861"/>
                    <a:pt x="5422" y="262188"/>
                    <a:pt x="5308" y="261388"/>
                  </a:cubicBezTo>
                  <a:cubicBezTo>
                    <a:pt x="5054" y="259521"/>
                    <a:pt x="4686" y="256930"/>
                    <a:pt x="4229" y="253667"/>
                  </a:cubicBezTo>
                  <a:cubicBezTo>
                    <a:pt x="3784" y="250403"/>
                    <a:pt x="3238" y="246199"/>
                    <a:pt x="2819" y="241399"/>
                  </a:cubicBezTo>
                  <a:cubicBezTo>
                    <a:pt x="2387" y="236611"/>
                    <a:pt x="1739" y="231150"/>
                    <a:pt x="1396" y="225105"/>
                  </a:cubicBezTo>
                  <a:cubicBezTo>
                    <a:pt x="1054" y="219059"/>
                    <a:pt x="546" y="212417"/>
                    <a:pt x="368" y="205229"/>
                  </a:cubicBezTo>
                  <a:cubicBezTo>
                    <a:pt x="203" y="198054"/>
                    <a:pt x="63" y="190497"/>
                    <a:pt x="0" y="182522"/>
                  </a:cubicBezTo>
                  <a:cubicBezTo>
                    <a:pt x="177" y="166482"/>
                    <a:pt x="965" y="148855"/>
                    <a:pt x="2844" y="130427"/>
                  </a:cubicBezTo>
                  <a:cubicBezTo>
                    <a:pt x="4711" y="112000"/>
                    <a:pt x="7442" y="94601"/>
                    <a:pt x="10451" y="78840"/>
                  </a:cubicBezTo>
                  <a:cubicBezTo>
                    <a:pt x="12077" y="71004"/>
                    <a:pt x="13550" y="63537"/>
                    <a:pt x="15277" y="56615"/>
                  </a:cubicBezTo>
                  <a:cubicBezTo>
                    <a:pt x="17005" y="49681"/>
                    <a:pt x="18605" y="43268"/>
                    <a:pt x="20218" y="37413"/>
                  </a:cubicBezTo>
                  <a:cubicBezTo>
                    <a:pt x="21831" y="31571"/>
                    <a:pt x="23431" y="26314"/>
                    <a:pt x="24815" y="21716"/>
                  </a:cubicBezTo>
                  <a:cubicBezTo>
                    <a:pt x="26212" y="17119"/>
                    <a:pt x="27520" y="13195"/>
                    <a:pt x="28650" y="9969"/>
                  </a:cubicBezTo>
                  <a:lnTo>
                    <a:pt x="31203" y="2616"/>
                  </a:lnTo>
                  <a:cubicBezTo>
                    <a:pt x="31521" y="1841"/>
                    <a:pt x="31749" y="1219"/>
                    <a:pt x="31914" y="711"/>
                  </a:cubicBezTo>
                  <a:cubicBezTo>
                    <a:pt x="31965" y="469"/>
                    <a:pt x="32041" y="228"/>
                    <a:pt x="32143" y="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1" name="Free Form 3407">
              <a:extLst>
                <a:ext uri="{FF2B5EF4-FFF2-40B4-BE49-F238E27FC236}">
                  <a16:creationId xmlns:a16="http://schemas.microsoft.com/office/drawing/2014/main" id="{CFF35392-9319-456B-BA8F-CE60BAD64AF5}"/>
                </a:ext>
              </a:extLst>
            </p:cNvPr>
            <p:cNvSpPr/>
            <p:nvPr/>
          </p:nvSpPr>
          <p:spPr>
            <a:xfrm>
              <a:off x="25834523" y="30482692"/>
              <a:ext cx="35776" cy="39243"/>
            </a:xfrm>
            <a:custGeom>
              <a:avLst/>
              <a:gdLst/>
              <a:ahLst/>
              <a:cxnLst/>
              <a:rect l="0" t="0" r="0" b="0"/>
              <a:pathLst>
                <a:path w="35775" h="39242">
                  <a:moveTo>
                    <a:pt x="2184" y="27342"/>
                  </a:moveTo>
                  <a:cubicBezTo>
                    <a:pt x="5549" y="17411"/>
                    <a:pt x="12255" y="8953"/>
                    <a:pt x="21145" y="3403"/>
                  </a:cubicBezTo>
                  <a:cubicBezTo>
                    <a:pt x="24155" y="1536"/>
                    <a:pt x="27990" y="0"/>
                    <a:pt x="31165" y="1562"/>
                  </a:cubicBezTo>
                  <a:cubicBezTo>
                    <a:pt x="35432" y="3606"/>
                    <a:pt x="35775" y="9601"/>
                    <a:pt x="34492" y="14134"/>
                  </a:cubicBezTo>
                  <a:cubicBezTo>
                    <a:pt x="32308" y="21869"/>
                    <a:pt x="27419" y="28561"/>
                    <a:pt x="20700" y="32968"/>
                  </a:cubicBezTo>
                  <a:cubicBezTo>
                    <a:pt x="14757" y="37375"/>
                    <a:pt x="7315" y="39242"/>
                    <a:pt x="0" y="38188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2" name="Free Form 3408">
              <a:extLst>
                <a:ext uri="{FF2B5EF4-FFF2-40B4-BE49-F238E27FC236}">
                  <a16:creationId xmlns:a16="http://schemas.microsoft.com/office/drawing/2014/main" id="{BB44CBF1-519D-3BCA-C3E6-336DD9E884BB}"/>
                </a:ext>
              </a:extLst>
            </p:cNvPr>
            <p:cNvSpPr/>
            <p:nvPr/>
          </p:nvSpPr>
          <p:spPr>
            <a:xfrm>
              <a:off x="25828053" y="30528151"/>
              <a:ext cx="36512" cy="45504"/>
            </a:xfrm>
            <a:custGeom>
              <a:avLst/>
              <a:gdLst/>
              <a:ahLst/>
              <a:cxnLst/>
              <a:rect l="0" t="0" r="0" b="0"/>
              <a:pathLst>
                <a:path w="36512" h="45503">
                  <a:moveTo>
                    <a:pt x="1244" y="39572"/>
                  </a:moveTo>
                  <a:cubicBezTo>
                    <a:pt x="4394" y="27647"/>
                    <a:pt x="13906" y="10731"/>
                    <a:pt x="23761" y="3378"/>
                  </a:cubicBezTo>
                  <a:cubicBezTo>
                    <a:pt x="25260" y="2095"/>
                    <a:pt x="26987" y="1130"/>
                    <a:pt x="28866" y="533"/>
                  </a:cubicBezTo>
                  <a:cubicBezTo>
                    <a:pt x="30771" y="0"/>
                    <a:pt x="32829" y="431"/>
                    <a:pt x="34353" y="1701"/>
                  </a:cubicBezTo>
                  <a:cubicBezTo>
                    <a:pt x="36054" y="3975"/>
                    <a:pt x="36512" y="6946"/>
                    <a:pt x="35572" y="9626"/>
                  </a:cubicBezTo>
                  <a:cubicBezTo>
                    <a:pt x="31482" y="27368"/>
                    <a:pt x="17703" y="41261"/>
                    <a:pt x="0" y="4550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3" name="Free Form 3409">
              <a:extLst>
                <a:ext uri="{FF2B5EF4-FFF2-40B4-BE49-F238E27FC236}">
                  <a16:creationId xmlns:a16="http://schemas.microsoft.com/office/drawing/2014/main" id="{7AF922F5-E7A1-F6A8-6D6D-37FC857048D9}"/>
                </a:ext>
              </a:extLst>
            </p:cNvPr>
            <p:cNvSpPr/>
            <p:nvPr/>
          </p:nvSpPr>
          <p:spPr>
            <a:xfrm>
              <a:off x="25827255" y="30586916"/>
              <a:ext cx="36906" cy="43129"/>
            </a:xfrm>
            <a:custGeom>
              <a:avLst/>
              <a:gdLst/>
              <a:ahLst/>
              <a:cxnLst/>
              <a:rect l="0" t="0" r="0" b="0"/>
              <a:pathLst>
                <a:path w="36905" h="43128">
                  <a:moveTo>
                    <a:pt x="0" y="31571"/>
                  </a:moveTo>
                  <a:cubicBezTo>
                    <a:pt x="4902" y="20205"/>
                    <a:pt x="12737" y="10337"/>
                    <a:pt x="22707" y="3009"/>
                  </a:cubicBezTo>
                  <a:cubicBezTo>
                    <a:pt x="24853" y="1028"/>
                    <a:pt x="27711" y="0"/>
                    <a:pt x="30632" y="165"/>
                  </a:cubicBezTo>
                  <a:cubicBezTo>
                    <a:pt x="34950" y="939"/>
                    <a:pt x="36905" y="6184"/>
                    <a:pt x="36512" y="10566"/>
                  </a:cubicBezTo>
                  <a:cubicBezTo>
                    <a:pt x="35737" y="19532"/>
                    <a:pt x="28879" y="26745"/>
                    <a:pt x="21805" y="32333"/>
                  </a:cubicBezTo>
                  <a:cubicBezTo>
                    <a:pt x="15290" y="36816"/>
                    <a:pt x="8229" y="40449"/>
                    <a:pt x="800" y="43128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4" name="Free Form 3410">
              <a:extLst>
                <a:ext uri="{FF2B5EF4-FFF2-40B4-BE49-F238E27FC236}">
                  <a16:creationId xmlns:a16="http://schemas.microsoft.com/office/drawing/2014/main" id="{910ABAE1-9C14-5961-A11E-0B523FD83EFD}"/>
                </a:ext>
              </a:extLst>
            </p:cNvPr>
            <p:cNvSpPr/>
            <p:nvPr/>
          </p:nvSpPr>
          <p:spPr>
            <a:xfrm>
              <a:off x="25828419" y="30630014"/>
              <a:ext cx="32587" cy="32195"/>
            </a:xfrm>
            <a:custGeom>
              <a:avLst/>
              <a:gdLst/>
              <a:ahLst/>
              <a:cxnLst/>
              <a:rect l="0" t="0" r="0" b="0"/>
              <a:pathLst>
                <a:path w="32587" h="32194">
                  <a:moveTo>
                    <a:pt x="0" y="24955"/>
                  </a:moveTo>
                  <a:cubicBezTo>
                    <a:pt x="4737" y="16306"/>
                    <a:pt x="11328" y="8801"/>
                    <a:pt x="19303" y="2984"/>
                  </a:cubicBezTo>
                  <a:cubicBezTo>
                    <a:pt x="20967" y="1689"/>
                    <a:pt x="22910" y="787"/>
                    <a:pt x="24980" y="368"/>
                  </a:cubicBezTo>
                  <a:cubicBezTo>
                    <a:pt x="27126" y="0"/>
                    <a:pt x="29298" y="825"/>
                    <a:pt x="30657" y="2527"/>
                  </a:cubicBezTo>
                  <a:cubicBezTo>
                    <a:pt x="32587" y="5372"/>
                    <a:pt x="30657" y="9232"/>
                    <a:pt x="28676" y="11975"/>
                  </a:cubicBezTo>
                  <a:cubicBezTo>
                    <a:pt x="21856" y="21475"/>
                    <a:pt x="12204" y="28549"/>
                    <a:pt x="1104" y="32194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5" name="Free Form 3411">
              <a:extLst>
                <a:ext uri="{FF2B5EF4-FFF2-40B4-BE49-F238E27FC236}">
                  <a16:creationId xmlns:a16="http://schemas.microsoft.com/office/drawing/2014/main" id="{312132C4-02F5-3A7D-A10B-07A8D074C265}"/>
                </a:ext>
              </a:extLst>
            </p:cNvPr>
            <p:cNvSpPr/>
            <p:nvPr/>
          </p:nvSpPr>
          <p:spPr>
            <a:xfrm>
              <a:off x="25791779" y="30609175"/>
              <a:ext cx="36640" cy="39014"/>
            </a:xfrm>
            <a:custGeom>
              <a:avLst/>
              <a:gdLst/>
              <a:ahLst/>
              <a:cxnLst/>
              <a:rect l="0" t="0" r="0" b="0"/>
              <a:pathLst>
                <a:path w="36639" h="39013">
                  <a:moveTo>
                    <a:pt x="35673" y="30974"/>
                  </a:moveTo>
                  <a:cubicBezTo>
                    <a:pt x="27342" y="20776"/>
                    <a:pt x="18097" y="11353"/>
                    <a:pt x="8051" y="2844"/>
                  </a:cubicBezTo>
                  <a:cubicBezTo>
                    <a:pt x="6489" y="1498"/>
                    <a:pt x="4495" y="0"/>
                    <a:pt x="2539" y="761"/>
                  </a:cubicBezTo>
                  <a:cubicBezTo>
                    <a:pt x="1041" y="1384"/>
                    <a:pt x="38" y="2832"/>
                    <a:pt x="12" y="4457"/>
                  </a:cubicBezTo>
                  <a:cubicBezTo>
                    <a:pt x="0" y="6057"/>
                    <a:pt x="355" y="7645"/>
                    <a:pt x="1066" y="9080"/>
                  </a:cubicBezTo>
                  <a:cubicBezTo>
                    <a:pt x="7734" y="23964"/>
                    <a:pt x="20840" y="34988"/>
                    <a:pt x="36639" y="3901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6" name="Free Form 3412">
              <a:extLst>
                <a:ext uri="{FF2B5EF4-FFF2-40B4-BE49-F238E27FC236}">
                  <a16:creationId xmlns:a16="http://schemas.microsoft.com/office/drawing/2014/main" id="{8D256B31-F7DF-30C5-C319-9F21B169F61A}"/>
                </a:ext>
              </a:extLst>
            </p:cNvPr>
            <p:cNvSpPr/>
            <p:nvPr/>
          </p:nvSpPr>
          <p:spPr>
            <a:xfrm>
              <a:off x="25786780" y="30557727"/>
              <a:ext cx="41553" cy="43217"/>
            </a:xfrm>
            <a:custGeom>
              <a:avLst/>
              <a:gdLst/>
              <a:ahLst/>
              <a:cxnLst/>
              <a:rect l="0" t="0" r="0" b="0"/>
              <a:pathLst>
                <a:path w="41553" h="43217">
                  <a:moveTo>
                    <a:pt x="41553" y="34924"/>
                  </a:moveTo>
                  <a:lnTo>
                    <a:pt x="19837" y="8470"/>
                  </a:lnTo>
                  <a:cubicBezTo>
                    <a:pt x="17957" y="5816"/>
                    <a:pt x="15595" y="3530"/>
                    <a:pt x="12877" y="1739"/>
                  </a:cubicBezTo>
                  <a:cubicBezTo>
                    <a:pt x="10032" y="0"/>
                    <a:pt x="6464" y="0"/>
                    <a:pt x="3619" y="1739"/>
                  </a:cubicBezTo>
                  <a:cubicBezTo>
                    <a:pt x="1104" y="3886"/>
                    <a:pt x="0" y="7264"/>
                    <a:pt x="787" y="10477"/>
                  </a:cubicBezTo>
                  <a:cubicBezTo>
                    <a:pt x="1549" y="13652"/>
                    <a:pt x="2997" y="16611"/>
                    <a:pt x="5016" y="19164"/>
                  </a:cubicBezTo>
                  <a:cubicBezTo>
                    <a:pt x="9220" y="25691"/>
                    <a:pt x="14579" y="31381"/>
                    <a:pt x="20827" y="35978"/>
                  </a:cubicBezTo>
                  <a:cubicBezTo>
                    <a:pt x="27190" y="40347"/>
                    <a:pt x="32981" y="43217"/>
                    <a:pt x="40703" y="42074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7" name="Free Form 3413">
              <a:extLst>
                <a:ext uri="{FF2B5EF4-FFF2-40B4-BE49-F238E27FC236}">
                  <a16:creationId xmlns:a16="http://schemas.microsoft.com/office/drawing/2014/main" id="{2CFE1564-627F-617F-5A4D-0694DF432898}"/>
                </a:ext>
              </a:extLst>
            </p:cNvPr>
            <p:cNvSpPr/>
            <p:nvPr/>
          </p:nvSpPr>
          <p:spPr>
            <a:xfrm>
              <a:off x="25792494" y="30502223"/>
              <a:ext cx="38849" cy="46050"/>
            </a:xfrm>
            <a:custGeom>
              <a:avLst/>
              <a:gdLst/>
              <a:ahLst/>
              <a:cxnLst/>
              <a:rect l="0" t="0" r="0" b="0"/>
              <a:pathLst>
                <a:path w="38848" h="46049">
                  <a:moveTo>
                    <a:pt x="38848" y="36969"/>
                  </a:moveTo>
                  <a:cubicBezTo>
                    <a:pt x="34594" y="24307"/>
                    <a:pt x="27063" y="12991"/>
                    <a:pt x="17017" y="4178"/>
                  </a:cubicBezTo>
                  <a:cubicBezTo>
                    <a:pt x="15443" y="2590"/>
                    <a:pt x="13487" y="1447"/>
                    <a:pt x="11340" y="850"/>
                  </a:cubicBezTo>
                  <a:cubicBezTo>
                    <a:pt x="6997" y="0"/>
                    <a:pt x="2819" y="3695"/>
                    <a:pt x="1396" y="7835"/>
                  </a:cubicBezTo>
                  <a:cubicBezTo>
                    <a:pt x="0" y="12699"/>
                    <a:pt x="723" y="17919"/>
                    <a:pt x="3390" y="22212"/>
                  </a:cubicBezTo>
                  <a:cubicBezTo>
                    <a:pt x="6032" y="26453"/>
                    <a:pt x="9499" y="30111"/>
                    <a:pt x="13576" y="32994"/>
                  </a:cubicBezTo>
                  <a:cubicBezTo>
                    <a:pt x="20891" y="38594"/>
                    <a:pt x="29044" y="43001"/>
                    <a:pt x="37743" y="46049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8" name="Free Form 3414">
              <a:extLst>
                <a:ext uri="{FF2B5EF4-FFF2-40B4-BE49-F238E27FC236}">
                  <a16:creationId xmlns:a16="http://schemas.microsoft.com/office/drawing/2014/main" id="{24370019-15A8-6911-647D-81252EC3F945}"/>
                </a:ext>
              </a:extLst>
            </p:cNvPr>
            <p:cNvSpPr/>
            <p:nvPr/>
          </p:nvSpPr>
          <p:spPr>
            <a:xfrm>
              <a:off x="25807239" y="30445615"/>
              <a:ext cx="32791" cy="52831"/>
            </a:xfrm>
            <a:custGeom>
              <a:avLst/>
              <a:gdLst/>
              <a:ahLst/>
              <a:cxnLst/>
              <a:rect l="0" t="0" r="0" b="0"/>
              <a:pathLst>
                <a:path w="32791" h="52831">
                  <a:moveTo>
                    <a:pt x="32791" y="45910"/>
                  </a:moveTo>
                  <a:cubicBezTo>
                    <a:pt x="30695" y="30555"/>
                    <a:pt x="22681" y="17805"/>
                    <a:pt x="13461" y="5372"/>
                  </a:cubicBezTo>
                  <a:cubicBezTo>
                    <a:pt x="11493" y="2755"/>
                    <a:pt x="8775" y="0"/>
                    <a:pt x="5537" y="482"/>
                  </a:cubicBezTo>
                  <a:cubicBezTo>
                    <a:pt x="3467" y="927"/>
                    <a:pt x="1765" y="2387"/>
                    <a:pt x="1015" y="4368"/>
                  </a:cubicBezTo>
                  <a:cubicBezTo>
                    <a:pt x="304" y="6337"/>
                    <a:pt x="0" y="8420"/>
                    <a:pt x="139" y="10502"/>
                  </a:cubicBezTo>
                  <a:cubicBezTo>
                    <a:pt x="977" y="29514"/>
                    <a:pt x="13093" y="46176"/>
                    <a:pt x="30911" y="52831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39" name="Free Form 3415">
              <a:extLst>
                <a:ext uri="{FF2B5EF4-FFF2-40B4-BE49-F238E27FC236}">
                  <a16:creationId xmlns:a16="http://schemas.microsoft.com/office/drawing/2014/main" id="{083F356A-0FDE-4FF3-2996-0C0DA851433B}"/>
                </a:ext>
              </a:extLst>
            </p:cNvPr>
            <p:cNvSpPr/>
            <p:nvPr/>
          </p:nvSpPr>
          <p:spPr>
            <a:xfrm>
              <a:off x="25844823" y="30413775"/>
              <a:ext cx="29464" cy="53390"/>
            </a:xfrm>
            <a:custGeom>
              <a:avLst/>
              <a:gdLst/>
              <a:ahLst/>
              <a:cxnLst/>
              <a:rect l="0" t="0" r="0" b="0"/>
              <a:pathLst>
                <a:path w="29463" h="53390">
                  <a:moveTo>
                    <a:pt x="1282" y="53390"/>
                  </a:moveTo>
                  <a:cubicBezTo>
                    <a:pt x="266" y="45529"/>
                    <a:pt x="0" y="37591"/>
                    <a:pt x="482" y="29679"/>
                  </a:cubicBezTo>
                  <a:cubicBezTo>
                    <a:pt x="977" y="21729"/>
                    <a:pt x="3695" y="14071"/>
                    <a:pt x="8356" y="7594"/>
                  </a:cubicBezTo>
                  <a:cubicBezTo>
                    <a:pt x="10324" y="4787"/>
                    <a:pt x="13068" y="2590"/>
                    <a:pt x="16243" y="1295"/>
                  </a:cubicBezTo>
                  <a:cubicBezTo>
                    <a:pt x="19468" y="0"/>
                    <a:pt x="23126" y="495"/>
                    <a:pt x="25895" y="2565"/>
                  </a:cubicBezTo>
                  <a:cubicBezTo>
                    <a:pt x="28244" y="4762"/>
                    <a:pt x="29463" y="7886"/>
                    <a:pt x="29222" y="11086"/>
                  </a:cubicBezTo>
                  <a:cubicBezTo>
                    <a:pt x="28955" y="14236"/>
                    <a:pt x="28130" y="17322"/>
                    <a:pt x="26771" y="20167"/>
                  </a:cubicBezTo>
                  <a:cubicBezTo>
                    <a:pt x="21094" y="34086"/>
                    <a:pt x="11328" y="49504"/>
                    <a:pt x="1219" y="5339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0" name="Free Form 3416">
              <a:extLst>
                <a:ext uri="{FF2B5EF4-FFF2-40B4-BE49-F238E27FC236}">
                  <a16:creationId xmlns:a16="http://schemas.microsoft.com/office/drawing/2014/main" id="{7BB2D706-0F98-963B-0579-168E0231655C}"/>
                </a:ext>
              </a:extLst>
            </p:cNvPr>
            <p:cNvSpPr/>
            <p:nvPr/>
          </p:nvSpPr>
          <p:spPr>
            <a:xfrm>
              <a:off x="25750850" y="30485449"/>
              <a:ext cx="39408" cy="185507"/>
            </a:xfrm>
            <a:custGeom>
              <a:avLst/>
              <a:gdLst/>
              <a:ahLst/>
              <a:cxnLst/>
              <a:rect l="0" t="0" r="0" b="0"/>
              <a:pathLst>
                <a:path w="39407" h="185506">
                  <a:moveTo>
                    <a:pt x="685" y="0"/>
                  </a:moveTo>
                  <a:cubicBezTo>
                    <a:pt x="749" y="647"/>
                    <a:pt x="749" y="1308"/>
                    <a:pt x="685" y="1955"/>
                  </a:cubicBezTo>
                  <a:lnTo>
                    <a:pt x="685" y="7632"/>
                  </a:lnTo>
                  <a:cubicBezTo>
                    <a:pt x="685" y="10045"/>
                    <a:pt x="685" y="13004"/>
                    <a:pt x="825" y="16433"/>
                  </a:cubicBezTo>
                  <a:cubicBezTo>
                    <a:pt x="965" y="19875"/>
                    <a:pt x="825" y="23761"/>
                    <a:pt x="1257" y="28079"/>
                  </a:cubicBezTo>
                  <a:cubicBezTo>
                    <a:pt x="1625" y="36588"/>
                    <a:pt x="2476" y="46964"/>
                    <a:pt x="3784" y="58317"/>
                  </a:cubicBezTo>
                  <a:cubicBezTo>
                    <a:pt x="5092" y="69671"/>
                    <a:pt x="7099" y="82053"/>
                    <a:pt x="9766" y="94931"/>
                  </a:cubicBezTo>
                  <a:cubicBezTo>
                    <a:pt x="12445" y="107821"/>
                    <a:pt x="15735" y="119975"/>
                    <a:pt x="18998" y="130910"/>
                  </a:cubicBezTo>
                  <a:cubicBezTo>
                    <a:pt x="22262" y="141844"/>
                    <a:pt x="25729" y="151547"/>
                    <a:pt x="28854" y="159611"/>
                  </a:cubicBezTo>
                  <a:cubicBezTo>
                    <a:pt x="30301" y="163675"/>
                    <a:pt x="31863" y="167244"/>
                    <a:pt x="33133" y="170432"/>
                  </a:cubicBezTo>
                  <a:cubicBezTo>
                    <a:pt x="34416" y="173607"/>
                    <a:pt x="35572" y="176337"/>
                    <a:pt x="36537" y="178547"/>
                  </a:cubicBezTo>
                  <a:cubicBezTo>
                    <a:pt x="37515" y="180757"/>
                    <a:pt x="38163" y="182382"/>
                    <a:pt x="38734" y="183690"/>
                  </a:cubicBezTo>
                  <a:cubicBezTo>
                    <a:pt x="39001" y="184275"/>
                    <a:pt x="39229" y="184884"/>
                    <a:pt x="39407" y="185506"/>
                  </a:cubicBezTo>
                  <a:cubicBezTo>
                    <a:pt x="39039" y="184973"/>
                    <a:pt x="38721" y="184402"/>
                    <a:pt x="38467" y="183805"/>
                  </a:cubicBezTo>
                  <a:cubicBezTo>
                    <a:pt x="37845" y="182522"/>
                    <a:pt x="37058" y="180960"/>
                    <a:pt x="36029" y="178775"/>
                  </a:cubicBezTo>
                  <a:cubicBezTo>
                    <a:pt x="35013" y="176591"/>
                    <a:pt x="33730" y="173924"/>
                    <a:pt x="32397" y="170736"/>
                  </a:cubicBezTo>
                  <a:cubicBezTo>
                    <a:pt x="31063" y="167562"/>
                    <a:pt x="29565" y="164006"/>
                    <a:pt x="27888" y="159980"/>
                  </a:cubicBezTo>
                  <a:cubicBezTo>
                    <a:pt x="24650" y="151941"/>
                    <a:pt x="21183" y="142213"/>
                    <a:pt x="17754" y="131303"/>
                  </a:cubicBezTo>
                  <a:cubicBezTo>
                    <a:pt x="14312" y="120407"/>
                    <a:pt x="11137" y="108164"/>
                    <a:pt x="8381" y="95223"/>
                  </a:cubicBezTo>
                  <a:cubicBezTo>
                    <a:pt x="5626" y="82269"/>
                    <a:pt x="3809" y="69836"/>
                    <a:pt x="2476" y="58457"/>
                  </a:cubicBezTo>
                  <a:cubicBezTo>
                    <a:pt x="1142" y="47065"/>
                    <a:pt x="482" y="36791"/>
                    <a:pt x="228" y="28130"/>
                  </a:cubicBezTo>
                  <a:cubicBezTo>
                    <a:pt x="38" y="23786"/>
                    <a:pt x="63" y="19875"/>
                    <a:pt x="38" y="16433"/>
                  </a:cubicBezTo>
                  <a:cubicBezTo>
                    <a:pt x="0" y="13004"/>
                    <a:pt x="38" y="10045"/>
                    <a:pt x="38" y="7632"/>
                  </a:cubicBezTo>
                  <a:cubicBezTo>
                    <a:pt x="38" y="5219"/>
                    <a:pt x="177" y="3467"/>
                    <a:pt x="228" y="1955"/>
                  </a:cubicBezTo>
                  <a:cubicBezTo>
                    <a:pt x="304" y="1295"/>
                    <a:pt x="457" y="634"/>
                    <a:pt x="685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1" name="Free Form 3417">
              <a:extLst>
                <a:ext uri="{FF2B5EF4-FFF2-40B4-BE49-F238E27FC236}">
                  <a16:creationId xmlns:a16="http://schemas.microsoft.com/office/drawing/2014/main" id="{B1922C76-BDA5-6BD2-71EE-CD63D01116A3}"/>
                </a:ext>
              </a:extLst>
            </p:cNvPr>
            <p:cNvSpPr/>
            <p:nvPr/>
          </p:nvSpPr>
          <p:spPr>
            <a:xfrm>
              <a:off x="25754943" y="30524547"/>
              <a:ext cx="19393" cy="31648"/>
            </a:xfrm>
            <a:custGeom>
              <a:avLst/>
              <a:gdLst/>
              <a:ahLst/>
              <a:cxnLst/>
              <a:rect l="0" t="0" r="0" b="0"/>
              <a:pathLst>
                <a:path w="19392" h="31648">
                  <a:moveTo>
                    <a:pt x="0" y="23786"/>
                  </a:moveTo>
                  <a:cubicBezTo>
                    <a:pt x="152" y="16293"/>
                    <a:pt x="2908" y="9080"/>
                    <a:pt x="7810" y="3403"/>
                  </a:cubicBezTo>
                  <a:cubicBezTo>
                    <a:pt x="9245" y="1269"/>
                    <a:pt x="11645" y="0"/>
                    <a:pt x="14223" y="0"/>
                  </a:cubicBezTo>
                  <a:cubicBezTo>
                    <a:pt x="17576" y="482"/>
                    <a:pt x="19113" y="4483"/>
                    <a:pt x="19214" y="7861"/>
                  </a:cubicBezTo>
                  <a:cubicBezTo>
                    <a:pt x="19392" y="13601"/>
                    <a:pt x="17487" y="19202"/>
                    <a:pt x="13855" y="23647"/>
                  </a:cubicBezTo>
                  <a:cubicBezTo>
                    <a:pt x="10744" y="27914"/>
                    <a:pt x="6083" y="30797"/>
                    <a:pt x="876" y="316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2" name="Free Form 3418">
              <a:extLst>
                <a:ext uri="{FF2B5EF4-FFF2-40B4-BE49-F238E27FC236}">
                  <a16:creationId xmlns:a16="http://schemas.microsoft.com/office/drawing/2014/main" id="{C7D4145E-D66B-D8BC-C50F-DA5248FBAC28}"/>
                </a:ext>
              </a:extLst>
            </p:cNvPr>
            <p:cNvSpPr/>
            <p:nvPr/>
          </p:nvSpPr>
          <p:spPr>
            <a:xfrm>
              <a:off x="25761903" y="30555944"/>
              <a:ext cx="18262" cy="37591"/>
            </a:xfrm>
            <a:custGeom>
              <a:avLst/>
              <a:gdLst/>
              <a:ahLst/>
              <a:cxnLst/>
              <a:rect l="0" t="0" r="0" b="0"/>
              <a:pathLst>
                <a:path w="18262" h="37591">
                  <a:moveTo>
                    <a:pt x="393" y="33273"/>
                  </a:moveTo>
                  <a:cubicBezTo>
                    <a:pt x="0" y="24472"/>
                    <a:pt x="2806" y="10896"/>
                    <a:pt x="7950" y="3771"/>
                  </a:cubicBezTo>
                  <a:cubicBezTo>
                    <a:pt x="8686" y="2641"/>
                    <a:pt x="9651" y="1676"/>
                    <a:pt x="10782" y="939"/>
                  </a:cubicBezTo>
                  <a:cubicBezTo>
                    <a:pt x="11963" y="139"/>
                    <a:pt x="13461" y="0"/>
                    <a:pt x="14757" y="571"/>
                  </a:cubicBezTo>
                  <a:cubicBezTo>
                    <a:pt x="16420" y="1727"/>
                    <a:pt x="17373" y="3657"/>
                    <a:pt x="17284" y="5676"/>
                  </a:cubicBezTo>
                  <a:cubicBezTo>
                    <a:pt x="18262" y="18567"/>
                    <a:pt x="11899" y="30898"/>
                    <a:pt x="850" y="3759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3" name="Free Form 3419">
              <a:extLst>
                <a:ext uri="{FF2B5EF4-FFF2-40B4-BE49-F238E27FC236}">
                  <a16:creationId xmlns:a16="http://schemas.microsoft.com/office/drawing/2014/main" id="{D0B6E326-88FD-8DDF-7A9A-DF3A499FCE24}"/>
                </a:ext>
              </a:extLst>
            </p:cNvPr>
            <p:cNvSpPr/>
            <p:nvPr/>
          </p:nvSpPr>
          <p:spPr>
            <a:xfrm>
              <a:off x="25771836" y="30595863"/>
              <a:ext cx="21742" cy="36055"/>
            </a:xfrm>
            <a:custGeom>
              <a:avLst/>
              <a:gdLst/>
              <a:ahLst/>
              <a:cxnLst/>
              <a:rect l="0" t="0" r="0" b="0"/>
              <a:pathLst>
                <a:path w="21742" h="36054">
                  <a:moveTo>
                    <a:pt x="0" y="28358"/>
                  </a:moveTo>
                  <a:cubicBezTo>
                    <a:pt x="901" y="19570"/>
                    <a:pt x="4114" y="11175"/>
                    <a:pt x="9309" y="4025"/>
                  </a:cubicBezTo>
                  <a:cubicBezTo>
                    <a:pt x="10350" y="2222"/>
                    <a:pt x="12090" y="901"/>
                    <a:pt x="14109" y="393"/>
                  </a:cubicBezTo>
                  <a:cubicBezTo>
                    <a:pt x="17208" y="0"/>
                    <a:pt x="19786" y="3238"/>
                    <a:pt x="20357" y="6210"/>
                  </a:cubicBezTo>
                  <a:cubicBezTo>
                    <a:pt x="21742" y="12483"/>
                    <a:pt x="18630" y="18871"/>
                    <a:pt x="15023" y="24180"/>
                  </a:cubicBezTo>
                  <a:cubicBezTo>
                    <a:pt x="11556" y="28650"/>
                    <a:pt x="7531" y="32638"/>
                    <a:pt x="3035" y="3605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4" name="Free Form 3420">
              <a:extLst>
                <a:ext uri="{FF2B5EF4-FFF2-40B4-BE49-F238E27FC236}">
                  <a16:creationId xmlns:a16="http://schemas.microsoft.com/office/drawing/2014/main" id="{F30A3BD3-5CD3-9768-0265-84075A023329}"/>
                </a:ext>
              </a:extLst>
            </p:cNvPr>
            <p:cNvSpPr/>
            <p:nvPr/>
          </p:nvSpPr>
          <p:spPr>
            <a:xfrm>
              <a:off x="25780496" y="30625924"/>
              <a:ext cx="18173" cy="27546"/>
            </a:xfrm>
            <a:custGeom>
              <a:avLst/>
              <a:gdLst/>
              <a:ahLst/>
              <a:cxnLst/>
              <a:rect l="0" t="0" r="0" b="0"/>
              <a:pathLst>
                <a:path w="18173" h="27546">
                  <a:moveTo>
                    <a:pt x="0" y="22885"/>
                  </a:moveTo>
                  <a:cubicBezTo>
                    <a:pt x="1396" y="15951"/>
                    <a:pt x="4305" y="9423"/>
                    <a:pt x="8521" y="3746"/>
                  </a:cubicBezTo>
                  <a:cubicBezTo>
                    <a:pt x="9397" y="2501"/>
                    <a:pt x="10553" y="1473"/>
                    <a:pt x="11899" y="736"/>
                  </a:cubicBezTo>
                  <a:cubicBezTo>
                    <a:pt x="13271" y="0"/>
                    <a:pt x="14947" y="101"/>
                    <a:pt x="16243" y="990"/>
                  </a:cubicBezTo>
                  <a:cubicBezTo>
                    <a:pt x="18173" y="2501"/>
                    <a:pt x="17741" y="5511"/>
                    <a:pt x="16916" y="7835"/>
                  </a:cubicBezTo>
                  <a:cubicBezTo>
                    <a:pt x="14338" y="15773"/>
                    <a:pt x="9283" y="22681"/>
                    <a:pt x="2501" y="2754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5" name="Free Form 3421">
              <a:extLst>
                <a:ext uri="{FF2B5EF4-FFF2-40B4-BE49-F238E27FC236}">
                  <a16:creationId xmlns:a16="http://schemas.microsoft.com/office/drawing/2014/main" id="{64BE4420-83B0-E2D7-4A8A-F5103E8985AE}"/>
                </a:ext>
              </a:extLst>
            </p:cNvPr>
            <p:cNvSpPr/>
            <p:nvPr/>
          </p:nvSpPr>
          <p:spPr>
            <a:xfrm>
              <a:off x="25746294" y="30624872"/>
              <a:ext cx="32727" cy="19914"/>
            </a:xfrm>
            <a:custGeom>
              <a:avLst/>
              <a:gdLst/>
              <a:ahLst/>
              <a:cxnLst/>
              <a:rect l="0" t="0" r="0" b="0"/>
              <a:pathLst>
                <a:path w="32727" h="19913">
                  <a:moveTo>
                    <a:pt x="30339" y="14084"/>
                  </a:moveTo>
                  <a:cubicBezTo>
                    <a:pt x="22478" y="8915"/>
                    <a:pt x="14147" y="4483"/>
                    <a:pt x="5473" y="850"/>
                  </a:cubicBezTo>
                  <a:cubicBezTo>
                    <a:pt x="4190" y="76"/>
                    <a:pt x="2616" y="0"/>
                    <a:pt x="1269" y="622"/>
                  </a:cubicBezTo>
                  <a:cubicBezTo>
                    <a:pt x="368" y="1371"/>
                    <a:pt x="0" y="2578"/>
                    <a:pt x="355" y="3695"/>
                  </a:cubicBezTo>
                  <a:cubicBezTo>
                    <a:pt x="698" y="4762"/>
                    <a:pt x="1282" y="5727"/>
                    <a:pt x="2057" y="6527"/>
                  </a:cubicBezTo>
                  <a:cubicBezTo>
                    <a:pt x="9804" y="15227"/>
                    <a:pt x="21094" y="19913"/>
                    <a:pt x="32727" y="19252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6" name="Free Form 3422">
              <a:extLst>
                <a:ext uri="{FF2B5EF4-FFF2-40B4-BE49-F238E27FC236}">
                  <a16:creationId xmlns:a16="http://schemas.microsoft.com/office/drawing/2014/main" id="{F4B513CB-105D-3C31-1377-230F4762B9D0}"/>
                </a:ext>
              </a:extLst>
            </p:cNvPr>
            <p:cNvSpPr/>
            <p:nvPr/>
          </p:nvSpPr>
          <p:spPr>
            <a:xfrm>
              <a:off x="25732631" y="30589426"/>
              <a:ext cx="35141" cy="24460"/>
            </a:xfrm>
            <a:custGeom>
              <a:avLst/>
              <a:gdLst/>
              <a:ahLst/>
              <a:cxnLst/>
              <a:rect l="0" t="0" r="0" b="0"/>
              <a:pathLst>
                <a:path w="35140" h="24459">
                  <a:moveTo>
                    <a:pt x="34378" y="16967"/>
                  </a:moveTo>
                  <a:lnTo>
                    <a:pt x="13906" y="3619"/>
                  </a:lnTo>
                  <a:cubicBezTo>
                    <a:pt x="12039" y="2235"/>
                    <a:pt x="9931" y="1206"/>
                    <a:pt x="7696" y="584"/>
                  </a:cubicBezTo>
                  <a:cubicBezTo>
                    <a:pt x="5384" y="0"/>
                    <a:pt x="2946" y="749"/>
                    <a:pt x="1358" y="2514"/>
                  </a:cubicBezTo>
                  <a:cubicBezTo>
                    <a:pt x="50" y="4508"/>
                    <a:pt x="0" y="7061"/>
                    <a:pt x="1219" y="9105"/>
                  </a:cubicBezTo>
                  <a:cubicBezTo>
                    <a:pt x="2425" y="11086"/>
                    <a:pt x="4038" y="12788"/>
                    <a:pt x="5956" y="14096"/>
                  </a:cubicBezTo>
                  <a:cubicBezTo>
                    <a:pt x="10223" y="17627"/>
                    <a:pt x="15100" y="20357"/>
                    <a:pt x="20357" y="22135"/>
                  </a:cubicBezTo>
                  <a:cubicBezTo>
                    <a:pt x="25641" y="23748"/>
                    <a:pt x="30174" y="24459"/>
                    <a:pt x="35140" y="2213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7" name="Free Form 3423">
              <a:extLst>
                <a:ext uri="{FF2B5EF4-FFF2-40B4-BE49-F238E27FC236}">
                  <a16:creationId xmlns:a16="http://schemas.microsoft.com/office/drawing/2014/main" id="{853B4BE7-369A-E479-6618-541005DD56C6}"/>
                </a:ext>
              </a:extLst>
            </p:cNvPr>
            <p:cNvSpPr/>
            <p:nvPr/>
          </p:nvSpPr>
          <p:spPr>
            <a:xfrm>
              <a:off x="25725641" y="30550624"/>
              <a:ext cx="33083" cy="25133"/>
            </a:xfrm>
            <a:custGeom>
              <a:avLst/>
              <a:gdLst/>
              <a:ahLst/>
              <a:cxnLst/>
              <a:rect l="0" t="0" r="0" b="0"/>
              <a:pathLst>
                <a:path w="33083" h="25133">
                  <a:moveTo>
                    <a:pt x="31914" y="18719"/>
                  </a:moveTo>
                  <a:cubicBezTo>
                    <a:pt x="26301" y="11010"/>
                    <a:pt x="18732" y="4927"/>
                    <a:pt x="9994" y="1092"/>
                  </a:cubicBezTo>
                  <a:cubicBezTo>
                    <a:pt x="8585" y="342"/>
                    <a:pt x="6997" y="0"/>
                    <a:pt x="5397" y="63"/>
                  </a:cubicBezTo>
                  <a:cubicBezTo>
                    <a:pt x="2209" y="812"/>
                    <a:pt x="0" y="3695"/>
                    <a:pt x="114" y="6972"/>
                  </a:cubicBezTo>
                  <a:cubicBezTo>
                    <a:pt x="228" y="10578"/>
                    <a:pt x="1841" y="13969"/>
                    <a:pt x="4571" y="16332"/>
                  </a:cubicBezTo>
                  <a:cubicBezTo>
                    <a:pt x="7302" y="18630"/>
                    <a:pt x="10439" y="20383"/>
                    <a:pt x="13830" y="21475"/>
                  </a:cubicBezTo>
                  <a:cubicBezTo>
                    <a:pt x="20014" y="23697"/>
                    <a:pt x="26504" y="24929"/>
                    <a:pt x="33083" y="2513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8" name="Free Form 3424">
              <a:extLst>
                <a:ext uri="{FF2B5EF4-FFF2-40B4-BE49-F238E27FC236}">
                  <a16:creationId xmlns:a16="http://schemas.microsoft.com/office/drawing/2014/main" id="{363C762C-7A46-90AC-481F-27AC0BF276EE}"/>
                </a:ext>
              </a:extLst>
            </p:cNvPr>
            <p:cNvSpPr/>
            <p:nvPr/>
          </p:nvSpPr>
          <p:spPr>
            <a:xfrm>
              <a:off x="25722568" y="30509315"/>
              <a:ext cx="30848" cy="30810"/>
            </a:xfrm>
            <a:custGeom>
              <a:avLst/>
              <a:gdLst/>
              <a:ahLst/>
              <a:cxnLst/>
              <a:rect l="0" t="0" r="0" b="0"/>
              <a:pathLst>
                <a:path w="30847" h="30809">
                  <a:moveTo>
                    <a:pt x="30644" y="25704"/>
                  </a:moveTo>
                  <a:cubicBezTo>
                    <a:pt x="25907" y="15709"/>
                    <a:pt x="17729" y="8674"/>
                    <a:pt x="8750" y="2285"/>
                  </a:cubicBezTo>
                  <a:cubicBezTo>
                    <a:pt x="7048" y="622"/>
                    <a:pt x="4597" y="0"/>
                    <a:pt x="2311" y="634"/>
                  </a:cubicBezTo>
                  <a:cubicBezTo>
                    <a:pt x="990" y="1384"/>
                    <a:pt x="152" y="2755"/>
                    <a:pt x="63" y="4267"/>
                  </a:cubicBezTo>
                  <a:cubicBezTo>
                    <a:pt x="0" y="5753"/>
                    <a:pt x="253" y="7238"/>
                    <a:pt x="812" y="8610"/>
                  </a:cubicBezTo>
                  <a:cubicBezTo>
                    <a:pt x="5448" y="21373"/>
                    <a:pt x="17284" y="30111"/>
                    <a:pt x="30847" y="3080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49" name="Free Form 3425">
              <a:extLst>
                <a:ext uri="{FF2B5EF4-FFF2-40B4-BE49-F238E27FC236}">
                  <a16:creationId xmlns:a16="http://schemas.microsoft.com/office/drawing/2014/main" id="{BA9FD51B-0F07-2241-8DED-6A35E96EAE2D}"/>
                </a:ext>
              </a:extLst>
            </p:cNvPr>
            <p:cNvSpPr/>
            <p:nvPr/>
          </p:nvSpPr>
          <p:spPr>
            <a:xfrm>
              <a:off x="25745057" y="30476417"/>
              <a:ext cx="17525" cy="40716"/>
            </a:xfrm>
            <a:custGeom>
              <a:avLst/>
              <a:gdLst/>
              <a:ahLst/>
              <a:cxnLst/>
              <a:rect l="0" t="0" r="0" b="0"/>
              <a:pathLst>
                <a:path w="17525" h="40715">
                  <a:moveTo>
                    <a:pt x="7048" y="40715"/>
                  </a:moveTo>
                  <a:cubicBezTo>
                    <a:pt x="4648" y="35585"/>
                    <a:pt x="2743" y="30225"/>
                    <a:pt x="1371" y="24726"/>
                  </a:cubicBezTo>
                  <a:cubicBezTo>
                    <a:pt x="0" y="19214"/>
                    <a:pt x="203" y="13423"/>
                    <a:pt x="1968" y="8013"/>
                  </a:cubicBezTo>
                  <a:cubicBezTo>
                    <a:pt x="2730" y="5676"/>
                    <a:pt x="4127" y="3606"/>
                    <a:pt x="5994" y="2019"/>
                  </a:cubicBezTo>
                  <a:cubicBezTo>
                    <a:pt x="7912" y="457"/>
                    <a:pt x="10502" y="0"/>
                    <a:pt x="12839" y="825"/>
                  </a:cubicBezTo>
                  <a:cubicBezTo>
                    <a:pt x="14909" y="1803"/>
                    <a:pt x="16420" y="3670"/>
                    <a:pt x="16928" y="5905"/>
                  </a:cubicBezTo>
                  <a:cubicBezTo>
                    <a:pt x="17411" y="8102"/>
                    <a:pt x="17525" y="10375"/>
                    <a:pt x="17233" y="12610"/>
                  </a:cubicBezTo>
                  <a:cubicBezTo>
                    <a:pt x="16281" y="23342"/>
                    <a:pt x="13042" y="35889"/>
                    <a:pt x="7023" y="4071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0" name="Free Form 3426">
              <a:extLst>
                <a:ext uri="{FF2B5EF4-FFF2-40B4-BE49-F238E27FC236}">
                  <a16:creationId xmlns:a16="http://schemas.microsoft.com/office/drawing/2014/main" id="{110BED33-A4A3-F811-F2F3-D4863CF05306}"/>
                </a:ext>
              </a:extLst>
            </p:cNvPr>
            <p:cNvSpPr/>
            <p:nvPr/>
          </p:nvSpPr>
          <p:spPr>
            <a:xfrm>
              <a:off x="25866712" y="30484115"/>
              <a:ext cx="39586" cy="185506"/>
            </a:xfrm>
            <a:custGeom>
              <a:avLst/>
              <a:gdLst/>
              <a:ahLst/>
              <a:cxnLst/>
              <a:rect l="0" t="0" r="0" b="0"/>
              <a:pathLst>
                <a:path w="39585" h="185506">
                  <a:moveTo>
                    <a:pt x="39013" y="0"/>
                  </a:moveTo>
                  <a:cubicBezTo>
                    <a:pt x="39140" y="634"/>
                    <a:pt x="39204" y="1282"/>
                    <a:pt x="39179" y="1930"/>
                  </a:cubicBezTo>
                  <a:cubicBezTo>
                    <a:pt x="39179" y="3352"/>
                    <a:pt x="39179" y="5194"/>
                    <a:pt x="39382" y="7607"/>
                  </a:cubicBezTo>
                  <a:cubicBezTo>
                    <a:pt x="39585" y="10020"/>
                    <a:pt x="39547" y="13004"/>
                    <a:pt x="39382" y="16433"/>
                  </a:cubicBezTo>
                  <a:cubicBezTo>
                    <a:pt x="39217" y="19875"/>
                    <a:pt x="39382" y="23786"/>
                    <a:pt x="39153" y="28130"/>
                  </a:cubicBezTo>
                  <a:cubicBezTo>
                    <a:pt x="38925" y="36651"/>
                    <a:pt x="38188" y="47065"/>
                    <a:pt x="36943" y="58457"/>
                  </a:cubicBezTo>
                  <a:cubicBezTo>
                    <a:pt x="35686" y="69836"/>
                    <a:pt x="33705" y="82282"/>
                    <a:pt x="31038" y="95223"/>
                  </a:cubicBezTo>
                  <a:cubicBezTo>
                    <a:pt x="28371" y="108164"/>
                    <a:pt x="25018" y="120343"/>
                    <a:pt x="21665" y="131303"/>
                  </a:cubicBezTo>
                  <a:cubicBezTo>
                    <a:pt x="18313" y="142263"/>
                    <a:pt x="14769" y="151941"/>
                    <a:pt x="11506" y="159954"/>
                  </a:cubicBezTo>
                  <a:cubicBezTo>
                    <a:pt x="9969" y="164006"/>
                    <a:pt x="8356" y="167587"/>
                    <a:pt x="7023" y="170736"/>
                  </a:cubicBezTo>
                  <a:cubicBezTo>
                    <a:pt x="5676" y="173886"/>
                    <a:pt x="4432" y="176591"/>
                    <a:pt x="3378" y="178775"/>
                  </a:cubicBezTo>
                  <a:cubicBezTo>
                    <a:pt x="2336" y="180960"/>
                    <a:pt x="1562" y="182522"/>
                    <a:pt x="939" y="183805"/>
                  </a:cubicBezTo>
                  <a:cubicBezTo>
                    <a:pt x="698" y="184402"/>
                    <a:pt x="380" y="184973"/>
                    <a:pt x="0" y="185506"/>
                  </a:cubicBezTo>
                  <a:cubicBezTo>
                    <a:pt x="177" y="184884"/>
                    <a:pt x="406" y="184275"/>
                    <a:pt x="685" y="183690"/>
                  </a:cubicBezTo>
                  <a:lnTo>
                    <a:pt x="2870" y="178547"/>
                  </a:lnTo>
                  <a:cubicBezTo>
                    <a:pt x="3835" y="176337"/>
                    <a:pt x="5003" y="173632"/>
                    <a:pt x="6273" y="170432"/>
                  </a:cubicBezTo>
                  <a:cubicBezTo>
                    <a:pt x="7556" y="167219"/>
                    <a:pt x="9118" y="163675"/>
                    <a:pt x="10566" y="159611"/>
                  </a:cubicBezTo>
                  <a:cubicBezTo>
                    <a:pt x="13690" y="151547"/>
                    <a:pt x="17043" y="141806"/>
                    <a:pt x="20421" y="130910"/>
                  </a:cubicBezTo>
                  <a:cubicBezTo>
                    <a:pt x="23799" y="120001"/>
                    <a:pt x="26885" y="107821"/>
                    <a:pt x="29616" y="94931"/>
                  </a:cubicBezTo>
                  <a:cubicBezTo>
                    <a:pt x="32346" y="82053"/>
                    <a:pt x="34213" y="69646"/>
                    <a:pt x="35635" y="58317"/>
                  </a:cubicBezTo>
                  <a:cubicBezTo>
                    <a:pt x="37058" y="46989"/>
                    <a:pt x="37794" y="36715"/>
                    <a:pt x="38163" y="28079"/>
                  </a:cubicBezTo>
                  <a:cubicBezTo>
                    <a:pt x="38442" y="23761"/>
                    <a:pt x="38480" y="19875"/>
                    <a:pt x="38582" y="16433"/>
                  </a:cubicBezTo>
                  <a:cubicBezTo>
                    <a:pt x="38696" y="13004"/>
                    <a:pt x="38734" y="10045"/>
                    <a:pt x="38582" y="7632"/>
                  </a:cubicBezTo>
                  <a:cubicBezTo>
                    <a:pt x="38442" y="5219"/>
                    <a:pt x="38582" y="3467"/>
                    <a:pt x="38582" y="1955"/>
                  </a:cubicBezTo>
                  <a:cubicBezTo>
                    <a:pt x="38658" y="1295"/>
                    <a:pt x="38798" y="634"/>
                    <a:pt x="39013" y="0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1" name="Free Form 3427">
              <a:extLst>
                <a:ext uri="{FF2B5EF4-FFF2-40B4-BE49-F238E27FC236}">
                  <a16:creationId xmlns:a16="http://schemas.microsoft.com/office/drawing/2014/main" id="{6ABE82DA-86E9-BB40-7D12-C767421C976D}"/>
                </a:ext>
              </a:extLst>
            </p:cNvPr>
            <p:cNvSpPr/>
            <p:nvPr/>
          </p:nvSpPr>
          <p:spPr>
            <a:xfrm>
              <a:off x="25882977" y="30523188"/>
              <a:ext cx="19342" cy="31674"/>
            </a:xfrm>
            <a:custGeom>
              <a:avLst/>
              <a:gdLst/>
              <a:ahLst/>
              <a:cxnLst/>
              <a:rect l="0" t="0" r="0" b="0"/>
              <a:pathLst>
                <a:path w="19341" h="31673">
                  <a:moveTo>
                    <a:pt x="19341" y="23812"/>
                  </a:moveTo>
                  <a:cubicBezTo>
                    <a:pt x="19189" y="16332"/>
                    <a:pt x="16459" y="9118"/>
                    <a:pt x="11594" y="3428"/>
                  </a:cubicBezTo>
                  <a:cubicBezTo>
                    <a:pt x="10147" y="1282"/>
                    <a:pt x="7734" y="0"/>
                    <a:pt x="5143" y="25"/>
                  </a:cubicBezTo>
                  <a:cubicBezTo>
                    <a:pt x="1828" y="507"/>
                    <a:pt x="292" y="4508"/>
                    <a:pt x="177" y="7886"/>
                  </a:cubicBezTo>
                  <a:cubicBezTo>
                    <a:pt x="0" y="13614"/>
                    <a:pt x="1892" y="19227"/>
                    <a:pt x="5511" y="23672"/>
                  </a:cubicBezTo>
                  <a:cubicBezTo>
                    <a:pt x="8635" y="27939"/>
                    <a:pt x="13296" y="30822"/>
                    <a:pt x="18516" y="3167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2" name="Free Form 3428">
              <a:extLst>
                <a:ext uri="{FF2B5EF4-FFF2-40B4-BE49-F238E27FC236}">
                  <a16:creationId xmlns:a16="http://schemas.microsoft.com/office/drawing/2014/main" id="{CAFD613C-4AF9-BACC-8E58-ACD09F5AF960}"/>
                </a:ext>
              </a:extLst>
            </p:cNvPr>
            <p:cNvSpPr/>
            <p:nvPr/>
          </p:nvSpPr>
          <p:spPr>
            <a:xfrm>
              <a:off x="25877044" y="30554606"/>
              <a:ext cx="18313" cy="37706"/>
            </a:xfrm>
            <a:custGeom>
              <a:avLst/>
              <a:gdLst/>
              <a:ahLst/>
              <a:cxnLst/>
              <a:rect l="0" t="0" r="0" b="0"/>
              <a:pathLst>
                <a:path w="18313" h="37705">
                  <a:moveTo>
                    <a:pt x="17894" y="33248"/>
                  </a:moveTo>
                  <a:cubicBezTo>
                    <a:pt x="18313" y="24472"/>
                    <a:pt x="15506" y="10909"/>
                    <a:pt x="10375" y="3771"/>
                  </a:cubicBezTo>
                  <a:cubicBezTo>
                    <a:pt x="9626" y="2654"/>
                    <a:pt x="8661" y="1689"/>
                    <a:pt x="7531" y="939"/>
                  </a:cubicBezTo>
                  <a:cubicBezTo>
                    <a:pt x="6362" y="152"/>
                    <a:pt x="4864" y="0"/>
                    <a:pt x="3555" y="546"/>
                  </a:cubicBezTo>
                  <a:cubicBezTo>
                    <a:pt x="1892" y="1714"/>
                    <a:pt x="939" y="3644"/>
                    <a:pt x="1003" y="5676"/>
                  </a:cubicBezTo>
                  <a:cubicBezTo>
                    <a:pt x="0" y="18618"/>
                    <a:pt x="6400" y="31025"/>
                    <a:pt x="17525" y="3770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3" name="Free Form 3429">
              <a:extLst>
                <a:ext uri="{FF2B5EF4-FFF2-40B4-BE49-F238E27FC236}">
                  <a16:creationId xmlns:a16="http://schemas.microsoft.com/office/drawing/2014/main" id="{F696DB86-7577-46C6-DEFD-7E94331E7239}"/>
                </a:ext>
              </a:extLst>
            </p:cNvPr>
            <p:cNvSpPr/>
            <p:nvPr/>
          </p:nvSpPr>
          <p:spPr>
            <a:xfrm>
              <a:off x="25863682" y="30594528"/>
              <a:ext cx="21717" cy="36055"/>
            </a:xfrm>
            <a:custGeom>
              <a:avLst/>
              <a:gdLst/>
              <a:ahLst/>
              <a:cxnLst/>
              <a:rect l="0" t="0" r="0" b="0"/>
              <a:pathLst>
                <a:path w="21716" h="36054">
                  <a:moveTo>
                    <a:pt x="21716" y="28358"/>
                  </a:moveTo>
                  <a:cubicBezTo>
                    <a:pt x="20840" y="19557"/>
                    <a:pt x="17614" y="11150"/>
                    <a:pt x="12407" y="4000"/>
                  </a:cubicBezTo>
                  <a:cubicBezTo>
                    <a:pt x="11366" y="2209"/>
                    <a:pt x="9639" y="901"/>
                    <a:pt x="7632" y="393"/>
                  </a:cubicBezTo>
                  <a:cubicBezTo>
                    <a:pt x="4533" y="0"/>
                    <a:pt x="1955" y="3238"/>
                    <a:pt x="1384" y="6210"/>
                  </a:cubicBezTo>
                  <a:cubicBezTo>
                    <a:pt x="0" y="12483"/>
                    <a:pt x="3086" y="18871"/>
                    <a:pt x="6730" y="24180"/>
                  </a:cubicBezTo>
                  <a:cubicBezTo>
                    <a:pt x="10185" y="28650"/>
                    <a:pt x="14211" y="32638"/>
                    <a:pt x="18706" y="36054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4" name="Free Form 3430">
              <a:extLst>
                <a:ext uri="{FF2B5EF4-FFF2-40B4-BE49-F238E27FC236}">
                  <a16:creationId xmlns:a16="http://schemas.microsoft.com/office/drawing/2014/main" id="{8401703C-A981-C65B-DAA5-138BA00228CD}"/>
                </a:ext>
              </a:extLst>
            </p:cNvPr>
            <p:cNvSpPr/>
            <p:nvPr/>
          </p:nvSpPr>
          <p:spPr>
            <a:xfrm>
              <a:off x="25858593" y="30624602"/>
              <a:ext cx="18174" cy="27533"/>
            </a:xfrm>
            <a:custGeom>
              <a:avLst/>
              <a:gdLst/>
              <a:ahLst/>
              <a:cxnLst/>
              <a:rect l="0" t="0" r="0" b="0"/>
              <a:pathLst>
                <a:path w="18173" h="27533">
                  <a:moveTo>
                    <a:pt x="18173" y="22872"/>
                  </a:moveTo>
                  <a:cubicBezTo>
                    <a:pt x="16789" y="15938"/>
                    <a:pt x="13880" y="9410"/>
                    <a:pt x="9651" y="3733"/>
                  </a:cubicBezTo>
                  <a:cubicBezTo>
                    <a:pt x="8762" y="2489"/>
                    <a:pt x="7594" y="1460"/>
                    <a:pt x="6248" y="723"/>
                  </a:cubicBezTo>
                  <a:cubicBezTo>
                    <a:pt x="4876" y="0"/>
                    <a:pt x="3225" y="88"/>
                    <a:pt x="1930" y="952"/>
                  </a:cubicBezTo>
                  <a:cubicBezTo>
                    <a:pt x="0" y="2489"/>
                    <a:pt x="431" y="5499"/>
                    <a:pt x="1257" y="7823"/>
                  </a:cubicBezTo>
                  <a:cubicBezTo>
                    <a:pt x="3848" y="15747"/>
                    <a:pt x="8889" y="22656"/>
                    <a:pt x="15646" y="27533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5" name="Free Form 3431">
              <a:extLst>
                <a:ext uri="{FF2B5EF4-FFF2-40B4-BE49-F238E27FC236}">
                  <a16:creationId xmlns:a16="http://schemas.microsoft.com/office/drawing/2014/main" id="{F592C005-2407-EF1A-00A0-3E1F4F8EE434}"/>
                </a:ext>
              </a:extLst>
            </p:cNvPr>
            <p:cNvSpPr/>
            <p:nvPr/>
          </p:nvSpPr>
          <p:spPr>
            <a:xfrm>
              <a:off x="25878241" y="30623509"/>
              <a:ext cx="32715" cy="19901"/>
            </a:xfrm>
            <a:custGeom>
              <a:avLst/>
              <a:gdLst/>
              <a:ahLst/>
              <a:cxnLst/>
              <a:rect l="0" t="0" r="0" b="0"/>
              <a:pathLst>
                <a:path w="32714" h="19900">
                  <a:moveTo>
                    <a:pt x="2387" y="14084"/>
                  </a:moveTo>
                  <a:cubicBezTo>
                    <a:pt x="10248" y="8915"/>
                    <a:pt x="18579" y="4483"/>
                    <a:pt x="27253" y="850"/>
                  </a:cubicBezTo>
                  <a:cubicBezTo>
                    <a:pt x="28523" y="76"/>
                    <a:pt x="30085" y="0"/>
                    <a:pt x="31432" y="622"/>
                  </a:cubicBezTo>
                  <a:cubicBezTo>
                    <a:pt x="32346" y="1358"/>
                    <a:pt x="32714" y="2578"/>
                    <a:pt x="32371" y="3695"/>
                  </a:cubicBezTo>
                  <a:cubicBezTo>
                    <a:pt x="32029" y="4762"/>
                    <a:pt x="31444" y="5727"/>
                    <a:pt x="30670" y="6527"/>
                  </a:cubicBezTo>
                  <a:cubicBezTo>
                    <a:pt x="22910" y="15214"/>
                    <a:pt x="11620" y="19900"/>
                    <a:pt x="0" y="19252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6" name="Free Form 3432">
              <a:extLst>
                <a:ext uri="{FF2B5EF4-FFF2-40B4-BE49-F238E27FC236}">
                  <a16:creationId xmlns:a16="http://schemas.microsoft.com/office/drawing/2014/main" id="{D99E996B-8356-9042-1E42-9B0D3348C34A}"/>
                </a:ext>
              </a:extLst>
            </p:cNvPr>
            <p:cNvSpPr/>
            <p:nvPr/>
          </p:nvSpPr>
          <p:spPr>
            <a:xfrm>
              <a:off x="25889313" y="30588091"/>
              <a:ext cx="35204" cy="24460"/>
            </a:xfrm>
            <a:custGeom>
              <a:avLst/>
              <a:gdLst/>
              <a:ahLst/>
              <a:cxnLst/>
              <a:rect l="0" t="0" r="0" b="0"/>
              <a:pathLst>
                <a:path w="35204" h="24459">
                  <a:moveTo>
                    <a:pt x="939" y="16967"/>
                  </a:moveTo>
                  <a:lnTo>
                    <a:pt x="21411" y="3619"/>
                  </a:lnTo>
                  <a:cubicBezTo>
                    <a:pt x="23278" y="2235"/>
                    <a:pt x="25387" y="1206"/>
                    <a:pt x="27622" y="584"/>
                  </a:cubicBezTo>
                  <a:cubicBezTo>
                    <a:pt x="29933" y="0"/>
                    <a:pt x="32371" y="749"/>
                    <a:pt x="33959" y="2514"/>
                  </a:cubicBezTo>
                  <a:cubicBezTo>
                    <a:pt x="35204" y="4533"/>
                    <a:pt x="35204" y="7086"/>
                    <a:pt x="33959" y="9105"/>
                  </a:cubicBezTo>
                  <a:cubicBezTo>
                    <a:pt x="32740" y="11086"/>
                    <a:pt x="31127" y="12788"/>
                    <a:pt x="29222" y="14096"/>
                  </a:cubicBezTo>
                  <a:cubicBezTo>
                    <a:pt x="24942" y="17627"/>
                    <a:pt x="20065" y="20345"/>
                    <a:pt x="14820" y="22135"/>
                  </a:cubicBezTo>
                  <a:cubicBezTo>
                    <a:pt x="9537" y="23748"/>
                    <a:pt x="4978" y="24459"/>
                    <a:pt x="0" y="2213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7" name="Free Form 3433">
              <a:extLst>
                <a:ext uri="{FF2B5EF4-FFF2-40B4-BE49-F238E27FC236}">
                  <a16:creationId xmlns:a16="http://schemas.microsoft.com/office/drawing/2014/main" id="{E7E1F86D-E56D-1A66-824F-2B5A88ECBDD0}"/>
                </a:ext>
              </a:extLst>
            </p:cNvPr>
            <p:cNvSpPr/>
            <p:nvPr/>
          </p:nvSpPr>
          <p:spPr>
            <a:xfrm>
              <a:off x="25898538" y="30549286"/>
              <a:ext cx="33185" cy="25197"/>
            </a:xfrm>
            <a:custGeom>
              <a:avLst/>
              <a:gdLst/>
              <a:ahLst/>
              <a:cxnLst/>
              <a:rect l="0" t="0" r="0" b="0"/>
              <a:pathLst>
                <a:path w="33184" h="25196">
                  <a:moveTo>
                    <a:pt x="1168" y="18694"/>
                  </a:moveTo>
                  <a:cubicBezTo>
                    <a:pt x="6819" y="10972"/>
                    <a:pt x="14427" y="4902"/>
                    <a:pt x="23202" y="1092"/>
                  </a:cubicBezTo>
                  <a:cubicBezTo>
                    <a:pt x="24612" y="355"/>
                    <a:pt x="26199" y="0"/>
                    <a:pt x="27800" y="76"/>
                  </a:cubicBezTo>
                  <a:cubicBezTo>
                    <a:pt x="30987" y="800"/>
                    <a:pt x="33184" y="3708"/>
                    <a:pt x="33045" y="6972"/>
                  </a:cubicBezTo>
                  <a:cubicBezTo>
                    <a:pt x="32968" y="10566"/>
                    <a:pt x="31355" y="13969"/>
                    <a:pt x="28625" y="16306"/>
                  </a:cubicBezTo>
                  <a:cubicBezTo>
                    <a:pt x="25869" y="18656"/>
                    <a:pt x="22669" y="20434"/>
                    <a:pt x="19227" y="21538"/>
                  </a:cubicBezTo>
                  <a:cubicBezTo>
                    <a:pt x="13055" y="23748"/>
                    <a:pt x="6565" y="24993"/>
                    <a:pt x="0" y="25196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8" name="Free Form 3434">
              <a:extLst>
                <a:ext uri="{FF2B5EF4-FFF2-40B4-BE49-F238E27FC236}">
                  <a16:creationId xmlns:a16="http://schemas.microsoft.com/office/drawing/2014/main" id="{4844DD40-C4C0-90E6-BE4F-B8FDEC91CB36}"/>
                </a:ext>
              </a:extLst>
            </p:cNvPr>
            <p:cNvSpPr/>
            <p:nvPr/>
          </p:nvSpPr>
          <p:spPr>
            <a:xfrm>
              <a:off x="25903823" y="30507980"/>
              <a:ext cx="30873" cy="30810"/>
            </a:xfrm>
            <a:custGeom>
              <a:avLst/>
              <a:gdLst/>
              <a:ahLst/>
              <a:cxnLst/>
              <a:rect l="0" t="0" r="0" b="0"/>
              <a:pathLst>
                <a:path w="30873" h="30809">
                  <a:moveTo>
                    <a:pt x="228" y="25704"/>
                  </a:moveTo>
                  <a:cubicBezTo>
                    <a:pt x="4965" y="15709"/>
                    <a:pt x="13144" y="8674"/>
                    <a:pt x="22123" y="2285"/>
                  </a:cubicBezTo>
                  <a:cubicBezTo>
                    <a:pt x="23824" y="622"/>
                    <a:pt x="26276" y="0"/>
                    <a:pt x="28561" y="634"/>
                  </a:cubicBezTo>
                  <a:cubicBezTo>
                    <a:pt x="29882" y="1384"/>
                    <a:pt x="30720" y="2755"/>
                    <a:pt x="30809" y="4267"/>
                  </a:cubicBezTo>
                  <a:cubicBezTo>
                    <a:pt x="30873" y="5753"/>
                    <a:pt x="30619" y="7238"/>
                    <a:pt x="30060" y="8610"/>
                  </a:cubicBezTo>
                  <a:cubicBezTo>
                    <a:pt x="25412" y="21386"/>
                    <a:pt x="13576" y="30124"/>
                    <a:pt x="0" y="30809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59" name="Free Form 3435">
              <a:extLst>
                <a:ext uri="{FF2B5EF4-FFF2-40B4-BE49-F238E27FC236}">
                  <a16:creationId xmlns:a16="http://schemas.microsoft.com/office/drawing/2014/main" id="{EBFB4E03-47D4-B996-88CB-CE5412471C60}"/>
                </a:ext>
              </a:extLst>
            </p:cNvPr>
            <p:cNvSpPr/>
            <p:nvPr/>
          </p:nvSpPr>
          <p:spPr>
            <a:xfrm>
              <a:off x="25894669" y="30475082"/>
              <a:ext cx="17538" cy="40716"/>
            </a:xfrm>
            <a:custGeom>
              <a:avLst/>
              <a:gdLst/>
              <a:ahLst/>
              <a:cxnLst/>
              <a:rect l="0" t="0" r="0" b="0"/>
              <a:pathLst>
                <a:path w="17538" h="40715">
                  <a:moveTo>
                    <a:pt x="10490" y="40715"/>
                  </a:moveTo>
                  <a:cubicBezTo>
                    <a:pt x="12877" y="35572"/>
                    <a:pt x="14769" y="30225"/>
                    <a:pt x="16166" y="24726"/>
                  </a:cubicBezTo>
                  <a:cubicBezTo>
                    <a:pt x="17538" y="19214"/>
                    <a:pt x="17322" y="13411"/>
                    <a:pt x="15544" y="8013"/>
                  </a:cubicBezTo>
                  <a:cubicBezTo>
                    <a:pt x="14808" y="5676"/>
                    <a:pt x="13423" y="3594"/>
                    <a:pt x="11544" y="2019"/>
                  </a:cubicBezTo>
                  <a:cubicBezTo>
                    <a:pt x="9613" y="444"/>
                    <a:pt x="7010" y="0"/>
                    <a:pt x="4673" y="825"/>
                  </a:cubicBezTo>
                  <a:cubicBezTo>
                    <a:pt x="2616" y="1816"/>
                    <a:pt x="1117" y="3682"/>
                    <a:pt x="609" y="5905"/>
                  </a:cubicBezTo>
                  <a:cubicBezTo>
                    <a:pt x="101" y="8102"/>
                    <a:pt x="0" y="10375"/>
                    <a:pt x="292" y="12610"/>
                  </a:cubicBezTo>
                  <a:cubicBezTo>
                    <a:pt x="1231" y="23342"/>
                    <a:pt x="4495" y="35889"/>
                    <a:pt x="10515" y="4071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0" name="Free Form 3436">
              <a:extLst>
                <a:ext uri="{FF2B5EF4-FFF2-40B4-BE49-F238E27FC236}">
                  <a16:creationId xmlns:a16="http://schemas.microsoft.com/office/drawing/2014/main" id="{AB0DC2F4-E269-5AD8-A4D3-5E3EBC1D8EDD}"/>
                </a:ext>
              </a:extLst>
            </p:cNvPr>
            <p:cNvSpPr/>
            <p:nvPr/>
          </p:nvSpPr>
          <p:spPr>
            <a:xfrm>
              <a:off x="25725475" y="30669505"/>
              <a:ext cx="196911" cy="35966"/>
            </a:xfrm>
            <a:custGeom>
              <a:avLst/>
              <a:gdLst/>
              <a:ahLst/>
              <a:cxnLst/>
              <a:rect l="0" t="0" r="0" b="0"/>
              <a:pathLst>
                <a:path w="196911" h="35966">
                  <a:moveTo>
                    <a:pt x="0" y="0"/>
                  </a:moveTo>
                  <a:lnTo>
                    <a:pt x="0" y="25806"/>
                  </a:lnTo>
                  <a:cubicBezTo>
                    <a:pt x="0" y="31419"/>
                    <a:pt x="4546" y="35966"/>
                    <a:pt x="10159" y="35966"/>
                  </a:cubicBezTo>
                  <a:lnTo>
                    <a:pt x="186751" y="35966"/>
                  </a:lnTo>
                  <a:cubicBezTo>
                    <a:pt x="192364" y="35966"/>
                    <a:pt x="196911" y="31419"/>
                    <a:pt x="196911" y="25806"/>
                  </a:cubicBezTo>
                  <a:lnTo>
                    <a:pt x="196911" y="0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1" name="Free Form 3437">
              <a:extLst>
                <a:ext uri="{FF2B5EF4-FFF2-40B4-BE49-F238E27FC236}">
                  <a16:creationId xmlns:a16="http://schemas.microsoft.com/office/drawing/2014/main" id="{1D78848E-F6FA-6D0D-6FE7-5A01E0712A40}"/>
                </a:ext>
              </a:extLst>
            </p:cNvPr>
            <p:cNvSpPr/>
            <p:nvPr/>
          </p:nvSpPr>
          <p:spPr>
            <a:xfrm>
              <a:off x="25740777" y="30705476"/>
              <a:ext cx="168552" cy="19850"/>
            </a:xfrm>
            <a:custGeom>
              <a:avLst/>
              <a:gdLst/>
              <a:ahLst/>
              <a:cxnLst/>
              <a:rect l="0" t="0" r="0" b="0"/>
              <a:pathLst>
                <a:path w="168552" h="19849">
                  <a:moveTo>
                    <a:pt x="0" y="0"/>
                  </a:moveTo>
                  <a:lnTo>
                    <a:pt x="1473" y="8204"/>
                  </a:lnTo>
                  <a:lnTo>
                    <a:pt x="164412" y="19849"/>
                  </a:lnTo>
                  <a:lnTo>
                    <a:pt x="168552" y="0"/>
                  </a:lnTo>
                  <a:close/>
                </a:path>
              </a:pathLst>
            </a:custGeom>
            <a:solidFill>
              <a:srgbClr val="090C0A">
                <a:alpha val="39999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2" name="Free Form 3438">
              <a:extLst>
                <a:ext uri="{FF2B5EF4-FFF2-40B4-BE49-F238E27FC236}">
                  <a16:creationId xmlns:a16="http://schemas.microsoft.com/office/drawing/2014/main" id="{DAE17EB6-620D-4581-EBC8-4E5DF0A8CF49}"/>
                </a:ext>
              </a:extLst>
            </p:cNvPr>
            <p:cNvSpPr/>
            <p:nvPr/>
          </p:nvSpPr>
          <p:spPr>
            <a:xfrm>
              <a:off x="26258737" y="29687772"/>
              <a:ext cx="238173" cy="230718"/>
            </a:xfrm>
            <a:custGeom>
              <a:avLst/>
              <a:gdLst/>
              <a:ahLst/>
              <a:cxnLst/>
              <a:rect l="0" t="0" r="0" b="0"/>
              <a:pathLst>
                <a:path w="238173" h="230718">
                  <a:moveTo>
                    <a:pt x="8204" y="212773"/>
                  </a:moveTo>
                  <a:lnTo>
                    <a:pt x="30263" y="173873"/>
                  </a:lnTo>
                  <a:cubicBezTo>
                    <a:pt x="0" y="124826"/>
                    <a:pt x="15227" y="60527"/>
                    <a:pt x="64286" y="30263"/>
                  </a:cubicBezTo>
                  <a:cubicBezTo>
                    <a:pt x="113346" y="0"/>
                    <a:pt x="177645" y="15227"/>
                    <a:pt x="207909" y="64286"/>
                  </a:cubicBezTo>
                  <a:cubicBezTo>
                    <a:pt x="238173" y="113333"/>
                    <a:pt x="222933" y="177633"/>
                    <a:pt x="173886" y="207896"/>
                  </a:cubicBezTo>
                  <a:cubicBezTo>
                    <a:pt x="136891" y="230718"/>
                    <a:pt x="89635" y="228229"/>
                    <a:pt x="55244" y="20164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3" name="Free Form 3439">
              <a:extLst>
                <a:ext uri="{FF2B5EF4-FFF2-40B4-BE49-F238E27FC236}">
                  <a16:creationId xmlns:a16="http://schemas.microsoft.com/office/drawing/2014/main" id="{418F8157-9553-4665-3936-D0DE1106708A}"/>
                </a:ext>
              </a:extLst>
            </p:cNvPr>
            <p:cNvSpPr/>
            <p:nvPr/>
          </p:nvSpPr>
          <p:spPr>
            <a:xfrm>
              <a:off x="26266852" y="29701691"/>
              <a:ext cx="216279" cy="210234"/>
            </a:xfrm>
            <a:custGeom>
              <a:avLst/>
              <a:gdLst/>
              <a:ahLst/>
              <a:cxnLst/>
              <a:rect l="0" t="0" r="0" b="0"/>
              <a:pathLst>
                <a:path w="216278" h="210233">
                  <a:moveTo>
                    <a:pt x="88" y="198854"/>
                  </a:moveTo>
                  <a:lnTo>
                    <a:pt x="47243" y="188097"/>
                  </a:lnTo>
                  <a:lnTo>
                    <a:pt x="47726" y="188097"/>
                  </a:lnTo>
                  <a:lnTo>
                    <a:pt x="47421" y="187691"/>
                  </a:lnTo>
                  <a:lnTo>
                    <a:pt x="46964" y="188123"/>
                  </a:lnTo>
                  <a:cubicBezTo>
                    <a:pt x="53555" y="193253"/>
                    <a:pt x="60743" y="197597"/>
                    <a:pt x="68363" y="201038"/>
                  </a:cubicBezTo>
                  <a:cubicBezTo>
                    <a:pt x="77392" y="205090"/>
                    <a:pt x="86955" y="207833"/>
                    <a:pt x="96760" y="209192"/>
                  </a:cubicBezTo>
                  <a:cubicBezTo>
                    <a:pt x="102208" y="209954"/>
                    <a:pt x="107720" y="210233"/>
                    <a:pt x="113219" y="210017"/>
                  </a:cubicBezTo>
                  <a:cubicBezTo>
                    <a:pt x="116064" y="210017"/>
                    <a:pt x="118896" y="209789"/>
                    <a:pt x="121740" y="209560"/>
                  </a:cubicBezTo>
                  <a:lnTo>
                    <a:pt x="130541" y="208226"/>
                  </a:lnTo>
                  <a:cubicBezTo>
                    <a:pt x="156741" y="203070"/>
                    <a:pt x="180007" y="188135"/>
                    <a:pt x="195590" y="166457"/>
                  </a:cubicBezTo>
                  <a:cubicBezTo>
                    <a:pt x="204251" y="154468"/>
                    <a:pt x="210246" y="140765"/>
                    <a:pt x="213192" y="126262"/>
                  </a:cubicBezTo>
                  <a:cubicBezTo>
                    <a:pt x="216278" y="110907"/>
                    <a:pt x="215923" y="95071"/>
                    <a:pt x="212163" y="79869"/>
                  </a:cubicBezTo>
                  <a:cubicBezTo>
                    <a:pt x="208239" y="64032"/>
                    <a:pt x="200607" y="49351"/>
                    <a:pt x="189875" y="37058"/>
                  </a:cubicBezTo>
                  <a:lnTo>
                    <a:pt x="185621" y="32397"/>
                  </a:lnTo>
                  <a:cubicBezTo>
                    <a:pt x="184236" y="30809"/>
                    <a:pt x="182547" y="29565"/>
                    <a:pt x="181049" y="28079"/>
                  </a:cubicBezTo>
                  <a:cubicBezTo>
                    <a:pt x="179550" y="26606"/>
                    <a:pt x="178014" y="25247"/>
                    <a:pt x="176312" y="23964"/>
                  </a:cubicBezTo>
                  <a:lnTo>
                    <a:pt x="171308" y="20243"/>
                  </a:lnTo>
                  <a:cubicBezTo>
                    <a:pt x="169682" y="18986"/>
                    <a:pt x="167955" y="17843"/>
                    <a:pt x="166139" y="16840"/>
                  </a:cubicBezTo>
                  <a:lnTo>
                    <a:pt x="160869" y="13639"/>
                  </a:lnTo>
                  <a:lnTo>
                    <a:pt x="155357" y="10794"/>
                  </a:lnTo>
                  <a:cubicBezTo>
                    <a:pt x="153515" y="9855"/>
                    <a:pt x="151623" y="9029"/>
                    <a:pt x="149680" y="8318"/>
                  </a:cubicBezTo>
                  <a:cubicBezTo>
                    <a:pt x="134872" y="2463"/>
                    <a:pt x="118921" y="0"/>
                    <a:pt x="103034" y="1142"/>
                  </a:cubicBezTo>
                  <a:cubicBezTo>
                    <a:pt x="87997" y="2171"/>
                    <a:pt x="73367" y="6489"/>
                    <a:pt x="60184" y="13804"/>
                  </a:cubicBezTo>
                  <a:cubicBezTo>
                    <a:pt x="36537" y="26974"/>
                    <a:pt x="18859" y="48742"/>
                    <a:pt x="10794" y="74586"/>
                  </a:cubicBezTo>
                  <a:cubicBezTo>
                    <a:pt x="7581" y="85584"/>
                    <a:pt x="6057" y="97001"/>
                    <a:pt x="6273" y="108456"/>
                  </a:cubicBezTo>
                  <a:cubicBezTo>
                    <a:pt x="6565" y="118388"/>
                    <a:pt x="8293" y="128230"/>
                    <a:pt x="11391" y="137666"/>
                  </a:cubicBezTo>
                  <a:cubicBezTo>
                    <a:pt x="13969" y="145527"/>
                    <a:pt x="17462" y="153046"/>
                    <a:pt x="21805" y="160069"/>
                  </a:cubicBezTo>
                  <a:lnTo>
                    <a:pt x="21805" y="159764"/>
                  </a:lnTo>
                  <a:cubicBezTo>
                    <a:pt x="7873" y="184719"/>
                    <a:pt x="1079" y="196898"/>
                    <a:pt x="0" y="198790"/>
                  </a:cubicBezTo>
                  <a:cubicBezTo>
                    <a:pt x="1104" y="196924"/>
                    <a:pt x="8064" y="184795"/>
                    <a:pt x="22339" y="160069"/>
                  </a:cubicBezTo>
                  <a:lnTo>
                    <a:pt x="22339" y="159903"/>
                  </a:lnTo>
                  <a:cubicBezTo>
                    <a:pt x="18071" y="152880"/>
                    <a:pt x="14642" y="145400"/>
                    <a:pt x="12102" y="137590"/>
                  </a:cubicBezTo>
                  <a:cubicBezTo>
                    <a:pt x="9080" y="128205"/>
                    <a:pt x="7416" y="118426"/>
                    <a:pt x="7162" y="108571"/>
                  </a:cubicBezTo>
                  <a:cubicBezTo>
                    <a:pt x="6984" y="97230"/>
                    <a:pt x="8534" y="85927"/>
                    <a:pt x="11760" y="75043"/>
                  </a:cubicBezTo>
                  <a:cubicBezTo>
                    <a:pt x="19811" y="49440"/>
                    <a:pt x="37401" y="27901"/>
                    <a:pt x="60870" y="14884"/>
                  </a:cubicBezTo>
                  <a:cubicBezTo>
                    <a:pt x="73913" y="7696"/>
                    <a:pt x="88365" y="3441"/>
                    <a:pt x="103237" y="2451"/>
                  </a:cubicBezTo>
                  <a:cubicBezTo>
                    <a:pt x="118934" y="1320"/>
                    <a:pt x="134682" y="3746"/>
                    <a:pt x="149312" y="9550"/>
                  </a:cubicBezTo>
                  <a:cubicBezTo>
                    <a:pt x="151191" y="10248"/>
                    <a:pt x="153033" y="11074"/>
                    <a:pt x="154811" y="12014"/>
                  </a:cubicBezTo>
                  <a:lnTo>
                    <a:pt x="160234" y="14566"/>
                  </a:lnTo>
                  <a:lnTo>
                    <a:pt x="165441" y="17754"/>
                  </a:lnTo>
                  <a:cubicBezTo>
                    <a:pt x="167219" y="18745"/>
                    <a:pt x="168933" y="19875"/>
                    <a:pt x="170546" y="21132"/>
                  </a:cubicBezTo>
                  <a:lnTo>
                    <a:pt x="175486" y="24815"/>
                  </a:lnTo>
                  <a:cubicBezTo>
                    <a:pt x="177163" y="26009"/>
                    <a:pt x="178572" y="27660"/>
                    <a:pt x="180134" y="28879"/>
                  </a:cubicBezTo>
                  <a:cubicBezTo>
                    <a:pt x="181709" y="30098"/>
                    <a:pt x="183297" y="31724"/>
                    <a:pt x="184656" y="33133"/>
                  </a:cubicBezTo>
                  <a:lnTo>
                    <a:pt x="188859" y="37769"/>
                  </a:lnTo>
                  <a:cubicBezTo>
                    <a:pt x="199476" y="49897"/>
                    <a:pt x="207033" y="64388"/>
                    <a:pt x="210919" y="80034"/>
                  </a:cubicBezTo>
                  <a:cubicBezTo>
                    <a:pt x="214678" y="95007"/>
                    <a:pt x="215110" y="110628"/>
                    <a:pt x="212163" y="125779"/>
                  </a:cubicBezTo>
                  <a:cubicBezTo>
                    <a:pt x="209268" y="140104"/>
                    <a:pt x="203362" y="153655"/>
                    <a:pt x="194815" y="165517"/>
                  </a:cubicBezTo>
                  <a:cubicBezTo>
                    <a:pt x="179423" y="186980"/>
                    <a:pt x="156449" y="201800"/>
                    <a:pt x="130541" y="206969"/>
                  </a:cubicBezTo>
                  <a:lnTo>
                    <a:pt x="121855" y="208303"/>
                  </a:lnTo>
                  <a:cubicBezTo>
                    <a:pt x="119023" y="208569"/>
                    <a:pt x="116178" y="208620"/>
                    <a:pt x="113333" y="208785"/>
                  </a:cubicBezTo>
                  <a:cubicBezTo>
                    <a:pt x="107885" y="209027"/>
                    <a:pt x="102424" y="208773"/>
                    <a:pt x="97014" y="208023"/>
                  </a:cubicBezTo>
                  <a:cubicBezTo>
                    <a:pt x="87222" y="206741"/>
                    <a:pt x="77659" y="204074"/>
                    <a:pt x="68617" y="200073"/>
                  </a:cubicBezTo>
                  <a:cubicBezTo>
                    <a:pt x="61048" y="196682"/>
                    <a:pt x="53885" y="192415"/>
                    <a:pt x="47306" y="187361"/>
                  </a:cubicBezTo>
                  <a:lnTo>
                    <a:pt x="45338" y="185875"/>
                  </a:lnTo>
                  <a:lnTo>
                    <a:pt x="46849" y="187805"/>
                  </a:lnTo>
                  <a:lnTo>
                    <a:pt x="47014" y="187297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4" name="Free Form 3440">
              <a:extLst>
                <a:ext uri="{FF2B5EF4-FFF2-40B4-BE49-F238E27FC236}">
                  <a16:creationId xmlns:a16="http://schemas.microsoft.com/office/drawing/2014/main" id="{6AD53107-DD50-0CA7-14F3-10077708D326}"/>
                </a:ext>
              </a:extLst>
            </p:cNvPr>
            <p:cNvSpPr/>
            <p:nvPr/>
          </p:nvSpPr>
          <p:spPr>
            <a:xfrm>
              <a:off x="26406949" y="29796534"/>
              <a:ext cx="21209" cy="21208"/>
            </a:xfrm>
            <a:custGeom>
              <a:avLst/>
              <a:gdLst/>
              <a:ahLst/>
              <a:cxnLst/>
              <a:rect l="0" t="0" r="0" b="0"/>
              <a:pathLst>
                <a:path w="21208" h="21208">
                  <a:moveTo>
                    <a:pt x="12" y="10578"/>
                  </a:moveTo>
                  <a:cubicBezTo>
                    <a:pt x="0" y="16420"/>
                    <a:pt x="4724" y="21183"/>
                    <a:pt x="10578" y="21196"/>
                  </a:cubicBezTo>
                  <a:cubicBezTo>
                    <a:pt x="16420" y="21208"/>
                    <a:pt x="21183" y="16484"/>
                    <a:pt x="21196" y="10629"/>
                  </a:cubicBezTo>
                  <a:cubicBezTo>
                    <a:pt x="21208" y="4787"/>
                    <a:pt x="16484" y="38"/>
                    <a:pt x="10629" y="12"/>
                  </a:cubicBezTo>
                  <a:lnTo>
                    <a:pt x="10604" y="12"/>
                  </a:lnTo>
                  <a:cubicBezTo>
                    <a:pt x="4775" y="0"/>
                    <a:pt x="25" y="4711"/>
                    <a:pt x="12" y="1055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5" name="Free Form 3441">
              <a:extLst>
                <a:ext uri="{FF2B5EF4-FFF2-40B4-BE49-F238E27FC236}">
                  <a16:creationId xmlns:a16="http://schemas.microsoft.com/office/drawing/2014/main" id="{876228F2-889F-3832-FF3A-6838E132991F}"/>
                </a:ext>
              </a:extLst>
            </p:cNvPr>
            <p:cNvSpPr/>
            <p:nvPr/>
          </p:nvSpPr>
          <p:spPr>
            <a:xfrm>
              <a:off x="26364621" y="29796534"/>
              <a:ext cx="21209" cy="21208"/>
            </a:xfrm>
            <a:custGeom>
              <a:avLst/>
              <a:gdLst/>
              <a:ahLst/>
              <a:cxnLst/>
              <a:rect l="0" t="0" r="0" b="0"/>
              <a:pathLst>
                <a:path w="21208" h="21208">
                  <a:moveTo>
                    <a:pt x="12" y="10578"/>
                  </a:moveTo>
                  <a:cubicBezTo>
                    <a:pt x="0" y="16420"/>
                    <a:pt x="4724" y="21183"/>
                    <a:pt x="10578" y="21196"/>
                  </a:cubicBezTo>
                  <a:cubicBezTo>
                    <a:pt x="16420" y="21208"/>
                    <a:pt x="21170" y="16484"/>
                    <a:pt x="21196" y="10629"/>
                  </a:cubicBezTo>
                  <a:cubicBezTo>
                    <a:pt x="21208" y="4787"/>
                    <a:pt x="16484" y="38"/>
                    <a:pt x="10629" y="12"/>
                  </a:cubicBezTo>
                  <a:lnTo>
                    <a:pt x="10604" y="12"/>
                  </a:lnTo>
                  <a:cubicBezTo>
                    <a:pt x="4775" y="0"/>
                    <a:pt x="25" y="4711"/>
                    <a:pt x="12" y="1055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6" name="Free Form 3442">
              <a:extLst>
                <a:ext uri="{FF2B5EF4-FFF2-40B4-BE49-F238E27FC236}">
                  <a16:creationId xmlns:a16="http://schemas.microsoft.com/office/drawing/2014/main" id="{6F1155B5-E16D-A409-0BB3-84BFE9BD418C}"/>
                </a:ext>
              </a:extLst>
            </p:cNvPr>
            <p:cNvSpPr/>
            <p:nvPr/>
          </p:nvSpPr>
          <p:spPr>
            <a:xfrm>
              <a:off x="26319577" y="29795053"/>
              <a:ext cx="24117" cy="24117"/>
            </a:xfrm>
            <a:custGeom>
              <a:avLst/>
              <a:gdLst/>
              <a:ahLst/>
              <a:cxnLst/>
              <a:rect l="0" t="0" r="0" b="0"/>
              <a:pathLst>
                <a:path w="24117" h="24117">
                  <a:moveTo>
                    <a:pt x="2895" y="6807"/>
                  </a:moveTo>
                  <a:cubicBezTo>
                    <a:pt x="0" y="11861"/>
                    <a:pt x="1739" y="18325"/>
                    <a:pt x="6807" y="21221"/>
                  </a:cubicBezTo>
                  <a:cubicBezTo>
                    <a:pt x="11861" y="24117"/>
                    <a:pt x="18325" y="22377"/>
                    <a:pt x="21221" y="17309"/>
                  </a:cubicBezTo>
                  <a:cubicBezTo>
                    <a:pt x="24117" y="12268"/>
                    <a:pt x="22377" y="5829"/>
                    <a:pt x="17348" y="2920"/>
                  </a:cubicBezTo>
                  <a:cubicBezTo>
                    <a:pt x="12293" y="0"/>
                    <a:pt x="5841" y="1727"/>
                    <a:pt x="2920" y="6769"/>
                  </a:cubicBezTo>
                  <a:cubicBezTo>
                    <a:pt x="2908" y="6781"/>
                    <a:pt x="2895" y="6794"/>
                    <a:pt x="2895" y="680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7" name="Free Form 3443">
              <a:extLst>
                <a:ext uri="{FF2B5EF4-FFF2-40B4-BE49-F238E27FC236}">
                  <a16:creationId xmlns:a16="http://schemas.microsoft.com/office/drawing/2014/main" id="{D0726B92-6765-B653-19D5-D20C949B7E80}"/>
                </a:ext>
              </a:extLst>
            </p:cNvPr>
            <p:cNvSpPr/>
            <p:nvPr/>
          </p:nvSpPr>
          <p:spPr>
            <a:xfrm>
              <a:off x="25320173" y="30372226"/>
              <a:ext cx="281200" cy="461259"/>
            </a:xfrm>
            <a:custGeom>
              <a:avLst/>
              <a:gdLst/>
              <a:ahLst/>
              <a:cxnLst/>
              <a:rect l="0" t="0" r="0" b="0"/>
              <a:pathLst>
                <a:path w="281200" h="461259">
                  <a:moveTo>
                    <a:pt x="140104" y="0"/>
                  </a:moveTo>
                  <a:lnTo>
                    <a:pt x="185532" y="75373"/>
                  </a:lnTo>
                  <a:cubicBezTo>
                    <a:pt x="185532" y="75373"/>
                    <a:pt x="233931" y="155751"/>
                    <a:pt x="241576" y="177417"/>
                  </a:cubicBezTo>
                  <a:cubicBezTo>
                    <a:pt x="249209" y="199070"/>
                    <a:pt x="281009" y="386050"/>
                    <a:pt x="281060" y="400312"/>
                  </a:cubicBezTo>
                  <a:cubicBezTo>
                    <a:pt x="281200" y="432417"/>
                    <a:pt x="246999" y="461259"/>
                    <a:pt x="226552" y="461259"/>
                  </a:cubicBezTo>
                  <a:cubicBezTo>
                    <a:pt x="206118" y="461259"/>
                    <a:pt x="165174" y="443606"/>
                    <a:pt x="129513" y="424492"/>
                  </a:cubicBezTo>
                  <a:cubicBezTo>
                    <a:pt x="93851" y="405392"/>
                    <a:pt x="27482" y="328202"/>
                    <a:pt x="27482" y="328202"/>
                  </a:cubicBezTo>
                  <a:lnTo>
                    <a:pt x="15557" y="162393"/>
                  </a:lnTo>
                  <a:lnTo>
                    <a:pt x="0" y="10274"/>
                  </a:ln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8" name="Free Form 3444">
              <a:extLst>
                <a:ext uri="{FF2B5EF4-FFF2-40B4-BE49-F238E27FC236}">
                  <a16:creationId xmlns:a16="http://schemas.microsoft.com/office/drawing/2014/main" id="{12992C7A-9D4B-AB96-63AD-C31B7DE5A804}"/>
                </a:ext>
              </a:extLst>
            </p:cNvPr>
            <p:cNvSpPr/>
            <p:nvPr/>
          </p:nvSpPr>
          <p:spPr>
            <a:xfrm>
              <a:off x="25366307" y="30401981"/>
              <a:ext cx="82283" cy="321154"/>
            </a:xfrm>
            <a:custGeom>
              <a:avLst/>
              <a:gdLst/>
              <a:ahLst/>
              <a:cxnLst/>
              <a:rect l="0" t="0" r="0" b="0"/>
              <a:pathLst>
                <a:path w="82282" h="321154">
                  <a:moveTo>
                    <a:pt x="82244" y="321154"/>
                  </a:moveTo>
                  <a:cubicBezTo>
                    <a:pt x="82130" y="320887"/>
                    <a:pt x="82041" y="320595"/>
                    <a:pt x="81990" y="320303"/>
                  </a:cubicBezTo>
                  <a:cubicBezTo>
                    <a:pt x="81850" y="319680"/>
                    <a:pt x="81647" y="318855"/>
                    <a:pt x="81418" y="317839"/>
                  </a:cubicBezTo>
                  <a:cubicBezTo>
                    <a:pt x="80936" y="315528"/>
                    <a:pt x="80225" y="312327"/>
                    <a:pt x="79374" y="308213"/>
                  </a:cubicBezTo>
                  <a:cubicBezTo>
                    <a:pt x="77621" y="299691"/>
                    <a:pt x="75119" y="287715"/>
                    <a:pt x="72059" y="272831"/>
                  </a:cubicBezTo>
                  <a:lnTo>
                    <a:pt x="61429" y="220317"/>
                  </a:lnTo>
                  <a:cubicBezTo>
                    <a:pt x="59473" y="210424"/>
                    <a:pt x="57377" y="200035"/>
                    <a:pt x="55244" y="189278"/>
                  </a:cubicBezTo>
                  <a:cubicBezTo>
                    <a:pt x="52933" y="178166"/>
                    <a:pt x="51205" y="166939"/>
                    <a:pt x="50075" y="155636"/>
                  </a:cubicBezTo>
                  <a:cubicBezTo>
                    <a:pt x="49592" y="149820"/>
                    <a:pt x="49402" y="144029"/>
                    <a:pt x="49478" y="138314"/>
                  </a:cubicBezTo>
                  <a:cubicBezTo>
                    <a:pt x="49567" y="132611"/>
                    <a:pt x="49935" y="126960"/>
                    <a:pt x="50215" y="121563"/>
                  </a:cubicBezTo>
                  <a:cubicBezTo>
                    <a:pt x="50507" y="116178"/>
                    <a:pt x="50761" y="110717"/>
                    <a:pt x="50672" y="105472"/>
                  </a:cubicBezTo>
                  <a:lnTo>
                    <a:pt x="50329" y="101611"/>
                  </a:lnTo>
                  <a:cubicBezTo>
                    <a:pt x="50342" y="100354"/>
                    <a:pt x="50253" y="99109"/>
                    <a:pt x="50075" y="97865"/>
                  </a:cubicBezTo>
                  <a:cubicBezTo>
                    <a:pt x="49656" y="95375"/>
                    <a:pt x="49072" y="92912"/>
                    <a:pt x="48322" y="90511"/>
                  </a:cubicBezTo>
                  <a:cubicBezTo>
                    <a:pt x="45427" y="81444"/>
                    <a:pt x="41630" y="72706"/>
                    <a:pt x="36956" y="64413"/>
                  </a:cubicBezTo>
                  <a:cubicBezTo>
                    <a:pt x="32727" y="56527"/>
                    <a:pt x="28447" y="49427"/>
                    <a:pt x="24358" y="42925"/>
                  </a:cubicBezTo>
                  <a:cubicBezTo>
                    <a:pt x="16293" y="29984"/>
                    <a:pt x="9740" y="19506"/>
                    <a:pt x="5702" y="11975"/>
                  </a:cubicBezTo>
                  <a:cubicBezTo>
                    <a:pt x="3721" y="8178"/>
                    <a:pt x="2184" y="5257"/>
                    <a:pt x="1333" y="3174"/>
                  </a:cubicBezTo>
                  <a:lnTo>
                    <a:pt x="304" y="825"/>
                  </a:lnTo>
                  <a:cubicBezTo>
                    <a:pt x="88" y="279"/>
                    <a:pt x="0" y="0"/>
                    <a:pt x="0" y="0"/>
                  </a:cubicBezTo>
                  <a:cubicBezTo>
                    <a:pt x="165" y="241"/>
                    <a:pt x="317" y="495"/>
                    <a:pt x="457" y="761"/>
                  </a:cubicBezTo>
                  <a:cubicBezTo>
                    <a:pt x="736" y="1333"/>
                    <a:pt x="1130" y="2095"/>
                    <a:pt x="1587" y="3035"/>
                  </a:cubicBezTo>
                  <a:cubicBezTo>
                    <a:pt x="2552" y="5079"/>
                    <a:pt x="4140" y="7975"/>
                    <a:pt x="6184" y="11696"/>
                  </a:cubicBezTo>
                  <a:cubicBezTo>
                    <a:pt x="10363" y="19138"/>
                    <a:pt x="17055" y="29501"/>
                    <a:pt x="25234" y="42392"/>
                  </a:cubicBezTo>
                  <a:cubicBezTo>
                    <a:pt x="29273" y="48856"/>
                    <a:pt x="33756" y="55930"/>
                    <a:pt x="38036" y="63816"/>
                  </a:cubicBezTo>
                  <a:cubicBezTo>
                    <a:pt x="42785" y="72160"/>
                    <a:pt x="46659" y="80974"/>
                    <a:pt x="49592" y="90105"/>
                  </a:cubicBezTo>
                  <a:cubicBezTo>
                    <a:pt x="50354" y="92582"/>
                    <a:pt x="50951" y="95096"/>
                    <a:pt x="51409" y="97636"/>
                  </a:cubicBezTo>
                  <a:cubicBezTo>
                    <a:pt x="51688" y="98919"/>
                    <a:pt x="51878" y="100214"/>
                    <a:pt x="51955" y="101522"/>
                  </a:cubicBezTo>
                  <a:cubicBezTo>
                    <a:pt x="51955" y="102856"/>
                    <a:pt x="52209" y="104189"/>
                    <a:pt x="52298" y="105497"/>
                  </a:cubicBezTo>
                  <a:cubicBezTo>
                    <a:pt x="52298" y="110806"/>
                    <a:pt x="52298" y="116229"/>
                    <a:pt x="51866" y="121715"/>
                  </a:cubicBezTo>
                  <a:cubicBezTo>
                    <a:pt x="51447" y="127189"/>
                    <a:pt x="51243" y="132751"/>
                    <a:pt x="51129" y="138403"/>
                  </a:cubicBezTo>
                  <a:cubicBezTo>
                    <a:pt x="51015" y="144054"/>
                    <a:pt x="51269" y="149756"/>
                    <a:pt x="51751" y="155433"/>
                  </a:cubicBezTo>
                  <a:cubicBezTo>
                    <a:pt x="52844" y="166698"/>
                    <a:pt x="54495" y="177887"/>
                    <a:pt x="56717" y="188973"/>
                  </a:cubicBezTo>
                  <a:cubicBezTo>
                    <a:pt x="58825" y="199730"/>
                    <a:pt x="60895" y="210093"/>
                    <a:pt x="62826" y="219999"/>
                  </a:cubicBezTo>
                  <a:cubicBezTo>
                    <a:pt x="66712" y="239875"/>
                    <a:pt x="70230" y="257591"/>
                    <a:pt x="73163" y="272577"/>
                  </a:cubicBezTo>
                  <a:cubicBezTo>
                    <a:pt x="76084" y="287563"/>
                    <a:pt x="78383" y="299577"/>
                    <a:pt x="79996" y="308035"/>
                  </a:cubicBezTo>
                  <a:cubicBezTo>
                    <a:pt x="80771" y="312149"/>
                    <a:pt x="81368" y="315388"/>
                    <a:pt x="81787" y="317712"/>
                  </a:cubicBezTo>
                  <a:cubicBezTo>
                    <a:pt x="81990" y="318741"/>
                    <a:pt x="82130" y="319592"/>
                    <a:pt x="82218" y="320214"/>
                  </a:cubicBezTo>
                  <a:cubicBezTo>
                    <a:pt x="82282" y="320531"/>
                    <a:pt x="82282" y="320836"/>
                    <a:pt x="82244" y="321154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69" name="Free Form 3445">
              <a:extLst>
                <a:ext uri="{FF2B5EF4-FFF2-40B4-BE49-F238E27FC236}">
                  <a16:creationId xmlns:a16="http://schemas.microsoft.com/office/drawing/2014/main" id="{192A786D-1919-72DE-7D3B-411CC6834341}"/>
                </a:ext>
              </a:extLst>
            </p:cNvPr>
            <p:cNvSpPr/>
            <p:nvPr/>
          </p:nvSpPr>
          <p:spPr>
            <a:xfrm>
              <a:off x="25419505" y="30460659"/>
              <a:ext cx="82422" cy="38544"/>
            </a:xfrm>
            <a:custGeom>
              <a:avLst/>
              <a:gdLst/>
              <a:ahLst/>
              <a:cxnLst/>
              <a:rect l="0" t="0" r="0" b="0"/>
              <a:pathLst>
                <a:path w="82422" h="38544">
                  <a:moveTo>
                    <a:pt x="82422" y="203"/>
                  </a:moveTo>
                  <a:cubicBezTo>
                    <a:pt x="81761" y="1219"/>
                    <a:pt x="80999" y="2171"/>
                    <a:pt x="80148" y="3047"/>
                  </a:cubicBezTo>
                  <a:cubicBezTo>
                    <a:pt x="79386" y="3949"/>
                    <a:pt x="78421" y="5029"/>
                    <a:pt x="77316" y="6222"/>
                  </a:cubicBezTo>
                  <a:cubicBezTo>
                    <a:pt x="76199" y="7416"/>
                    <a:pt x="74789" y="8839"/>
                    <a:pt x="73189" y="10223"/>
                  </a:cubicBezTo>
                  <a:cubicBezTo>
                    <a:pt x="69506" y="13588"/>
                    <a:pt x="65594" y="16687"/>
                    <a:pt x="61467" y="19506"/>
                  </a:cubicBezTo>
                  <a:cubicBezTo>
                    <a:pt x="56400" y="22935"/>
                    <a:pt x="51078" y="25958"/>
                    <a:pt x="45541" y="28561"/>
                  </a:cubicBezTo>
                  <a:cubicBezTo>
                    <a:pt x="39979" y="31089"/>
                    <a:pt x="34238" y="33184"/>
                    <a:pt x="28371" y="34835"/>
                  </a:cubicBezTo>
                  <a:cubicBezTo>
                    <a:pt x="23545" y="36143"/>
                    <a:pt x="18643" y="37096"/>
                    <a:pt x="13690" y="37680"/>
                  </a:cubicBezTo>
                  <a:cubicBezTo>
                    <a:pt x="11582" y="38023"/>
                    <a:pt x="9651" y="38099"/>
                    <a:pt x="8013" y="38251"/>
                  </a:cubicBezTo>
                  <a:cubicBezTo>
                    <a:pt x="6578" y="38378"/>
                    <a:pt x="5130" y="38429"/>
                    <a:pt x="3695" y="38417"/>
                  </a:cubicBezTo>
                  <a:cubicBezTo>
                    <a:pt x="2463" y="38544"/>
                    <a:pt x="1231" y="38544"/>
                    <a:pt x="0" y="38417"/>
                  </a:cubicBezTo>
                  <a:cubicBezTo>
                    <a:pt x="0" y="38137"/>
                    <a:pt x="5232" y="38074"/>
                    <a:pt x="13576" y="36766"/>
                  </a:cubicBezTo>
                  <a:cubicBezTo>
                    <a:pt x="18440" y="36004"/>
                    <a:pt x="23266" y="34924"/>
                    <a:pt x="28003" y="33565"/>
                  </a:cubicBezTo>
                  <a:cubicBezTo>
                    <a:pt x="33819" y="31863"/>
                    <a:pt x="39509" y="29755"/>
                    <a:pt x="45033" y="27253"/>
                  </a:cubicBezTo>
                  <a:cubicBezTo>
                    <a:pt x="50481" y="24663"/>
                    <a:pt x="55765" y="21704"/>
                    <a:pt x="60819" y="18402"/>
                  </a:cubicBezTo>
                  <a:cubicBezTo>
                    <a:pt x="64934" y="15671"/>
                    <a:pt x="68871" y="12687"/>
                    <a:pt x="72605" y="9461"/>
                  </a:cubicBezTo>
                  <a:cubicBezTo>
                    <a:pt x="78789" y="3975"/>
                    <a:pt x="82218" y="0"/>
                    <a:pt x="82422" y="20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0" name="Free Form 3446">
              <a:extLst>
                <a:ext uri="{FF2B5EF4-FFF2-40B4-BE49-F238E27FC236}">
                  <a16:creationId xmlns:a16="http://schemas.microsoft.com/office/drawing/2014/main" id="{5BA0F41E-003E-1285-41E8-D81030883A2E}"/>
                </a:ext>
              </a:extLst>
            </p:cNvPr>
            <p:cNvSpPr/>
            <p:nvPr/>
          </p:nvSpPr>
          <p:spPr>
            <a:xfrm>
              <a:off x="25371329" y="30410614"/>
              <a:ext cx="74446" cy="298155"/>
            </a:xfrm>
            <a:custGeom>
              <a:avLst/>
              <a:gdLst/>
              <a:ahLst/>
              <a:cxnLst/>
              <a:rect l="0" t="0" r="0" b="0"/>
              <a:pathLst>
                <a:path w="74446" h="298154">
                  <a:moveTo>
                    <a:pt x="0" y="25"/>
                  </a:moveTo>
                  <a:cubicBezTo>
                    <a:pt x="13830" y="31013"/>
                    <a:pt x="25044" y="63092"/>
                    <a:pt x="33502" y="95960"/>
                  </a:cubicBezTo>
                  <a:cubicBezTo>
                    <a:pt x="41592" y="128776"/>
                    <a:pt x="44093" y="163612"/>
                    <a:pt x="35381" y="196263"/>
                  </a:cubicBezTo>
                  <a:cubicBezTo>
                    <a:pt x="29692" y="217523"/>
                    <a:pt x="22085" y="243926"/>
                    <a:pt x="32702" y="263204"/>
                  </a:cubicBezTo>
                  <a:cubicBezTo>
                    <a:pt x="31800" y="243697"/>
                    <a:pt x="36537" y="197622"/>
                    <a:pt x="46900" y="189050"/>
                  </a:cubicBezTo>
                  <a:cubicBezTo>
                    <a:pt x="56133" y="220279"/>
                    <a:pt x="65213" y="266786"/>
                    <a:pt x="74446" y="298154"/>
                  </a:cubicBezTo>
                  <a:cubicBezTo>
                    <a:pt x="67537" y="248891"/>
                    <a:pt x="54342" y="206258"/>
                    <a:pt x="48157" y="156602"/>
                  </a:cubicBezTo>
                  <a:cubicBezTo>
                    <a:pt x="46443" y="143140"/>
                    <a:pt x="48691" y="112762"/>
                    <a:pt x="46811" y="99363"/>
                  </a:cubicBezTo>
                  <a:cubicBezTo>
                    <a:pt x="41134" y="58762"/>
                    <a:pt x="36143" y="62457"/>
                    <a:pt x="88" y="0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1" name="Free Form 3447">
              <a:extLst>
                <a:ext uri="{FF2B5EF4-FFF2-40B4-BE49-F238E27FC236}">
                  <a16:creationId xmlns:a16="http://schemas.microsoft.com/office/drawing/2014/main" id="{880BF207-2100-0DB8-D5F8-87780B61B490}"/>
                </a:ext>
              </a:extLst>
            </p:cNvPr>
            <p:cNvSpPr/>
            <p:nvPr/>
          </p:nvSpPr>
          <p:spPr>
            <a:xfrm>
              <a:off x="25402544" y="30592282"/>
              <a:ext cx="19748" cy="87845"/>
            </a:xfrm>
            <a:custGeom>
              <a:avLst/>
              <a:gdLst/>
              <a:ahLst/>
              <a:cxnLst/>
              <a:rect l="0" t="0" r="0" b="0"/>
              <a:pathLst>
                <a:path w="19748" h="87844">
                  <a:moveTo>
                    <a:pt x="19519" y="0"/>
                  </a:moveTo>
                  <a:cubicBezTo>
                    <a:pt x="19748" y="0"/>
                    <a:pt x="17246" y="4571"/>
                    <a:pt x="14046" y="12128"/>
                  </a:cubicBezTo>
                  <a:cubicBezTo>
                    <a:pt x="9880" y="21958"/>
                    <a:pt x="6769" y="32206"/>
                    <a:pt x="4762" y="42696"/>
                  </a:cubicBezTo>
                  <a:cubicBezTo>
                    <a:pt x="2781" y="53199"/>
                    <a:pt x="1930" y="63880"/>
                    <a:pt x="2235" y="74548"/>
                  </a:cubicBezTo>
                  <a:cubicBezTo>
                    <a:pt x="2451" y="82726"/>
                    <a:pt x="3136" y="87781"/>
                    <a:pt x="2857" y="87844"/>
                  </a:cubicBezTo>
                  <a:cubicBezTo>
                    <a:pt x="2514" y="86689"/>
                    <a:pt x="2285" y="85508"/>
                    <a:pt x="2171" y="84327"/>
                  </a:cubicBezTo>
                  <a:cubicBezTo>
                    <a:pt x="1663" y="81088"/>
                    <a:pt x="1333" y="77850"/>
                    <a:pt x="1181" y="74586"/>
                  </a:cubicBezTo>
                  <a:cubicBezTo>
                    <a:pt x="0" y="52971"/>
                    <a:pt x="4076" y="31381"/>
                    <a:pt x="13080" y="11696"/>
                  </a:cubicBezTo>
                  <a:cubicBezTo>
                    <a:pt x="14833" y="7950"/>
                    <a:pt x="16370" y="5003"/>
                    <a:pt x="17563" y="3009"/>
                  </a:cubicBezTo>
                  <a:cubicBezTo>
                    <a:pt x="18097" y="1930"/>
                    <a:pt x="18757" y="927"/>
                    <a:pt x="19519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2" name="Free Form 3448">
              <a:extLst>
                <a:ext uri="{FF2B5EF4-FFF2-40B4-BE49-F238E27FC236}">
                  <a16:creationId xmlns:a16="http://schemas.microsoft.com/office/drawing/2014/main" id="{AAF74BD6-428F-F9ED-1EF5-798AD5104FD3}"/>
                </a:ext>
              </a:extLst>
            </p:cNvPr>
            <p:cNvSpPr/>
            <p:nvPr/>
          </p:nvSpPr>
          <p:spPr>
            <a:xfrm>
              <a:off x="24868217" y="30563575"/>
              <a:ext cx="87731" cy="136511"/>
            </a:xfrm>
            <a:custGeom>
              <a:avLst/>
              <a:gdLst/>
              <a:ahLst/>
              <a:cxnLst/>
              <a:rect l="0" t="0" r="0" b="0"/>
              <a:pathLst>
                <a:path w="87730" h="136510">
                  <a:moveTo>
                    <a:pt x="87387" y="203"/>
                  </a:moveTo>
                  <a:cubicBezTo>
                    <a:pt x="87730" y="431"/>
                    <a:pt x="68503" y="31063"/>
                    <a:pt x="44487" y="68655"/>
                  </a:cubicBezTo>
                  <a:cubicBezTo>
                    <a:pt x="20472" y="106247"/>
                    <a:pt x="685" y="136510"/>
                    <a:pt x="342" y="136307"/>
                  </a:cubicBezTo>
                  <a:cubicBezTo>
                    <a:pt x="0" y="136104"/>
                    <a:pt x="19189" y="105446"/>
                    <a:pt x="43243" y="67855"/>
                  </a:cubicBezTo>
                  <a:cubicBezTo>
                    <a:pt x="67283" y="30263"/>
                    <a:pt x="87044" y="0"/>
                    <a:pt x="87387" y="20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3" name="Free Form 3449">
              <a:extLst>
                <a:ext uri="{FF2B5EF4-FFF2-40B4-BE49-F238E27FC236}">
                  <a16:creationId xmlns:a16="http://schemas.microsoft.com/office/drawing/2014/main" id="{AC3EF153-F814-29A1-E2FE-947BB83CE7A7}"/>
                </a:ext>
              </a:extLst>
            </p:cNvPr>
            <p:cNvSpPr/>
            <p:nvPr/>
          </p:nvSpPr>
          <p:spPr>
            <a:xfrm>
              <a:off x="24839771" y="30345970"/>
              <a:ext cx="539274" cy="488882"/>
            </a:xfrm>
            <a:custGeom>
              <a:avLst/>
              <a:gdLst/>
              <a:ahLst/>
              <a:cxnLst/>
              <a:rect l="0" t="0" r="0" b="0"/>
              <a:pathLst>
                <a:path w="539274" h="488881">
                  <a:moveTo>
                    <a:pt x="60502" y="29209"/>
                  </a:moveTo>
                  <a:lnTo>
                    <a:pt x="218894" y="0"/>
                  </a:lnTo>
                  <a:lnTo>
                    <a:pt x="389542" y="3403"/>
                  </a:lnTo>
                  <a:lnTo>
                    <a:pt x="431820" y="3403"/>
                  </a:lnTo>
                  <a:lnTo>
                    <a:pt x="522243" y="63334"/>
                  </a:lnTo>
                  <a:cubicBezTo>
                    <a:pt x="522243" y="63334"/>
                    <a:pt x="539274" y="305596"/>
                    <a:pt x="503422" y="382875"/>
                  </a:cubicBezTo>
                  <a:cubicBezTo>
                    <a:pt x="491586" y="408427"/>
                    <a:pt x="444736" y="487573"/>
                    <a:pt x="444736" y="487573"/>
                  </a:cubicBezTo>
                  <a:lnTo>
                    <a:pt x="90854" y="488881"/>
                  </a:lnTo>
                  <a:lnTo>
                    <a:pt x="0" y="410497"/>
                  </a:lnTo>
                  <a:lnTo>
                    <a:pt x="33870" y="265389"/>
                  </a:ln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4" name="Free Form 3450">
              <a:extLst>
                <a:ext uri="{FF2B5EF4-FFF2-40B4-BE49-F238E27FC236}">
                  <a16:creationId xmlns:a16="http://schemas.microsoft.com/office/drawing/2014/main" id="{4E382A0F-00C3-EEB9-B887-3E1620F4B96D}"/>
                </a:ext>
              </a:extLst>
            </p:cNvPr>
            <p:cNvSpPr/>
            <p:nvPr/>
          </p:nvSpPr>
          <p:spPr>
            <a:xfrm>
              <a:off x="25118118" y="30692334"/>
              <a:ext cx="79488" cy="103516"/>
            </a:xfrm>
            <a:custGeom>
              <a:avLst/>
              <a:gdLst/>
              <a:ahLst/>
              <a:cxnLst/>
              <a:rect l="0" t="0" r="0" b="0"/>
              <a:pathLst>
                <a:path w="79488" h="103516">
                  <a:moveTo>
                    <a:pt x="37642" y="50532"/>
                  </a:moveTo>
                  <a:lnTo>
                    <a:pt x="35762" y="50253"/>
                  </a:lnTo>
                  <a:cubicBezTo>
                    <a:pt x="18465" y="63740"/>
                    <a:pt x="5943" y="82396"/>
                    <a:pt x="0" y="103516"/>
                  </a:cubicBezTo>
                  <a:cubicBezTo>
                    <a:pt x="23507" y="102487"/>
                    <a:pt x="44259" y="86308"/>
                    <a:pt x="56781" y="66369"/>
                  </a:cubicBezTo>
                  <a:cubicBezTo>
                    <a:pt x="69303" y="46443"/>
                    <a:pt x="74687" y="23024"/>
                    <a:pt x="79488" y="0"/>
                  </a:cubicBezTo>
                  <a:cubicBezTo>
                    <a:pt x="67004" y="18084"/>
                    <a:pt x="54418" y="36448"/>
                    <a:pt x="37642" y="50532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5" name="Free Form 3451">
              <a:extLst>
                <a:ext uri="{FF2B5EF4-FFF2-40B4-BE49-F238E27FC236}">
                  <a16:creationId xmlns:a16="http://schemas.microsoft.com/office/drawing/2014/main" id="{EAB1F072-64E0-08BD-1945-18005F35656B}"/>
                </a:ext>
              </a:extLst>
            </p:cNvPr>
            <p:cNvSpPr/>
            <p:nvPr/>
          </p:nvSpPr>
          <p:spPr>
            <a:xfrm>
              <a:off x="24634677" y="30362349"/>
              <a:ext cx="352701" cy="471140"/>
            </a:xfrm>
            <a:custGeom>
              <a:avLst/>
              <a:gdLst/>
              <a:ahLst/>
              <a:cxnLst/>
              <a:rect l="0" t="0" r="0" b="0"/>
              <a:pathLst>
                <a:path w="352700" h="471139">
                  <a:moveTo>
                    <a:pt x="20840" y="471139"/>
                  </a:moveTo>
                  <a:cubicBezTo>
                    <a:pt x="0" y="463786"/>
                    <a:pt x="9829" y="345334"/>
                    <a:pt x="62546" y="288985"/>
                  </a:cubicBezTo>
                  <a:cubicBezTo>
                    <a:pt x="69442" y="281606"/>
                    <a:pt x="186586" y="61721"/>
                    <a:pt x="236801" y="25920"/>
                  </a:cubicBezTo>
                  <a:cubicBezTo>
                    <a:pt x="273148" y="0"/>
                    <a:pt x="306333" y="10185"/>
                    <a:pt x="314905" y="61695"/>
                  </a:cubicBezTo>
                  <a:cubicBezTo>
                    <a:pt x="323478" y="113193"/>
                    <a:pt x="321039" y="201432"/>
                    <a:pt x="321039" y="201432"/>
                  </a:cubicBezTo>
                  <a:lnTo>
                    <a:pt x="233766" y="337536"/>
                  </a:lnTo>
                  <a:lnTo>
                    <a:pt x="260740" y="352243"/>
                  </a:lnTo>
                  <a:lnTo>
                    <a:pt x="352700" y="358377"/>
                  </a:lnTo>
                  <a:lnTo>
                    <a:pt x="335517" y="471139"/>
                  </a:ln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6" name="Free Form 3452">
              <a:extLst>
                <a:ext uri="{FF2B5EF4-FFF2-40B4-BE49-F238E27FC236}">
                  <a16:creationId xmlns:a16="http://schemas.microsoft.com/office/drawing/2014/main" id="{4F1821C3-26ED-2C41-BFA2-9A507DA1246B}"/>
                </a:ext>
              </a:extLst>
            </p:cNvPr>
            <p:cNvSpPr/>
            <p:nvPr/>
          </p:nvSpPr>
          <p:spPr>
            <a:xfrm>
              <a:off x="24745206" y="30678055"/>
              <a:ext cx="242174" cy="155459"/>
            </a:xfrm>
            <a:custGeom>
              <a:avLst/>
              <a:gdLst/>
              <a:ahLst/>
              <a:cxnLst/>
              <a:rect l="0" t="0" r="0" b="0"/>
              <a:pathLst>
                <a:path w="242173" h="155459">
                  <a:moveTo>
                    <a:pt x="225105" y="155433"/>
                  </a:moveTo>
                  <a:lnTo>
                    <a:pt x="225105" y="154925"/>
                  </a:lnTo>
                  <a:lnTo>
                    <a:pt x="225270" y="153414"/>
                  </a:lnTo>
                  <a:cubicBezTo>
                    <a:pt x="225473" y="151991"/>
                    <a:pt x="225727" y="150036"/>
                    <a:pt x="226070" y="147547"/>
                  </a:cubicBezTo>
                  <a:cubicBezTo>
                    <a:pt x="226806" y="142314"/>
                    <a:pt x="227886" y="134847"/>
                    <a:pt x="229219" y="125474"/>
                  </a:cubicBezTo>
                  <a:cubicBezTo>
                    <a:pt x="232064" y="106488"/>
                    <a:pt x="236039" y="79717"/>
                    <a:pt x="240573" y="48259"/>
                  </a:cubicBezTo>
                  <a:lnTo>
                    <a:pt x="241170" y="49021"/>
                  </a:lnTo>
                  <a:lnTo>
                    <a:pt x="170736" y="39941"/>
                  </a:lnTo>
                  <a:lnTo>
                    <a:pt x="150099" y="37248"/>
                  </a:lnTo>
                  <a:lnTo>
                    <a:pt x="149960" y="37248"/>
                  </a:lnTo>
                  <a:lnTo>
                    <a:pt x="135558" y="29031"/>
                  </a:lnTo>
                  <a:cubicBezTo>
                    <a:pt x="130795" y="26479"/>
                    <a:pt x="126503" y="23355"/>
                    <a:pt x="121855" y="20942"/>
                  </a:cubicBezTo>
                  <a:cubicBezTo>
                    <a:pt x="113092" y="16192"/>
                    <a:pt x="103922" y="12242"/>
                    <a:pt x="94448" y="9169"/>
                  </a:cubicBezTo>
                  <a:cubicBezTo>
                    <a:pt x="85901" y="6476"/>
                    <a:pt x="77177" y="4406"/>
                    <a:pt x="68337" y="2971"/>
                  </a:cubicBezTo>
                  <a:cubicBezTo>
                    <a:pt x="60667" y="1841"/>
                    <a:pt x="52920" y="1231"/>
                    <a:pt x="45160" y="1130"/>
                  </a:cubicBezTo>
                  <a:cubicBezTo>
                    <a:pt x="33997" y="939"/>
                    <a:pt x="22847" y="1955"/>
                    <a:pt x="11887" y="4140"/>
                  </a:cubicBezTo>
                  <a:cubicBezTo>
                    <a:pt x="8000" y="4762"/>
                    <a:pt x="5079" y="5638"/>
                    <a:pt x="3060" y="6070"/>
                  </a:cubicBezTo>
                  <a:lnTo>
                    <a:pt x="761" y="6578"/>
                  </a:lnTo>
                  <a:lnTo>
                    <a:pt x="0" y="6718"/>
                  </a:lnTo>
                  <a:cubicBezTo>
                    <a:pt x="0" y="6718"/>
                    <a:pt x="228" y="6718"/>
                    <a:pt x="736" y="6464"/>
                  </a:cubicBezTo>
                  <a:lnTo>
                    <a:pt x="3009" y="5816"/>
                  </a:lnTo>
                  <a:cubicBezTo>
                    <a:pt x="4991" y="5270"/>
                    <a:pt x="7912" y="4343"/>
                    <a:pt x="11785" y="3606"/>
                  </a:cubicBezTo>
                  <a:cubicBezTo>
                    <a:pt x="22745" y="1181"/>
                    <a:pt x="33946" y="0"/>
                    <a:pt x="45160" y="76"/>
                  </a:cubicBezTo>
                  <a:cubicBezTo>
                    <a:pt x="52971" y="114"/>
                    <a:pt x="60768" y="685"/>
                    <a:pt x="68503" y="1777"/>
                  </a:cubicBezTo>
                  <a:cubicBezTo>
                    <a:pt x="77431" y="3136"/>
                    <a:pt x="86232" y="5168"/>
                    <a:pt x="94855" y="7861"/>
                  </a:cubicBezTo>
                  <a:cubicBezTo>
                    <a:pt x="104418" y="10934"/>
                    <a:pt x="113676" y="14896"/>
                    <a:pt x="122502" y="19697"/>
                  </a:cubicBezTo>
                  <a:cubicBezTo>
                    <a:pt x="127239" y="22021"/>
                    <a:pt x="131532" y="25374"/>
                    <a:pt x="136294" y="27787"/>
                  </a:cubicBezTo>
                  <a:lnTo>
                    <a:pt x="150696" y="35877"/>
                  </a:lnTo>
                  <a:lnTo>
                    <a:pt x="150404" y="35877"/>
                  </a:lnTo>
                  <a:lnTo>
                    <a:pt x="171054" y="38544"/>
                  </a:lnTo>
                  <a:lnTo>
                    <a:pt x="241487" y="47776"/>
                  </a:lnTo>
                  <a:lnTo>
                    <a:pt x="242173" y="47776"/>
                  </a:lnTo>
                  <a:lnTo>
                    <a:pt x="242173" y="48462"/>
                  </a:lnTo>
                  <a:cubicBezTo>
                    <a:pt x="237258" y="79882"/>
                    <a:pt x="233106" y="106628"/>
                    <a:pt x="230159" y="125601"/>
                  </a:cubicBezTo>
                  <a:cubicBezTo>
                    <a:pt x="228661" y="134961"/>
                    <a:pt x="227314" y="142403"/>
                    <a:pt x="226616" y="147597"/>
                  </a:cubicBezTo>
                  <a:cubicBezTo>
                    <a:pt x="226184" y="150099"/>
                    <a:pt x="225841" y="152030"/>
                    <a:pt x="225613" y="153452"/>
                  </a:cubicBezTo>
                  <a:cubicBezTo>
                    <a:pt x="225613" y="154049"/>
                    <a:pt x="225384" y="154557"/>
                    <a:pt x="225333" y="154951"/>
                  </a:cubicBezTo>
                  <a:cubicBezTo>
                    <a:pt x="225270" y="155344"/>
                    <a:pt x="225130" y="155459"/>
                    <a:pt x="225105" y="15543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7" name="Free Form 3453">
              <a:extLst>
                <a:ext uri="{FF2B5EF4-FFF2-40B4-BE49-F238E27FC236}">
                  <a16:creationId xmlns:a16="http://schemas.microsoft.com/office/drawing/2014/main" id="{91A37CB8-4633-F809-B013-6FDDF79448DC}"/>
                </a:ext>
              </a:extLst>
            </p:cNvPr>
            <p:cNvSpPr/>
            <p:nvPr/>
          </p:nvSpPr>
          <p:spPr>
            <a:xfrm>
              <a:off x="24844029" y="30715611"/>
              <a:ext cx="54114" cy="80797"/>
            </a:xfrm>
            <a:custGeom>
              <a:avLst/>
              <a:gdLst/>
              <a:ahLst/>
              <a:cxnLst/>
              <a:rect l="0" t="0" r="0" b="0"/>
              <a:pathLst>
                <a:path w="54114" h="80796">
                  <a:moveTo>
                    <a:pt x="54114" y="0"/>
                  </a:moveTo>
                  <a:cubicBezTo>
                    <a:pt x="49173" y="1574"/>
                    <a:pt x="44347" y="3467"/>
                    <a:pt x="39661" y="5676"/>
                  </a:cubicBezTo>
                  <a:cubicBezTo>
                    <a:pt x="16713" y="16827"/>
                    <a:pt x="1854" y="39801"/>
                    <a:pt x="1104" y="65302"/>
                  </a:cubicBezTo>
                  <a:cubicBezTo>
                    <a:pt x="1041" y="70484"/>
                    <a:pt x="1333" y="75653"/>
                    <a:pt x="1955" y="80796"/>
                  </a:cubicBezTo>
                  <a:cubicBezTo>
                    <a:pt x="1955" y="80796"/>
                    <a:pt x="1790" y="80453"/>
                    <a:pt x="1625" y="79755"/>
                  </a:cubicBezTo>
                  <a:cubicBezTo>
                    <a:pt x="1346" y="78751"/>
                    <a:pt x="1130" y="77735"/>
                    <a:pt x="965" y="76707"/>
                  </a:cubicBezTo>
                  <a:cubicBezTo>
                    <a:pt x="304" y="72960"/>
                    <a:pt x="0" y="69163"/>
                    <a:pt x="63" y="65353"/>
                  </a:cubicBezTo>
                  <a:cubicBezTo>
                    <a:pt x="253" y="39293"/>
                    <a:pt x="15519" y="15709"/>
                    <a:pt x="39204" y="4851"/>
                  </a:cubicBezTo>
                  <a:cubicBezTo>
                    <a:pt x="42671" y="3225"/>
                    <a:pt x="46291" y="1917"/>
                    <a:pt x="49999" y="965"/>
                  </a:cubicBezTo>
                  <a:cubicBezTo>
                    <a:pt x="51307" y="596"/>
                    <a:pt x="52348" y="457"/>
                    <a:pt x="53034" y="317"/>
                  </a:cubicBezTo>
                  <a:cubicBezTo>
                    <a:pt x="53720" y="165"/>
                    <a:pt x="54114" y="0"/>
                    <a:pt x="5411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8" name="Free Form 3454">
              <a:extLst>
                <a:ext uri="{FF2B5EF4-FFF2-40B4-BE49-F238E27FC236}">
                  <a16:creationId xmlns:a16="http://schemas.microsoft.com/office/drawing/2014/main" id="{F9D70774-1FC1-CD1F-81F5-7421FD06DF38}"/>
                </a:ext>
              </a:extLst>
            </p:cNvPr>
            <p:cNvSpPr/>
            <p:nvPr/>
          </p:nvSpPr>
          <p:spPr>
            <a:xfrm>
              <a:off x="24747501" y="30655287"/>
              <a:ext cx="121627" cy="43688"/>
            </a:xfrm>
            <a:custGeom>
              <a:avLst/>
              <a:gdLst/>
              <a:ahLst/>
              <a:cxnLst/>
              <a:rect l="0" t="0" r="0" b="0"/>
              <a:pathLst>
                <a:path w="121626" h="43687">
                  <a:moveTo>
                    <a:pt x="121626" y="43687"/>
                  </a:moveTo>
                  <a:cubicBezTo>
                    <a:pt x="93064" y="12877"/>
                    <a:pt x="47586" y="0"/>
                    <a:pt x="8064" y="13957"/>
                  </a:cubicBezTo>
                  <a:cubicBezTo>
                    <a:pt x="4343" y="15265"/>
                    <a:pt x="0" y="17906"/>
                    <a:pt x="571" y="21792"/>
                  </a:cubicBezTo>
                  <a:cubicBezTo>
                    <a:pt x="1244" y="26707"/>
                    <a:pt x="8204" y="26936"/>
                    <a:pt x="13055" y="26060"/>
                  </a:cubicBezTo>
                  <a:cubicBezTo>
                    <a:pt x="49973" y="19049"/>
                    <a:pt x="88175" y="25298"/>
                    <a:pt x="120940" y="43687"/>
                  </a:cubicBezTo>
                  <a:close/>
                </a:path>
              </a:pathLst>
            </a:custGeom>
            <a:solidFill>
              <a:srgbClr val="090C0A">
                <a:alpha val="3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79" name="Free Form 3455">
              <a:extLst>
                <a:ext uri="{FF2B5EF4-FFF2-40B4-BE49-F238E27FC236}">
                  <a16:creationId xmlns:a16="http://schemas.microsoft.com/office/drawing/2014/main" id="{39914F54-69B7-DA65-880F-0ED8E1F51D5F}"/>
                </a:ext>
              </a:extLst>
            </p:cNvPr>
            <p:cNvSpPr/>
            <p:nvPr/>
          </p:nvSpPr>
          <p:spPr>
            <a:xfrm>
              <a:off x="24896011" y="30397104"/>
              <a:ext cx="67258" cy="107707"/>
            </a:xfrm>
            <a:custGeom>
              <a:avLst/>
              <a:gdLst/>
              <a:ahLst/>
              <a:cxnLst/>
              <a:rect l="0" t="0" r="0" b="0"/>
              <a:pathLst>
                <a:path w="67258" h="107707">
                  <a:moveTo>
                    <a:pt x="64108" y="107707"/>
                  </a:moveTo>
                  <a:cubicBezTo>
                    <a:pt x="64108" y="107707"/>
                    <a:pt x="64362" y="105751"/>
                    <a:pt x="64845" y="102310"/>
                  </a:cubicBezTo>
                  <a:cubicBezTo>
                    <a:pt x="65531" y="97446"/>
                    <a:pt x="65848" y="92531"/>
                    <a:pt x="65785" y="87603"/>
                  </a:cubicBezTo>
                  <a:cubicBezTo>
                    <a:pt x="65594" y="54482"/>
                    <a:pt x="47484" y="24066"/>
                    <a:pt x="18452" y="8115"/>
                  </a:cubicBezTo>
                  <a:cubicBezTo>
                    <a:pt x="14160" y="5714"/>
                    <a:pt x="9689" y="3644"/>
                    <a:pt x="5079" y="1930"/>
                  </a:cubicBezTo>
                  <a:cubicBezTo>
                    <a:pt x="3352" y="1371"/>
                    <a:pt x="1663" y="736"/>
                    <a:pt x="0" y="0"/>
                  </a:cubicBezTo>
                  <a:cubicBezTo>
                    <a:pt x="469" y="25"/>
                    <a:pt x="927" y="114"/>
                    <a:pt x="1371" y="279"/>
                  </a:cubicBezTo>
                  <a:cubicBezTo>
                    <a:pt x="2679" y="571"/>
                    <a:pt x="3987" y="939"/>
                    <a:pt x="5257" y="1384"/>
                  </a:cubicBezTo>
                  <a:cubicBezTo>
                    <a:pt x="9994" y="2895"/>
                    <a:pt x="14566" y="4838"/>
                    <a:pt x="18935" y="7200"/>
                  </a:cubicBezTo>
                  <a:cubicBezTo>
                    <a:pt x="48754" y="22910"/>
                    <a:pt x="67258" y="53999"/>
                    <a:pt x="66839" y="87692"/>
                  </a:cubicBezTo>
                  <a:cubicBezTo>
                    <a:pt x="66801" y="92658"/>
                    <a:pt x="66331" y="97611"/>
                    <a:pt x="65417" y="102487"/>
                  </a:cubicBezTo>
                  <a:cubicBezTo>
                    <a:pt x="65124" y="104215"/>
                    <a:pt x="64731" y="105523"/>
                    <a:pt x="64540" y="106424"/>
                  </a:cubicBezTo>
                  <a:cubicBezTo>
                    <a:pt x="64451" y="106869"/>
                    <a:pt x="64312" y="107301"/>
                    <a:pt x="64108" y="10770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0" name="Free Form 3456">
              <a:extLst>
                <a:ext uri="{FF2B5EF4-FFF2-40B4-BE49-F238E27FC236}">
                  <a16:creationId xmlns:a16="http://schemas.microsoft.com/office/drawing/2014/main" id="{DA156377-875D-FB60-7BF1-121C70583276}"/>
                </a:ext>
              </a:extLst>
            </p:cNvPr>
            <p:cNvSpPr/>
            <p:nvPr/>
          </p:nvSpPr>
          <p:spPr>
            <a:xfrm>
              <a:off x="25314832" y="30457569"/>
              <a:ext cx="50241" cy="323656"/>
            </a:xfrm>
            <a:custGeom>
              <a:avLst/>
              <a:gdLst/>
              <a:ahLst/>
              <a:cxnLst/>
              <a:rect l="0" t="0" r="0" b="0"/>
              <a:pathLst>
                <a:path w="50240" h="323656">
                  <a:moveTo>
                    <a:pt x="33756" y="0"/>
                  </a:moveTo>
                  <a:cubicBezTo>
                    <a:pt x="33870" y="266"/>
                    <a:pt x="33946" y="533"/>
                    <a:pt x="33984" y="825"/>
                  </a:cubicBezTo>
                  <a:lnTo>
                    <a:pt x="34442" y="3327"/>
                  </a:lnTo>
                  <a:cubicBezTo>
                    <a:pt x="34835" y="5626"/>
                    <a:pt x="35369" y="8826"/>
                    <a:pt x="36080" y="12941"/>
                  </a:cubicBezTo>
                  <a:cubicBezTo>
                    <a:pt x="37451" y="21297"/>
                    <a:pt x="39407" y="33362"/>
                    <a:pt x="41566" y="48348"/>
                  </a:cubicBezTo>
                  <a:cubicBezTo>
                    <a:pt x="43725" y="63334"/>
                    <a:pt x="46049" y="81202"/>
                    <a:pt x="47726" y="101154"/>
                  </a:cubicBezTo>
                  <a:cubicBezTo>
                    <a:pt x="49643" y="122794"/>
                    <a:pt x="50240" y="144524"/>
                    <a:pt x="49516" y="166228"/>
                  </a:cubicBezTo>
                  <a:cubicBezTo>
                    <a:pt x="48678" y="187970"/>
                    <a:pt x="45871" y="209585"/>
                    <a:pt x="41134" y="230820"/>
                  </a:cubicBezTo>
                  <a:cubicBezTo>
                    <a:pt x="37286" y="248155"/>
                    <a:pt x="31736" y="265071"/>
                    <a:pt x="24586" y="281327"/>
                  </a:cubicBezTo>
                  <a:cubicBezTo>
                    <a:pt x="19786" y="292300"/>
                    <a:pt x="14084" y="302853"/>
                    <a:pt x="7556" y="312886"/>
                  </a:cubicBezTo>
                  <a:cubicBezTo>
                    <a:pt x="5333" y="316531"/>
                    <a:pt x="3289" y="319084"/>
                    <a:pt x="2044" y="320925"/>
                  </a:cubicBezTo>
                  <a:cubicBezTo>
                    <a:pt x="1422" y="321776"/>
                    <a:pt x="939" y="322462"/>
                    <a:pt x="546" y="322970"/>
                  </a:cubicBezTo>
                  <a:cubicBezTo>
                    <a:pt x="393" y="323224"/>
                    <a:pt x="203" y="323452"/>
                    <a:pt x="0" y="323656"/>
                  </a:cubicBezTo>
                  <a:cubicBezTo>
                    <a:pt x="0" y="323656"/>
                    <a:pt x="0" y="323363"/>
                    <a:pt x="419" y="322881"/>
                  </a:cubicBezTo>
                  <a:lnTo>
                    <a:pt x="1790" y="320760"/>
                  </a:lnTo>
                  <a:cubicBezTo>
                    <a:pt x="2946" y="318880"/>
                    <a:pt x="4940" y="316239"/>
                    <a:pt x="7073" y="312607"/>
                  </a:cubicBezTo>
                  <a:cubicBezTo>
                    <a:pt x="13360" y="302472"/>
                    <a:pt x="18871" y="291868"/>
                    <a:pt x="23570" y="280895"/>
                  </a:cubicBezTo>
                  <a:cubicBezTo>
                    <a:pt x="30555" y="264652"/>
                    <a:pt x="35966" y="247774"/>
                    <a:pt x="39750" y="230502"/>
                  </a:cubicBezTo>
                  <a:cubicBezTo>
                    <a:pt x="44386" y="209344"/>
                    <a:pt x="47141" y="187818"/>
                    <a:pt x="47954" y="166165"/>
                  </a:cubicBezTo>
                  <a:cubicBezTo>
                    <a:pt x="49681" y="120064"/>
                    <a:pt x="44398" y="78408"/>
                    <a:pt x="40461" y="48488"/>
                  </a:cubicBezTo>
                  <a:cubicBezTo>
                    <a:pt x="38353" y="33591"/>
                    <a:pt x="36651" y="21488"/>
                    <a:pt x="35432" y="13030"/>
                  </a:cubicBezTo>
                  <a:cubicBezTo>
                    <a:pt x="34861" y="8915"/>
                    <a:pt x="34416" y="5676"/>
                    <a:pt x="34099" y="3378"/>
                  </a:cubicBezTo>
                  <a:lnTo>
                    <a:pt x="33756" y="850"/>
                  </a:lnTo>
                  <a:cubicBezTo>
                    <a:pt x="33730" y="571"/>
                    <a:pt x="33730" y="279"/>
                    <a:pt x="3375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1" name="Free Form 3496">
              <a:extLst>
                <a:ext uri="{FF2B5EF4-FFF2-40B4-BE49-F238E27FC236}">
                  <a16:creationId xmlns:a16="http://schemas.microsoft.com/office/drawing/2014/main" id="{ECA2CBBE-D19B-2FD9-9313-0AA29470BFAF}"/>
                </a:ext>
              </a:extLst>
            </p:cNvPr>
            <p:cNvSpPr/>
            <p:nvPr/>
          </p:nvSpPr>
          <p:spPr>
            <a:xfrm>
              <a:off x="24984173" y="30612123"/>
              <a:ext cx="187882" cy="183487"/>
            </a:xfrm>
            <a:custGeom>
              <a:avLst/>
              <a:gdLst/>
              <a:ahLst/>
              <a:cxnLst/>
              <a:rect l="0" t="0" r="0" b="0"/>
              <a:pathLst>
                <a:path w="187881" h="183487">
                  <a:moveTo>
                    <a:pt x="5245" y="23113"/>
                  </a:moveTo>
                  <a:cubicBezTo>
                    <a:pt x="40055" y="56615"/>
                    <a:pt x="163040" y="174356"/>
                    <a:pt x="163040" y="174356"/>
                  </a:cubicBezTo>
                  <a:lnTo>
                    <a:pt x="187881" y="183487"/>
                  </a:lnTo>
                  <a:lnTo>
                    <a:pt x="180185" y="157795"/>
                  </a:lnTo>
                  <a:lnTo>
                    <a:pt x="22872" y="4889"/>
                  </a:lnTo>
                  <a:cubicBezTo>
                    <a:pt x="17856" y="0"/>
                    <a:pt x="9816" y="101"/>
                    <a:pt x="4927" y="5118"/>
                  </a:cubicBezTo>
                  <a:cubicBezTo>
                    <a:pt x="4889" y="5156"/>
                    <a:pt x="4851" y="5194"/>
                    <a:pt x="4825" y="5232"/>
                  </a:cubicBezTo>
                  <a:cubicBezTo>
                    <a:pt x="0" y="10286"/>
                    <a:pt x="190" y="18287"/>
                    <a:pt x="5245" y="23113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2" name="Free Form 3497">
              <a:extLst>
                <a:ext uri="{FF2B5EF4-FFF2-40B4-BE49-F238E27FC236}">
                  <a16:creationId xmlns:a16="http://schemas.microsoft.com/office/drawing/2014/main" id="{FEFD80FC-717F-B43A-548F-705EFDB97670}"/>
                </a:ext>
              </a:extLst>
            </p:cNvPr>
            <p:cNvSpPr/>
            <p:nvPr/>
          </p:nvSpPr>
          <p:spPr>
            <a:xfrm>
              <a:off x="24972807" y="30688020"/>
              <a:ext cx="193292" cy="131215"/>
            </a:xfrm>
            <a:custGeom>
              <a:avLst/>
              <a:gdLst/>
              <a:ahLst/>
              <a:cxnLst/>
              <a:rect l="0" t="0" r="0" b="0"/>
              <a:pathLst>
                <a:path w="193291" h="131215">
                  <a:moveTo>
                    <a:pt x="189113" y="65975"/>
                  </a:moveTo>
                  <a:lnTo>
                    <a:pt x="152207" y="19075"/>
                  </a:lnTo>
                  <a:lnTo>
                    <a:pt x="80428" y="0"/>
                  </a:lnTo>
                  <a:lnTo>
                    <a:pt x="13690" y="43001"/>
                  </a:lnTo>
                  <a:lnTo>
                    <a:pt x="0" y="131215"/>
                  </a:lnTo>
                  <a:cubicBezTo>
                    <a:pt x="0" y="131215"/>
                    <a:pt x="14706" y="131215"/>
                    <a:pt x="21869" y="130707"/>
                  </a:cubicBezTo>
                  <a:cubicBezTo>
                    <a:pt x="26542" y="130364"/>
                    <a:pt x="62572" y="125677"/>
                    <a:pt x="62572" y="125677"/>
                  </a:cubicBezTo>
                  <a:cubicBezTo>
                    <a:pt x="62572" y="125677"/>
                    <a:pt x="92467" y="125309"/>
                    <a:pt x="105954" y="122413"/>
                  </a:cubicBezTo>
                  <a:cubicBezTo>
                    <a:pt x="119442" y="119518"/>
                    <a:pt x="124407" y="113498"/>
                    <a:pt x="133945" y="113498"/>
                  </a:cubicBezTo>
                  <a:cubicBezTo>
                    <a:pt x="143483" y="113498"/>
                    <a:pt x="145984" y="102487"/>
                    <a:pt x="145984" y="102487"/>
                  </a:cubicBezTo>
                  <a:cubicBezTo>
                    <a:pt x="152068" y="100494"/>
                    <a:pt x="157910" y="97852"/>
                    <a:pt x="163421" y="94588"/>
                  </a:cubicBezTo>
                  <a:cubicBezTo>
                    <a:pt x="170457" y="90054"/>
                    <a:pt x="170457" y="79259"/>
                    <a:pt x="170457" y="79259"/>
                  </a:cubicBezTo>
                  <a:cubicBezTo>
                    <a:pt x="170457" y="79259"/>
                    <a:pt x="174204" y="80910"/>
                    <a:pt x="183741" y="79259"/>
                  </a:cubicBezTo>
                  <a:cubicBezTo>
                    <a:pt x="193291" y="77621"/>
                    <a:pt x="189113" y="65975"/>
                    <a:pt x="189113" y="65975"/>
                  </a:cubicBezTo>
                  <a:close/>
                </a:path>
              </a:pathLst>
            </a:custGeom>
            <a:solidFill>
              <a:srgbClr val="EEAB8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3" name="Free Form 3498">
              <a:extLst>
                <a:ext uri="{FF2B5EF4-FFF2-40B4-BE49-F238E27FC236}">
                  <a16:creationId xmlns:a16="http://schemas.microsoft.com/office/drawing/2014/main" id="{485503EC-CCA1-F15B-478E-55F794C9A1AF}"/>
                </a:ext>
              </a:extLst>
            </p:cNvPr>
            <p:cNvSpPr/>
            <p:nvPr/>
          </p:nvSpPr>
          <p:spPr>
            <a:xfrm>
              <a:off x="25074569" y="30725756"/>
              <a:ext cx="69608" cy="39141"/>
            </a:xfrm>
            <a:custGeom>
              <a:avLst/>
              <a:gdLst/>
              <a:ahLst/>
              <a:cxnLst/>
              <a:rect l="0" t="0" r="0" b="0"/>
              <a:pathLst>
                <a:path w="69607" h="39140">
                  <a:moveTo>
                    <a:pt x="69607" y="39140"/>
                  </a:moveTo>
                  <a:cubicBezTo>
                    <a:pt x="68769" y="38429"/>
                    <a:pt x="68020" y="37616"/>
                    <a:pt x="67398" y="36728"/>
                  </a:cubicBezTo>
                  <a:lnTo>
                    <a:pt x="61721" y="29908"/>
                  </a:lnTo>
                  <a:cubicBezTo>
                    <a:pt x="55638" y="22339"/>
                    <a:pt x="48132" y="16014"/>
                    <a:pt x="39623" y="11315"/>
                  </a:cubicBezTo>
                  <a:cubicBezTo>
                    <a:pt x="30835" y="7137"/>
                    <a:pt x="21513" y="4165"/>
                    <a:pt x="11912" y="2514"/>
                  </a:cubicBezTo>
                  <a:lnTo>
                    <a:pt x="3200" y="838"/>
                  </a:lnTo>
                  <a:cubicBezTo>
                    <a:pt x="2108" y="698"/>
                    <a:pt x="1028" y="444"/>
                    <a:pt x="0" y="76"/>
                  </a:cubicBezTo>
                  <a:cubicBezTo>
                    <a:pt x="1092" y="0"/>
                    <a:pt x="2197" y="63"/>
                    <a:pt x="3289" y="279"/>
                  </a:cubicBezTo>
                  <a:cubicBezTo>
                    <a:pt x="5359" y="507"/>
                    <a:pt x="8394" y="901"/>
                    <a:pt x="12115" y="1498"/>
                  </a:cubicBezTo>
                  <a:cubicBezTo>
                    <a:pt x="21894" y="2857"/>
                    <a:pt x="31406" y="5727"/>
                    <a:pt x="40309" y="10007"/>
                  </a:cubicBezTo>
                  <a:cubicBezTo>
                    <a:pt x="48996" y="14782"/>
                    <a:pt x="56577" y="21348"/>
                    <a:pt x="62534" y="29260"/>
                  </a:cubicBezTo>
                  <a:cubicBezTo>
                    <a:pt x="64896" y="32105"/>
                    <a:pt x="66686" y="34657"/>
                    <a:pt x="67906" y="36385"/>
                  </a:cubicBezTo>
                  <a:cubicBezTo>
                    <a:pt x="68553" y="37248"/>
                    <a:pt x="69125" y="38175"/>
                    <a:pt x="69607" y="3914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4" name="Free Form 3499">
              <a:extLst>
                <a:ext uri="{FF2B5EF4-FFF2-40B4-BE49-F238E27FC236}">
                  <a16:creationId xmlns:a16="http://schemas.microsoft.com/office/drawing/2014/main" id="{2FA3A30C-EEF3-5516-60F3-A0004BE5474C}"/>
                </a:ext>
              </a:extLst>
            </p:cNvPr>
            <p:cNvSpPr/>
            <p:nvPr/>
          </p:nvSpPr>
          <p:spPr>
            <a:xfrm>
              <a:off x="25069905" y="30756241"/>
              <a:ext cx="53581" cy="28359"/>
            </a:xfrm>
            <a:custGeom>
              <a:avLst/>
              <a:gdLst/>
              <a:ahLst/>
              <a:cxnLst/>
              <a:rect l="0" t="0" r="0" b="0"/>
              <a:pathLst>
                <a:path w="53580" h="28358">
                  <a:moveTo>
                    <a:pt x="53517" y="28358"/>
                  </a:moveTo>
                  <a:cubicBezTo>
                    <a:pt x="52437" y="25577"/>
                    <a:pt x="50685" y="23101"/>
                    <a:pt x="48437" y="21145"/>
                  </a:cubicBezTo>
                  <a:cubicBezTo>
                    <a:pt x="44259" y="17487"/>
                    <a:pt x="36651" y="15303"/>
                    <a:pt x="28727" y="12064"/>
                  </a:cubicBezTo>
                  <a:cubicBezTo>
                    <a:pt x="20815" y="8826"/>
                    <a:pt x="13512" y="5981"/>
                    <a:pt x="8318" y="3797"/>
                  </a:cubicBezTo>
                  <a:cubicBezTo>
                    <a:pt x="5448" y="2768"/>
                    <a:pt x="2666" y="1498"/>
                    <a:pt x="0" y="0"/>
                  </a:cubicBezTo>
                  <a:cubicBezTo>
                    <a:pt x="2971" y="698"/>
                    <a:pt x="5880" y="1638"/>
                    <a:pt x="8686" y="2832"/>
                  </a:cubicBezTo>
                  <a:cubicBezTo>
                    <a:pt x="13969" y="4762"/>
                    <a:pt x="21259" y="7518"/>
                    <a:pt x="29273" y="10667"/>
                  </a:cubicBezTo>
                  <a:cubicBezTo>
                    <a:pt x="33248" y="12268"/>
                    <a:pt x="37045" y="13741"/>
                    <a:pt x="40626" y="15189"/>
                  </a:cubicBezTo>
                  <a:cubicBezTo>
                    <a:pt x="43751" y="16408"/>
                    <a:pt x="46633" y="18160"/>
                    <a:pt x="49148" y="20383"/>
                  </a:cubicBezTo>
                  <a:cubicBezTo>
                    <a:pt x="50862" y="21894"/>
                    <a:pt x="52196" y="23799"/>
                    <a:pt x="53034" y="25920"/>
                  </a:cubicBezTo>
                  <a:cubicBezTo>
                    <a:pt x="53415" y="26669"/>
                    <a:pt x="53580" y="27520"/>
                    <a:pt x="53517" y="28358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5" name="Rectangle 3118">
              <a:extLst>
                <a:ext uri="{FF2B5EF4-FFF2-40B4-BE49-F238E27FC236}">
                  <a16:creationId xmlns:a16="http://schemas.microsoft.com/office/drawing/2014/main" id="{D7E7D213-CEBB-8593-59C1-6ECAB40AD27D}"/>
                </a:ext>
              </a:extLst>
            </p:cNvPr>
            <p:cNvSpPr/>
            <p:nvPr/>
          </p:nvSpPr>
          <p:spPr>
            <a:xfrm>
              <a:off x="26341416" y="30604930"/>
              <a:ext cx="127951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6" name="Free Form 3120">
              <a:extLst>
                <a:ext uri="{FF2B5EF4-FFF2-40B4-BE49-F238E27FC236}">
                  <a16:creationId xmlns:a16="http://schemas.microsoft.com/office/drawing/2014/main" id="{96D77AA5-AC99-1147-DC0E-7FECC26B002D}"/>
                </a:ext>
              </a:extLst>
            </p:cNvPr>
            <p:cNvSpPr/>
            <p:nvPr/>
          </p:nvSpPr>
          <p:spPr>
            <a:xfrm>
              <a:off x="26351855" y="30799164"/>
              <a:ext cx="117512" cy="1397"/>
            </a:xfrm>
            <a:custGeom>
              <a:avLst/>
              <a:gdLst/>
              <a:ahLst/>
              <a:cxnLst/>
              <a:rect l="0" t="0" r="0" b="0"/>
              <a:pathLst>
                <a:path w="117511" h="1396">
                  <a:moveTo>
                    <a:pt x="117511" y="711"/>
                  </a:moveTo>
                  <a:cubicBezTo>
                    <a:pt x="117511" y="1079"/>
                    <a:pt x="91185" y="1396"/>
                    <a:pt x="58736" y="1396"/>
                  </a:cubicBezTo>
                  <a:cubicBezTo>
                    <a:pt x="26288" y="1396"/>
                    <a:pt x="0" y="1079"/>
                    <a:pt x="0" y="711"/>
                  </a:cubicBezTo>
                  <a:cubicBezTo>
                    <a:pt x="0" y="342"/>
                    <a:pt x="26288" y="0"/>
                    <a:pt x="58736" y="0"/>
                  </a:cubicBezTo>
                  <a:cubicBezTo>
                    <a:pt x="91185" y="0"/>
                    <a:pt x="117511" y="317"/>
                    <a:pt x="117511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7" name="Free Form 3121">
              <a:extLst>
                <a:ext uri="{FF2B5EF4-FFF2-40B4-BE49-F238E27FC236}">
                  <a16:creationId xmlns:a16="http://schemas.microsoft.com/office/drawing/2014/main" id="{57FA0612-A085-E300-8BAD-424E623F2496}"/>
                </a:ext>
              </a:extLst>
            </p:cNvPr>
            <p:cNvSpPr/>
            <p:nvPr/>
          </p:nvSpPr>
          <p:spPr>
            <a:xfrm>
              <a:off x="26356316" y="30814068"/>
              <a:ext cx="111175" cy="1397"/>
            </a:xfrm>
            <a:custGeom>
              <a:avLst/>
              <a:gdLst/>
              <a:ahLst/>
              <a:cxnLst/>
              <a:rect l="0" t="0" r="0" b="0"/>
              <a:pathLst>
                <a:path w="111174" h="1396">
                  <a:moveTo>
                    <a:pt x="111174" y="711"/>
                  </a:moveTo>
                  <a:cubicBezTo>
                    <a:pt x="111174" y="1079"/>
                    <a:pt x="86308" y="1396"/>
                    <a:pt x="55587" y="1396"/>
                  </a:cubicBezTo>
                  <a:cubicBezTo>
                    <a:pt x="24866" y="1396"/>
                    <a:pt x="0" y="1079"/>
                    <a:pt x="0" y="711"/>
                  </a:cubicBezTo>
                  <a:cubicBezTo>
                    <a:pt x="0" y="342"/>
                    <a:pt x="24891" y="0"/>
                    <a:pt x="55587" y="0"/>
                  </a:cubicBezTo>
                  <a:cubicBezTo>
                    <a:pt x="86282" y="0"/>
                    <a:pt x="111174" y="317"/>
                    <a:pt x="111174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8" name="Free Form 3122">
              <a:extLst>
                <a:ext uri="{FF2B5EF4-FFF2-40B4-BE49-F238E27FC236}">
                  <a16:creationId xmlns:a16="http://schemas.microsoft.com/office/drawing/2014/main" id="{2E88CA50-32C1-471A-19EE-79DECABD35BF}"/>
                </a:ext>
              </a:extLst>
            </p:cNvPr>
            <p:cNvSpPr/>
            <p:nvPr/>
          </p:nvSpPr>
          <p:spPr>
            <a:xfrm>
              <a:off x="26369406" y="30827693"/>
              <a:ext cx="99961" cy="1397"/>
            </a:xfrm>
            <a:custGeom>
              <a:avLst/>
              <a:gdLst/>
              <a:ahLst/>
              <a:cxnLst/>
              <a:rect l="0" t="0" r="0" b="0"/>
              <a:pathLst>
                <a:path w="99960" h="1396">
                  <a:moveTo>
                    <a:pt x="99960" y="685"/>
                  </a:moveTo>
                  <a:cubicBezTo>
                    <a:pt x="99960" y="1079"/>
                    <a:pt x="77558" y="1396"/>
                    <a:pt x="49961" y="1396"/>
                  </a:cubicBezTo>
                  <a:cubicBezTo>
                    <a:pt x="22364" y="1396"/>
                    <a:pt x="0" y="1079"/>
                    <a:pt x="0" y="685"/>
                  </a:cubicBezTo>
                  <a:cubicBezTo>
                    <a:pt x="0" y="292"/>
                    <a:pt x="22364" y="0"/>
                    <a:pt x="49961" y="0"/>
                  </a:cubicBezTo>
                  <a:cubicBezTo>
                    <a:pt x="77558" y="0"/>
                    <a:pt x="99960" y="317"/>
                    <a:pt x="99960" y="68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89" name="Free Form 3123">
              <a:extLst>
                <a:ext uri="{FF2B5EF4-FFF2-40B4-BE49-F238E27FC236}">
                  <a16:creationId xmlns:a16="http://schemas.microsoft.com/office/drawing/2014/main" id="{36A89336-C6E9-C6E4-E5A7-6EB2C1D73EB5}"/>
                </a:ext>
              </a:extLst>
            </p:cNvPr>
            <p:cNvSpPr/>
            <p:nvPr/>
          </p:nvSpPr>
          <p:spPr>
            <a:xfrm>
              <a:off x="26354268" y="30785901"/>
              <a:ext cx="115099" cy="1397"/>
            </a:xfrm>
            <a:custGeom>
              <a:avLst/>
              <a:gdLst/>
              <a:ahLst/>
              <a:cxnLst/>
              <a:rect l="0" t="0" r="0" b="0"/>
              <a:pathLst>
                <a:path w="115098" h="1396">
                  <a:moveTo>
                    <a:pt x="115098" y="685"/>
                  </a:moveTo>
                  <a:cubicBezTo>
                    <a:pt x="115098" y="1079"/>
                    <a:pt x="89318" y="1396"/>
                    <a:pt x="57555" y="1396"/>
                  </a:cubicBezTo>
                  <a:cubicBezTo>
                    <a:pt x="25780" y="1396"/>
                    <a:pt x="0" y="1079"/>
                    <a:pt x="0" y="685"/>
                  </a:cubicBezTo>
                  <a:cubicBezTo>
                    <a:pt x="0" y="292"/>
                    <a:pt x="25755" y="0"/>
                    <a:pt x="57555" y="0"/>
                  </a:cubicBezTo>
                  <a:cubicBezTo>
                    <a:pt x="89343" y="0"/>
                    <a:pt x="115098" y="203"/>
                    <a:pt x="115098" y="685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0" name="Free Form 3124">
              <a:extLst>
                <a:ext uri="{FF2B5EF4-FFF2-40B4-BE49-F238E27FC236}">
                  <a16:creationId xmlns:a16="http://schemas.microsoft.com/office/drawing/2014/main" id="{1B77C55E-8ADC-9099-D07E-422CA4668C29}"/>
                </a:ext>
              </a:extLst>
            </p:cNvPr>
            <p:cNvSpPr/>
            <p:nvPr/>
          </p:nvSpPr>
          <p:spPr>
            <a:xfrm>
              <a:off x="26365282" y="30772393"/>
              <a:ext cx="102209" cy="1397"/>
            </a:xfrm>
            <a:custGeom>
              <a:avLst/>
              <a:gdLst/>
              <a:ahLst/>
              <a:cxnLst/>
              <a:rect l="0" t="0" r="0" b="0"/>
              <a:pathLst>
                <a:path w="102208" h="1396">
                  <a:moveTo>
                    <a:pt x="102208" y="711"/>
                  </a:moveTo>
                  <a:cubicBezTo>
                    <a:pt x="102208" y="1079"/>
                    <a:pt x="79272" y="1396"/>
                    <a:pt x="51104" y="1396"/>
                  </a:cubicBezTo>
                  <a:cubicBezTo>
                    <a:pt x="22948" y="1396"/>
                    <a:pt x="0" y="1079"/>
                    <a:pt x="0" y="711"/>
                  </a:cubicBezTo>
                  <a:cubicBezTo>
                    <a:pt x="0" y="342"/>
                    <a:pt x="22948" y="0"/>
                    <a:pt x="51104" y="0"/>
                  </a:cubicBezTo>
                  <a:cubicBezTo>
                    <a:pt x="79272" y="0"/>
                    <a:pt x="102208" y="317"/>
                    <a:pt x="102208" y="711"/>
                  </a:cubicBez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1" name="Free Form 3129">
              <a:extLst>
                <a:ext uri="{FF2B5EF4-FFF2-40B4-BE49-F238E27FC236}">
                  <a16:creationId xmlns:a16="http://schemas.microsoft.com/office/drawing/2014/main" id="{4A8B196C-AA4F-A3BB-6BCC-AFEEB8C67942}"/>
                </a:ext>
              </a:extLst>
            </p:cNvPr>
            <p:cNvSpPr/>
            <p:nvPr/>
          </p:nvSpPr>
          <p:spPr>
            <a:xfrm>
              <a:off x="26125352" y="30769293"/>
              <a:ext cx="20599" cy="56895"/>
            </a:xfrm>
            <a:custGeom>
              <a:avLst/>
              <a:gdLst/>
              <a:ahLst/>
              <a:cxnLst/>
              <a:rect l="0" t="0" r="0" b="0"/>
              <a:pathLst>
                <a:path w="20599" h="56895">
                  <a:moveTo>
                    <a:pt x="20332" y="39610"/>
                  </a:moveTo>
                  <a:cubicBezTo>
                    <a:pt x="20218" y="30644"/>
                    <a:pt x="20091" y="21678"/>
                    <a:pt x="19964" y="12725"/>
                  </a:cubicBezTo>
                  <a:cubicBezTo>
                    <a:pt x="20078" y="10375"/>
                    <a:pt x="19760" y="8026"/>
                    <a:pt x="19024" y="5791"/>
                  </a:cubicBezTo>
                  <a:cubicBezTo>
                    <a:pt x="18237" y="3530"/>
                    <a:pt x="16281" y="1866"/>
                    <a:pt x="13919" y="1485"/>
                  </a:cubicBezTo>
                  <a:cubicBezTo>
                    <a:pt x="10566" y="0"/>
                    <a:pt x="5397" y="2781"/>
                    <a:pt x="2959" y="6680"/>
                  </a:cubicBezTo>
                  <a:cubicBezTo>
                    <a:pt x="914" y="10756"/>
                    <a:pt x="0" y="15303"/>
                    <a:pt x="317" y="19849"/>
                  </a:cubicBezTo>
                  <a:cubicBezTo>
                    <a:pt x="253" y="26936"/>
                    <a:pt x="596" y="34035"/>
                    <a:pt x="1333" y="41084"/>
                  </a:cubicBezTo>
                  <a:cubicBezTo>
                    <a:pt x="1498" y="44474"/>
                    <a:pt x="2349" y="47776"/>
                    <a:pt x="3835" y="50824"/>
                  </a:cubicBezTo>
                  <a:cubicBezTo>
                    <a:pt x="5575" y="54952"/>
                    <a:pt x="10337" y="56895"/>
                    <a:pt x="14477" y="55155"/>
                  </a:cubicBezTo>
                  <a:cubicBezTo>
                    <a:pt x="16865" y="54139"/>
                    <a:pt x="18630" y="52044"/>
                    <a:pt x="19227" y="49516"/>
                  </a:cubicBezTo>
                  <a:cubicBezTo>
                    <a:pt x="20218" y="46316"/>
                    <a:pt x="20599" y="42950"/>
                    <a:pt x="20332" y="39610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2" name="Free Form 3130">
              <a:extLst>
                <a:ext uri="{FF2B5EF4-FFF2-40B4-BE49-F238E27FC236}">
                  <a16:creationId xmlns:a16="http://schemas.microsoft.com/office/drawing/2014/main" id="{B9178DBA-6D2F-C3F4-E452-8D97FE550220}"/>
                </a:ext>
              </a:extLst>
            </p:cNvPr>
            <p:cNvSpPr/>
            <p:nvPr/>
          </p:nvSpPr>
          <p:spPr>
            <a:xfrm>
              <a:off x="26170632" y="30800467"/>
              <a:ext cx="123023" cy="1397"/>
            </a:xfrm>
            <a:custGeom>
              <a:avLst/>
              <a:gdLst/>
              <a:ahLst/>
              <a:cxnLst/>
              <a:rect l="0" t="0" r="0" b="0"/>
              <a:pathLst>
                <a:path w="123023" h="1396">
                  <a:moveTo>
                    <a:pt x="123023" y="685"/>
                  </a:moveTo>
                  <a:cubicBezTo>
                    <a:pt x="123023" y="1079"/>
                    <a:pt x="95490" y="1396"/>
                    <a:pt x="61530" y="1396"/>
                  </a:cubicBezTo>
                  <a:cubicBezTo>
                    <a:pt x="27571" y="1396"/>
                    <a:pt x="0" y="1079"/>
                    <a:pt x="0" y="685"/>
                  </a:cubicBezTo>
                  <a:cubicBezTo>
                    <a:pt x="0" y="292"/>
                    <a:pt x="27546" y="0"/>
                    <a:pt x="61530" y="0"/>
                  </a:cubicBezTo>
                  <a:cubicBezTo>
                    <a:pt x="95515" y="0"/>
                    <a:pt x="123023" y="317"/>
                    <a:pt x="123023" y="685"/>
                  </a:cubicBezTo>
                  <a:close/>
                </a:path>
              </a:pathLst>
            </a:custGeom>
            <a:solidFill>
              <a:srgbClr val="F6F7F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3" name="Free Form 3253">
              <a:extLst>
                <a:ext uri="{FF2B5EF4-FFF2-40B4-BE49-F238E27FC236}">
                  <a16:creationId xmlns:a16="http://schemas.microsoft.com/office/drawing/2014/main" id="{71C08C3F-43C4-2CEE-5427-D590AFCBE425}"/>
                </a:ext>
              </a:extLst>
            </p:cNvPr>
            <p:cNvSpPr/>
            <p:nvPr/>
          </p:nvSpPr>
          <p:spPr>
            <a:xfrm>
              <a:off x="24624685" y="30834115"/>
              <a:ext cx="1992227" cy="1473"/>
            </a:xfrm>
            <a:custGeom>
              <a:avLst/>
              <a:gdLst/>
              <a:ahLst/>
              <a:cxnLst/>
              <a:rect l="0" t="0" r="0" b="0"/>
              <a:pathLst>
                <a:path w="1992227" h="1473">
                  <a:moveTo>
                    <a:pt x="1992227" y="736"/>
                  </a:moveTo>
                  <a:cubicBezTo>
                    <a:pt x="1992227" y="1130"/>
                    <a:pt x="1546208" y="1473"/>
                    <a:pt x="996164" y="1473"/>
                  </a:cubicBezTo>
                  <a:cubicBezTo>
                    <a:pt x="446133" y="1473"/>
                    <a:pt x="0" y="1054"/>
                    <a:pt x="0" y="736"/>
                  </a:cubicBezTo>
                  <a:cubicBezTo>
                    <a:pt x="0" y="419"/>
                    <a:pt x="445904" y="0"/>
                    <a:pt x="996164" y="0"/>
                  </a:cubicBezTo>
                  <a:cubicBezTo>
                    <a:pt x="1546437" y="0"/>
                    <a:pt x="1992227" y="228"/>
                    <a:pt x="1992227" y="73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4" name="Free Form 3395">
              <a:extLst>
                <a:ext uri="{FF2B5EF4-FFF2-40B4-BE49-F238E27FC236}">
                  <a16:creationId xmlns:a16="http://schemas.microsoft.com/office/drawing/2014/main" id="{3783297C-194E-815D-68A0-DE3964477BE6}"/>
                </a:ext>
              </a:extLst>
            </p:cNvPr>
            <p:cNvSpPr/>
            <p:nvPr/>
          </p:nvSpPr>
          <p:spPr>
            <a:xfrm>
              <a:off x="25754063" y="30784513"/>
              <a:ext cx="139597" cy="1423"/>
            </a:xfrm>
            <a:custGeom>
              <a:avLst/>
              <a:gdLst/>
              <a:ahLst/>
              <a:cxnLst/>
              <a:rect l="0" t="0" r="0" b="0"/>
              <a:pathLst>
                <a:path w="139596" h="1422">
                  <a:moveTo>
                    <a:pt x="139596" y="711"/>
                  </a:moveTo>
                  <a:cubicBezTo>
                    <a:pt x="139596" y="1104"/>
                    <a:pt x="108367" y="1422"/>
                    <a:pt x="69811" y="1422"/>
                  </a:cubicBezTo>
                  <a:cubicBezTo>
                    <a:pt x="31254" y="1422"/>
                    <a:pt x="0" y="1104"/>
                    <a:pt x="0" y="711"/>
                  </a:cubicBezTo>
                  <a:cubicBezTo>
                    <a:pt x="0" y="317"/>
                    <a:pt x="31228" y="0"/>
                    <a:pt x="69811" y="0"/>
                  </a:cubicBezTo>
                  <a:cubicBezTo>
                    <a:pt x="108393" y="0"/>
                    <a:pt x="139596" y="317"/>
                    <a:pt x="139596" y="7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5" name="Free Form 3396">
              <a:extLst>
                <a:ext uri="{FF2B5EF4-FFF2-40B4-BE49-F238E27FC236}">
                  <a16:creationId xmlns:a16="http://schemas.microsoft.com/office/drawing/2014/main" id="{A2DDE024-56C0-A127-C6B5-F70BC6F248B1}"/>
                </a:ext>
              </a:extLst>
            </p:cNvPr>
            <p:cNvSpPr/>
            <p:nvPr/>
          </p:nvSpPr>
          <p:spPr>
            <a:xfrm>
              <a:off x="25753606" y="30777728"/>
              <a:ext cx="140537" cy="1422"/>
            </a:xfrm>
            <a:custGeom>
              <a:avLst/>
              <a:gdLst/>
              <a:ahLst/>
              <a:cxnLst/>
              <a:rect l="0" t="0" r="0" b="0"/>
              <a:pathLst>
                <a:path w="140536" h="1422">
                  <a:moveTo>
                    <a:pt x="140536" y="711"/>
                  </a:moveTo>
                  <a:cubicBezTo>
                    <a:pt x="140536" y="1104"/>
                    <a:pt x="109053" y="1422"/>
                    <a:pt x="70268" y="1422"/>
                  </a:cubicBezTo>
                  <a:cubicBezTo>
                    <a:pt x="31482" y="1422"/>
                    <a:pt x="0" y="1104"/>
                    <a:pt x="0" y="711"/>
                  </a:cubicBezTo>
                  <a:cubicBezTo>
                    <a:pt x="0" y="317"/>
                    <a:pt x="31457" y="0"/>
                    <a:pt x="70268" y="0"/>
                  </a:cubicBezTo>
                  <a:cubicBezTo>
                    <a:pt x="109079" y="0"/>
                    <a:pt x="140536" y="342"/>
                    <a:pt x="140536" y="7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6" name="Free Form 3397">
              <a:extLst>
                <a:ext uri="{FF2B5EF4-FFF2-40B4-BE49-F238E27FC236}">
                  <a16:creationId xmlns:a16="http://schemas.microsoft.com/office/drawing/2014/main" id="{5DD032A2-D307-6662-9A1F-2A8C38DBED00}"/>
                </a:ext>
              </a:extLst>
            </p:cNvPr>
            <p:cNvSpPr/>
            <p:nvPr/>
          </p:nvSpPr>
          <p:spPr>
            <a:xfrm>
              <a:off x="25753351" y="30770063"/>
              <a:ext cx="140537" cy="1423"/>
            </a:xfrm>
            <a:custGeom>
              <a:avLst/>
              <a:gdLst/>
              <a:ahLst/>
              <a:cxnLst/>
              <a:rect l="0" t="0" r="0" b="0"/>
              <a:pathLst>
                <a:path w="140536" h="1422">
                  <a:moveTo>
                    <a:pt x="140536" y="711"/>
                  </a:moveTo>
                  <a:cubicBezTo>
                    <a:pt x="140536" y="1104"/>
                    <a:pt x="109079" y="1422"/>
                    <a:pt x="70268" y="1422"/>
                  </a:cubicBezTo>
                  <a:cubicBezTo>
                    <a:pt x="31457" y="1422"/>
                    <a:pt x="0" y="1104"/>
                    <a:pt x="0" y="711"/>
                  </a:cubicBezTo>
                  <a:cubicBezTo>
                    <a:pt x="0" y="317"/>
                    <a:pt x="31457" y="0"/>
                    <a:pt x="70268" y="0"/>
                  </a:cubicBezTo>
                  <a:cubicBezTo>
                    <a:pt x="109079" y="0"/>
                    <a:pt x="140536" y="317"/>
                    <a:pt x="140536" y="71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7" name="Free Form 3398">
              <a:extLst>
                <a:ext uri="{FF2B5EF4-FFF2-40B4-BE49-F238E27FC236}">
                  <a16:creationId xmlns:a16="http://schemas.microsoft.com/office/drawing/2014/main" id="{EDB355DA-A2DA-9001-6487-1364FBB180CF}"/>
                </a:ext>
              </a:extLst>
            </p:cNvPr>
            <p:cNvSpPr/>
            <p:nvPr/>
          </p:nvSpPr>
          <p:spPr>
            <a:xfrm>
              <a:off x="25768432" y="30791902"/>
              <a:ext cx="6045" cy="35001"/>
            </a:xfrm>
            <a:custGeom>
              <a:avLst/>
              <a:gdLst/>
              <a:ahLst/>
              <a:cxnLst/>
              <a:rect l="0" t="0" r="0" b="0"/>
              <a:pathLst>
                <a:path w="6045" h="35000">
                  <a:moveTo>
                    <a:pt x="6045" y="35000"/>
                  </a:moveTo>
                  <a:cubicBezTo>
                    <a:pt x="3086" y="23520"/>
                    <a:pt x="1066" y="11810"/>
                    <a:pt x="0" y="0"/>
                  </a:cubicBezTo>
                  <a:cubicBezTo>
                    <a:pt x="1676" y="5689"/>
                    <a:pt x="2908" y="11506"/>
                    <a:pt x="3682" y="17398"/>
                  </a:cubicBezTo>
                  <a:cubicBezTo>
                    <a:pt x="4940" y="23189"/>
                    <a:pt x="5727" y="29082"/>
                    <a:pt x="6045" y="35000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8" name="Free Form 3399">
              <a:extLst>
                <a:ext uri="{FF2B5EF4-FFF2-40B4-BE49-F238E27FC236}">
                  <a16:creationId xmlns:a16="http://schemas.microsoft.com/office/drawing/2014/main" id="{232BAB18-CB7D-1995-E01F-09C06D53190A}"/>
                </a:ext>
              </a:extLst>
            </p:cNvPr>
            <p:cNvSpPr/>
            <p:nvPr/>
          </p:nvSpPr>
          <p:spPr>
            <a:xfrm>
              <a:off x="25780353" y="30791353"/>
              <a:ext cx="2959" cy="34074"/>
            </a:xfrm>
            <a:custGeom>
              <a:avLst/>
              <a:gdLst/>
              <a:ahLst/>
              <a:cxnLst/>
              <a:rect l="0" t="0" r="0" b="0"/>
              <a:pathLst>
                <a:path w="2959" h="34073">
                  <a:moveTo>
                    <a:pt x="2412" y="34073"/>
                  </a:moveTo>
                  <a:cubicBezTo>
                    <a:pt x="1523" y="28434"/>
                    <a:pt x="1015" y="22745"/>
                    <a:pt x="876" y="17043"/>
                  </a:cubicBezTo>
                  <a:cubicBezTo>
                    <a:pt x="266" y="11379"/>
                    <a:pt x="0" y="5689"/>
                    <a:pt x="88" y="0"/>
                  </a:cubicBezTo>
                  <a:cubicBezTo>
                    <a:pt x="1422" y="5587"/>
                    <a:pt x="2171" y="11302"/>
                    <a:pt x="2324" y="17043"/>
                  </a:cubicBezTo>
                  <a:cubicBezTo>
                    <a:pt x="2933" y="22694"/>
                    <a:pt x="2959" y="28409"/>
                    <a:pt x="2412" y="3407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499" name="Free Form 3400">
              <a:extLst>
                <a:ext uri="{FF2B5EF4-FFF2-40B4-BE49-F238E27FC236}">
                  <a16:creationId xmlns:a16="http://schemas.microsoft.com/office/drawing/2014/main" id="{2F114AC1-A286-2094-C4AD-8BE681D035C4}"/>
                </a:ext>
              </a:extLst>
            </p:cNvPr>
            <p:cNvSpPr/>
            <p:nvPr/>
          </p:nvSpPr>
          <p:spPr>
            <a:xfrm>
              <a:off x="25793463" y="30790388"/>
              <a:ext cx="4407" cy="35039"/>
            </a:xfrm>
            <a:custGeom>
              <a:avLst/>
              <a:gdLst/>
              <a:ahLst/>
              <a:cxnLst/>
              <a:rect l="0" t="0" r="0" b="0"/>
              <a:pathLst>
                <a:path w="4406" h="35038">
                  <a:moveTo>
                    <a:pt x="4406" y="35038"/>
                  </a:moveTo>
                  <a:cubicBezTo>
                    <a:pt x="2755" y="29374"/>
                    <a:pt x="1701" y="23545"/>
                    <a:pt x="1257" y="17665"/>
                  </a:cubicBezTo>
                  <a:cubicBezTo>
                    <a:pt x="317" y="11823"/>
                    <a:pt x="0" y="5905"/>
                    <a:pt x="317" y="0"/>
                  </a:cubicBezTo>
                  <a:cubicBezTo>
                    <a:pt x="2095" y="11633"/>
                    <a:pt x="3454" y="23316"/>
                    <a:pt x="4406" y="3503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0" name="Free Form 3401">
              <a:extLst>
                <a:ext uri="{FF2B5EF4-FFF2-40B4-BE49-F238E27FC236}">
                  <a16:creationId xmlns:a16="http://schemas.microsoft.com/office/drawing/2014/main" id="{C2709EE6-0B02-701B-9B3A-706153CDD45B}"/>
                </a:ext>
              </a:extLst>
            </p:cNvPr>
            <p:cNvSpPr/>
            <p:nvPr/>
          </p:nvSpPr>
          <p:spPr>
            <a:xfrm>
              <a:off x="25806368" y="30790755"/>
              <a:ext cx="2159" cy="35382"/>
            </a:xfrm>
            <a:custGeom>
              <a:avLst/>
              <a:gdLst/>
              <a:ahLst/>
              <a:cxnLst/>
              <a:rect l="0" t="0" r="0" b="0"/>
              <a:pathLst>
                <a:path w="2158" h="35381">
                  <a:moveTo>
                    <a:pt x="2120" y="35381"/>
                  </a:moveTo>
                  <a:cubicBezTo>
                    <a:pt x="965" y="29577"/>
                    <a:pt x="406" y="23672"/>
                    <a:pt x="444" y="17754"/>
                  </a:cubicBezTo>
                  <a:cubicBezTo>
                    <a:pt x="0" y="11836"/>
                    <a:pt x="177" y="5880"/>
                    <a:pt x="990" y="0"/>
                  </a:cubicBezTo>
                  <a:cubicBezTo>
                    <a:pt x="1777" y="11785"/>
                    <a:pt x="2158" y="23583"/>
                    <a:pt x="2120" y="35381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1" name="Free Form 3402">
              <a:extLst>
                <a:ext uri="{FF2B5EF4-FFF2-40B4-BE49-F238E27FC236}">
                  <a16:creationId xmlns:a16="http://schemas.microsoft.com/office/drawing/2014/main" id="{7D56AB99-5D82-203C-6541-96C65B76C6C1}"/>
                </a:ext>
              </a:extLst>
            </p:cNvPr>
            <p:cNvSpPr/>
            <p:nvPr/>
          </p:nvSpPr>
          <p:spPr>
            <a:xfrm>
              <a:off x="25825581" y="30791874"/>
              <a:ext cx="2274" cy="33553"/>
            </a:xfrm>
            <a:custGeom>
              <a:avLst/>
              <a:gdLst/>
              <a:ahLst/>
              <a:cxnLst/>
              <a:rect l="0" t="0" r="0" b="0"/>
              <a:pathLst>
                <a:path w="2273" h="33553">
                  <a:moveTo>
                    <a:pt x="1701" y="33553"/>
                  </a:moveTo>
                  <a:cubicBezTo>
                    <a:pt x="380" y="22415"/>
                    <a:pt x="0" y="11188"/>
                    <a:pt x="571" y="0"/>
                  </a:cubicBezTo>
                  <a:cubicBezTo>
                    <a:pt x="1892" y="11125"/>
                    <a:pt x="2273" y="22351"/>
                    <a:pt x="1701" y="3355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2" name="Free Form 3403">
              <a:extLst>
                <a:ext uri="{FF2B5EF4-FFF2-40B4-BE49-F238E27FC236}">
                  <a16:creationId xmlns:a16="http://schemas.microsoft.com/office/drawing/2014/main" id="{DB8033A1-B930-4723-FFAC-E3E188306945}"/>
                </a:ext>
              </a:extLst>
            </p:cNvPr>
            <p:cNvSpPr/>
            <p:nvPr/>
          </p:nvSpPr>
          <p:spPr>
            <a:xfrm>
              <a:off x="25840133" y="30791507"/>
              <a:ext cx="2019" cy="34658"/>
            </a:xfrm>
            <a:custGeom>
              <a:avLst/>
              <a:gdLst/>
              <a:ahLst/>
              <a:cxnLst/>
              <a:rect l="0" t="0" r="0" b="0"/>
              <a:pathLst>
                <a:path w="2019" h="34657">
                  <a:moveTo>
                    <a:pt x="863" y="34657"/>
                  </a:moveTo>
                  <a:cubicBezTo>
                    <a:pt x="190" y="28904"/>
                    <a:pt x="0" y="23101"/>
                    <a:pt x="292" y="17309"/>
                  </a:cubicBezTo>
                  <a:cubicBezTo>
                    <a:pt x="114" y="11518"/>
                    <a:pt x="393" y="5727"/>
                    <a:pt x="1142" y="0"/>
                  </a:cubicBezTo>
                  <a:cubicBezTo>
                    <a:pt x="1816" y="5740"/>
                    <a:pt x="2019" y="11531"/>
                    <a:pt x="1739" y="17309"/>
                  </a:cubicBezTo>
                  <a:cubicBezTo>
                    <a:pt x="1930" y="23113"/>
                    <a:pt x="1638" y="28904"/>
                    <a:pt x="863" y="34657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3" name="Free Form 3404">
              <a:extLst>
                <a:ext uri="{FF2B5EF4-FFF2-40B4-BE49-F238E27FC236}">
                  <a16:creationId xmlns:a16="http://schemas.microsoft.com/office/drawing/2014/main" id="{DF2A1BCF-2987-AC62-F827-F73B134D954A}"/>
                </a:ext>
              </a:extLst>
            </p:cNvPr>
            <p:cNvSpPr/>
            <p:nvPr/>
          </p:nvSpPr>
          <p:spPr>
            <a:xfrm>
              <a:off x="25853886" y="30788201"/>
              <a:ext cx="3657" cy="36119"/>
            </a:xfrm>
            <a:custGeom>
              <a:avLst/>
              <a:gdLst/>
              <a:ahLst/>
              <a:cxnLst/>
              <a:rect l="0" t="0" r="0" b="0"/>
              <a:pathLst>
                <a:path w="3657" h="36118">
                  <a:moveTo>
                    <a:pt x="0" y="36118"/>
                  </a:moveTo>
                  <a:cubicBezTo>
                    <a:pt x="203" y="24002"/>
                    <a:pt x="1371" y="11925"/>
                    <a:pt x="3492" y="0"/>
                  </a:cubicBezTo>
                  <a:cubicBezTo>
                    <a:pt x="3657" y="6108"/>
                    <a:pt x="3352" y="12204"/>
                    <a:pt x="2552" y="18262"/>
                  </a:cubicBezTo>
                  <a:cubicBezTo>
                    <a:pt x="2146" y="24269"/>
                    <a:pt x="1295" y="30238"/>
                    <a:pt x="0" y="36118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4" name="Free Form 3405">
              <a:extLst>
                <a:ext uri="{FF2B5EF4-FFF2-40B4-BE49-F238E27FC236}">
                  <a16:creationId xmlns:a16="http://schemas.microsoft.com/office/drawing/2014/main" id="{8856286C-2872-61C1-CB83-E84293408FD5}"/>
                </a:ext>
              </a:extLst>
            </p:cNvPr>
            <p:cNvSpPr/>
            <p:nvPr/>
          </p:nvSpPr>
          <p:spPr>
            <a:xfrm>
              <a:off x="25870465" y="30792239"/>
              <a:ext cx="6591" cy="30263"/>
            </a:xfrm>
            <a:custGeom>
              <a:avLst/>
              <a:gdLst/>
              <a:ahLst/>
              <a:cxnLst/>
              <a:rect l="0" t="0" r="0" b="0"/>
              <a:pathLst>
                <a:path w="6591" h="30263">
                  <a:moveTo>
                    <a:pt x="0" y="30263"/>
                  </a:moveTo>
                  <a:cubicBezTo>
                    <a:pt x="38" y="25056"/>
                    <a:pt x="723" y="19875"/>
                    <a:pt x="2044" y="14846"/>
                  </a:cubicBezTo>
                  <a:cubicBezTo>
                    <a:pt x="2908" y="9728"/>
                    <a:pt x="4444" y="4737"/>
                    <a:pt x="6591" y="0"/>
                  </a:cubicBezTo>
                  <a:cubicBezTo>
                    <a:pt x="5829" y="5105"/>
                    <a:pt x="4787" y="10172"/>
                    <a:pt x="3467" y="15163"/>
                  </a:cubicBezTo>
                  <a:cubicBezTo>
                    <a:pt x="2578" y="20256"/>
                    <a:pt x="1422" y="25298"/>
                    <a:pt x="0" y="30263"/>
                  </a:cubicBezTo>
                  <a:close/>
                </a:path>
              </a:pathLst>
            </a:custGeom>
            <a:solidFill>
              <a:srgbClr val="FAFCFC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5" name="Rectangle 3457">
              <a:extLst>
                <a:ext uri="{FF2B5EF4-FFF2-40B4-BE49-F238E27FC236}">
                  <a16:creationId xmlns:a16="http://schemas.microsoft.com/office/drawing/2014/main" id="{6905F167-C7D0-5784-6A4F-D0CAB9288461}"/>
                </a:ext>
              </a:extLst>
            </p:cNvPr>
            <p:cNvSpPr/>
            <p:nvPr/>
          </p:nvSpPr>
          <p:spPr>
            <a:xfrm>
              <a:off x="25046055" y="30643962"/>
              <a:ext cx="395081" cy="388078"/>
            </a:xfrm>
            <a:prstGeom prst="rect">
              <a:avLst/>
            </a:prstGeom>
            <a:solidFill>
              <a:srgbClr val="E6E8E5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6" name="Free Form 3458">
              <a:extLst>
                <a:ext uri="{FF2B5EF4-FFF2-40B4-BE49-F238E27FC236}">
                  <a16:creationId xmlns:a16="http://schemas.microsoft.com/office/drawing/2014/main" id="{278A3C0B-E345-50F7-44A5-17AF62ECA710}"/>
                </a:ext>
              </a:extLst>
            </p:cNvPr>
            <p:cNvSpPr/>
            <p:nvPr/>
          </p:nvSpPr>
          <p:spPr>
            <a:xfrm>
              <a:off x="25046057" y="30783749"/>
              <a:ext cx="489682" cy="51752"/>
            </a:xfrm>
            <a:custGeom>
              <a:avLst/>
              <a:gdLst/>
              <a:ahLst/>
              <a:cxnLst/>
              <a:rect l="0" t="0" r="0" b="0"/>
              <a:pathLst>
                <a:path w="489681" h="51751">
                  <a:moveTo>
                    <a:pt x="489681" y="0"/>
                  </a:moveTo>
                  <a:lnTo>
                    <a:pt x="83463" y="10083"/>
                  </a:lnTo>
                  <a:lnTo>
                    <a:pt x="16586" y="29730"/>
                  </a:lnTo>
                  <a:lnTo>
                    <a:pt x="0" y="40233"/>
                  </a:lnTo>
                  <a:lnTo>
                    <a:pt x="395080" y="40233"/>
                  </a:lnTo>
                  <a:lnTo>
                    <a:pt x="430347" y="51751"/>
                  </a:lnTo>
                  <a:lnTo>
                    <a:pt x="480791" y="36740"/>
                  </a:lnTo>
                  <a:close/>
                </a:path>
              </a:pathLst>
            </a:custGeom>
            <a:solidFill>
              <a:srgbClr val="FFFFFF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7" name="Free Form 3459">
              <a:extLst>
                <a:ext uri="{FF2B5EF4-FFF2-40B4-BE49-F238E27FC236}">
                  <a16:creationId xmlns:a16="http://schemas.microsoft.com/office/drawing/2014/main" id="{554ED048-6DDF-8BDB-9F32-9FC8D46DD291}"/>
                </a:ext>
              </a:extLst>
            </p:cNvPr>
            <p:cNvSpPr/>
            <p:nvPr/>
          </p:nvSpPr>
          <p:spPr>
            <a:xfrm>
              <a:off x="25441028" y="30783745"/>
              <a:ext cx="96532" cy="68287"/>
            </a:xfrm>
            <a:custGeom>
              <a:avLst/>
              <a:gdLst/>
              <a:ahLst/>
              <a:cxnLst/>
              <a:rect l="0" t="0" r="0" b="0"/>
              <a:pathLst>
                <a:path w="96531" h="68287">
                  <a:moveTo>
                    <a:pt x="114" y="40233"/>
                  </a:moveTo>
                  <a:cubicBezTo>
                    <a:pt x="114" y="40233"/>
                    <a:pt x="43979" y="46989"/>
                    <a:pt x="61175" y="40233"/>
                  </a:cubicBezTo>
                  <a:cubicBezTo>
                    <a:pt x="78383" y="33476"/>
                    <a:pt x="94601" y="0"/>
                    <a:pt x="94601" y="0"/>
                  </a:cubicBezTo>
                  <a:lnTo>
                    <a:pt x="96531" y="51764"/>
                  </a:lnTo>
                  <a:lnTo>
                    <a:pt x="0" y="68287"/>
                  </a:lnTo>
                  <a:close/>
                </a:path>
              </a:pathLst>
            </a:custGeom>
            <a:solidFill>
              <a:srgbClr val="D6D8D2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8" name="Free Form 3460">
              <a:extLst>
                <a:ext uri="{FF2B5EF4-FFF2-40B4-BE49-F238E27FC236}">
                  <a16:creationId xmlns:a16="http://schemas.microsoft.com/office/drawing/2014/main" id="{09D63754-B096-3001-E2E3-E51D1796CFFF}"/>
                </a:ext>
              </a:extLst>
            </p:cNvPr>
            <p:cNvSpPr/>
            <p:nvPr/>
          </p:nvSpPr>
          <p:spPr>
            <a:xfrm>
              <a:off x="25440212" y="30823808"/>
              <a:ext cx="2057" cy="28384"/>
            </a:xfrm>
            <a:custGeom>
              <a:avLst/>
              <a:gdLst/>
              <a:ahLst/>
              <a:cxnLst/>
              <a:rect l="0" t="0" r="0" b="0"/>
              <a:pathLst>
                <a:path w="2057" h="28384">
                  <a:moveTo>
                    <a:pt x="901" y="0"/>
                  </a:moveTo>
                  <a:cubicBezTo>
                    <a:pt x="1689" y="4686"/>
                    <a:pt x="1981" y="9448"/>
                    <a:pt x="1752" y="14198"/>
                  </a:cubicBezTo>
                  <a:cubicBezTo>
                    <a:pt x="2057" y="18935"/>
                    <a:pt x="1854" y="23697"/>
                    <a:pt x="1130" y="28384"/>
                  </a:cubicBezTo>
                  <a:cubicBezTo>
                    <a:pt x="368" y="23697"/>
                    <a:pt x="88" y="18948"/>
                    <a:pt x="279" y="14198"/>
                  </a:cubicBezTo>
                  <a:cubicBezTo>
                    <a:pt x="0" y="9461"/>
                    <a:pt x="215" y="4698"/>
                    <a:pt x="901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09" name="Free Form 3461">
              <a:extLst>
                <a:ext uri="{FF2B5EF4-FFF2-40B4-BE49-F238E27FC236}">
                  <a16:creationId xmlns:a16="http://schemas.microsoft.com/office/drawing/2014/main" id="{CE5DF1EB-9408-FB7E-6C89-D133242D0FEB}"/>
                </a:ext>
              </a:extLst>
            </p:cNvPr>
            <p:cNvSpPr/>
            <p:nvPr/>
          </p:nvSpPr>
          <p:spPr>
            <a:xfrm>
              <a:off x="25442792" y="30789428"/>
              <a:ext cx="91046" cy="39217"/>
            </a:xfrm>
            <a:custGeom>
              <a:avLst/>
              <a:gdLst/>
              <a:ahLst/>
              <a:cxnLst/>
              <a:rect l="0" t="0" r="0" b="0"/>
              <a:pathLst>
                <a:path w="91045" h="39217">
                  <a:moveTo>
                    <a:pt x="91045" y="0"/>
                  </a:moveTo>
                  <a:cubicBezTo>
                    <a:pt x="91019" y="368"/>
                    <a:pt x="90931" y="736"/>
                    <a:pt x="90791" y="1079"/>
                  </a:cubicBezTo>
                  <a:cubicBezTo>
                    <a:pt x="90511" y="2044"/>
                    <a:pt x="90181" y="2984"/>
                    <a:pt x="89800" y="3911"/>
                  </a:cubicBezTo>
                  <a:cubicBezTo>
                    <a:pt x="88352" y="7480"/>
                    <a:pt x="86447" y="10845"/>
                    <a:pt x="84123" y="13906"/>
                  </a:cubicBezTo>
                  <a:cubicBezTo>
                    <a:pt x="76275" y="24053"/>
                    <a:pt x="65404" y="31419"/>
                    <a:pt x="53085" y="34975"/>
                  </a:cubicBezTo>
                  <a:cubicBezTo>
                    <a:pt x="40830" y="38328"/>
                    <a:pt x="28041" y="39217"/>
                    <a:pt x="15443" y="37566"/>
                  </a:cubicBezTo>
                  <a:cubicBezTo>
                    <a:pt x="10617" y="36994"/>
                    <a:pt x="6756" y="36308"/>
                    <a:pt x="4089" y="35737"/>
                  </a:cubicBezTo>
                  <a:cubicBezTo>
                    <a:pt x="2692" y="35534"/>
                    <a:pt x="1320" y="35178"/>
                    <a:pt x="0" y="34696"/>
                  </a:cubicBezTo>
                  <a:cubicBezTo>
                    <a:pt x="1396" y="34759"/>
                    <a:pt x="2793" y="34924"/>
                    <a:pt x="4165" y="35178"/>
                  </a:cubicBezTo>
                  <a:cubicBezTo>
                    <a:pt x="6845" y="35546"/>
                    <a:pt x="10731" y="36080"/>
                    <a:pt x="15531" y="36512"/>
                  </a:cubicBezTo>
                  <a:cubicBezTo>
                    <a:pt x="27977" y="37883"/>
                    <a:pt x="40563" y="36918"/>
                    <a:pt x="52666" y="33667"/>
                  </a:cubicBezTo>
                  <a:cubicBezTo>
                    <a:pt x="64693" y="30174"/>
                    <a:pt x="75386" y="23126"/>
                    <a:pt x="83323" y="13423"/>
                  </a:cubicBezTo>
                  <a:cubicBezTo>
                    <a:pt x="86422" y="9270"/>
                    <a:pt x="89013" y="4762"/>
                    <a:pt x="91045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0" name="Free Form 3462">
              <a:extLst>
                <a:ext uri="{FF2B5EF4-FFF2-40B4-BE49-F238E27FC236}">
                  <a16:creationId xmlns:a16="http://schemas.microsoft.com/office/drawing/2014/main" id="{05102B56-F3A8-9961-4F22-1A1FFE95576F}"/>
                </a:ext>
              </a:extLst>
            </p:cNvPr>
            <p:cNvSpPr/>
            <p:nvPr/>
          </p:nvSpPr>
          <p:spPr>
            <a:xfrm>
              <a:off x="25444004" y="30829798"/>
              <a:ext cx="54431" cy="8700"/>
            </a:xfrm>
            <a:custGeom>
              <a:avLst/>
              <a:gdLst/>
              <a:ahLst/>
              <a:cxnLst/>
              <a:rect l="0" t="0" r="0" b="0"/>
              <a:pathLst>
                <a:path w="54431" h="8699">
                  <a:moveTo>
                    <a:pt x="54431" y="0"/>
                  </a:moveTo>
                  <a:cubicBezTo>
                    <a:pt x="51980" y="1155"/>
                    <a:pt x="49402" y="2044"/>
                    <a:pt x="46760" y="2641"/>
                  </a:cubicBezTo>
                  <a:cubicBezTo>
                    <a:pt x="34162" y="6134"/>
                    <a:pt x="21196" y="8102"/>
                    <a:pt x="8127" y="8483"/>
                  </a:cubicBezTo>
                  <a:cubicBezTo>
                    <a:pt x="5422" y="8699"/>
                    <a:pt x="2692" y="8623"/>
                    <a:pt x="0" y="8267"/>
                  </a:cubicBezTo>
                  <a:cubicBezTo>
                    <a:pt x="2666" y="7785"/>
                    <a:pt x="5359" y="7518"/>
                    <a:pt x="8064" y="7467"/>
                  </a:cubicBezTo>
                  <a:cubicBezTo>
                    <a:pt x="13042" y="7073"/>
                    <a:pt x="19875" y="6413"/>
                    <a:pt x="27406" y="5283"/>
                  </a:cubicBezTo>
                  <a:cubicBezTo>
                    <a:pt x="34924" y="4140"/>
                    <a:pt x="41604" y="2730"/>
                    <a:pt x="46506" y="1612"/>
                  </a:cubicBezTo>
                  <a:cubicBezTo>
                    <a:pt x="49110" y="901"/>
                    <a:pt x="51751" y="355"/>
                    <a:pt x="54431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1" name="Free Form 3463">
              <a:extLst>
                <a:ext uri="{FF2B5EF4-FFF2-40B4-BE49-F238E27FC236}">
                  <a16:creationId xmlns:a16="http://schemas.microsoft.com/office/drawing/2014/main" id="{5A4B086C-1924-62F4-7634-BD1300683DE1}"/>
                </a:ext>
              </a:extLst>
            </p:cNvPr>
            <p:cNvSpPr/>
            <p:nvPr/>
          </p:nvSpPr>
          <p:spPr>
            <a:xfrm>
              <a:off x="25442763" y="30840808"/>
              <a:ext cx="54025" cy="2756"/>
            </a:xfrm>
            <a:custGeom>
              <a:avLst/>
              <a:gdLst/>
              <a:ahLst/>
              <a:cxnLst/>
              <a:rect l="0" t="0" r="0" b="0"/>
              <a:pathLst>
                <a:path w="54025" h="2755">
                  <a:moveTo>
                    <a:pt x="54025" y="177"/>
                  </a:moveTo>
                  <a:cubicBezTo>
                    <a:pt x="51459" y="825"/>
                    <a:pt x="48830" y="1206"/>
                    <a:pt x="46189" y="1346"/>
                  </a:cubicBezTo>
                  <a:cubicBezTo>
                    <a:pt x="41299" y="1828"/>
                    <a:pt x="34543" y="2311"/>
                    <a:pt x="27050" y="2539"/>
                  </a:cubicBezTo>
                  <a:cubicBezTo>
                    <a:pt x="19557" y="2755"/>
                    <a:pt x="12852" y="2679"/>
                    <a:pt x="7924" y="2539"/>
                  </a:cubicBezTo>
                  <a:cubicBezTo>
                    <a:pt x="5257" y="2578"/>
                    <a:pt x="2603" y="2336"/>
                    <a:pt x="0" y="1828"/>
                  </a:cubicBezTo>
                  <a:cubicBezTo>
                    <a:pt x="2628" y="1511"/>
                    <a:pt x="5270" y="1409"/>
                    <a:pt x="7924" y="1511"/>
                  </a:cubicBezTo>
                  <a:cubicBezTo>
                    <a:pt x="12826" y="1511"/>
                    <a:pt x="19557" y="1371"/>
                    <a:pt x="27025" y="1142"/>
                  </a:cubicBezTo>
                  <a:cubicBezTo>
                    <a:pt x="34492" y="914"/>
                    <a:pt x="41223" y="596"/>
                    <a:pt x="46100" y="380"/>
                  </a:cubicBezTo>
                  <a:cubicBezTo>
                    <a:pt x="48729" y="63"/>
                    <a:pt x="51383" y="0"/>
                    <a:pt x="54025" y="17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2" name="Free Form 3464">
              <a:extLst>
                <a:ext uri="{FF2B5EF4-FFF2-40B4-BE49-F238E27FC236}">
                  <a16:creationId xmlns:a16="http://schemas.microsoft.com/office/drawing/2014/main" id="{A47FBF53-273E-4797-5D4F-32ADC3A43BF2}"/>
                </a:ext>
              </a:extLst>
            </p:cNvPr>
            <p:cNvSpPr/>
            <p:nvPr/>
          </p:nvSpPr>
          <p:spPr>
            <a:xfrm>
              <a:off x="25410117" y="30822619"/>
              <a:ext cx="15836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66"/>
                    <a:pt x="8534" y="29400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14"/>
                    <a:pt x="10528" y="2692"/>
                  </a:cubicBezTo>
                  <a:cubicBezTo>
                    <a:pt x="6603" y="5359"/>
                    <a:pt x="4000" y="9550"/>
                    <a:pt x="3340" y="14249"/>
                  </a:cubicBezTo>
                  <a:cubicBezTo>
                    <a:pt x="2920" y="18973"/>
                    <a:pt x="4546" y="23659"/>
                    <a:pt x="7797" y="27114"/>
                  </a:cubicBezTo>
                  <a:cubicBezTo>
                    <a:pt x="9258" y="28485"/>
                    <a:pt x="10807" y="29743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3" name="Free Form 3465">
              <a:extLst>
                <a:ext uri="{FF2B5EF4-FFF2-40B4-BE49-F238E27FC236}">
                  <a16:creationId xmlns:a16="http://schemas.microsoft.com/office/drawing/2014/main" id="{B660C1FB-F64E-A540-2E1E-C3C7C5948F53}"/>
                </a:ext>
              </a:extLst>
            </p:cNvPr>
            <p:cNvSpPr/>
            <p:nvPr/>
          </p:nvSpPr>
          <p:spPr>
            <a:xfrm>
              <a:off x="25404708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46"/>
                    <a:pt x="8674" y="838"/>
                    <a:pt x="10426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02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4" name="Free Form 3466">
              <a:extLst>
                <a:ext uri="{FF2B5EF4-FFF2-40B4-BE49-F238E27FC236}">
                  <a16:creationId xmlns:a16="http://schemas.microsoft.com/office/drawing/2014/main" id="{3366D5DF-47BF-1BFE-1FF1-1F747677306E}"/>
                </a:ext>
              </a:extLst>
            </p:cNvPr>
            <p:cNvSpPr/>
            <p:nvPr/>
          </p:nvSpPr>
          <p:spPr>
            <a:xfrm>
              <a:off x="25385418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12"/>
                    <a:pt x="12255" y="1701"/>
                    <a:pt x="10528" y="2692"/>
                  </a:cubicBezTo>
                  <a:cubicBezTo>
                    <a:pt x="3149" y="7365"/>
                    <a:pt x="952" y="17132"/>
                    <a:pt x="5638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82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5" name="Free Form 3467">
              <a:extLst>
                <a:ext uri="{FF2B5EF4-FFF2-40B4-BE49-F238E27FC236}">
                  <a16:creationId xmlns:a16="http://schemas.microsoft.com/office/drawing/2014/main" id="{973D9164-164A-E60E-A3B7-A28C378130D0}"/>
                </a:ext>
              </a:extLst>
            </p:cNvPr>
            <p:cNvSpPr/>
            <p:nvPr/>
          </p:nvSpPr>
          <p:spPr>
            <a:xfrm>
              <a:off x="25380037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28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6" name="Free Form 3468">
              <a:extLst>
                <a:ext uri="{FF2B5EF4-FFF2-40B4-BE49-F238E27FC236}">
                  <a16:creationId xmlns:a16="http://schemas.microsoft.com/office/drawing/2014/main" id="{D8D4F030-F282-0D5D-7B02-9F1F01EDDE65}"/>
                </a:ext>
              </a:extLst>
            </p:cNvPr>
            <p:cNvSpPr/>
            <p:nvPr/>
          </p:nvSpPr>
          <p:spPr>
            <a:xfrm>
              <a:off x="25360747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12"/>
                    <a:pt x="12255" y="1701"/>
                    <a:pt x="10528" y="2692"/>
                  </a:cubicBezTo>
                  <a:cubicBezTo>
                    <a:pt x="3149" y="7365"/>
                    <a:pt x="952" y="17132"/>
                    <a:pt x="5638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82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7" name="Free Form 3469">
              <a:extLst>
                <a:ext uri="{FF2B5EF4-FFF2-40B4-BE49-F238E27FC236}">
                  <a16:creationId xmlns:a16="http://schemas.microsoft.com/office/drawing/2014/main" id="{437F39CE-5F59-3736-D697-B133ACCFD53D}"/>
                </a:ext>
              </a:extLst>
            </p:cNvPr>
            <p:cNvSpPr/>
            <p:nvPr/>
          </p:nvSpPr>
          <p:spPr>
            <a:xfrm>
              <a:off x="25355366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28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8" name="Free Form 3470">
              <a:extLst>
                <a:ext uri="{FF2B5EF4-FFF2-40B4-BE49-F238E27FC236}">
                  <a16:creationId xmlns:a16="http://schemas.microsoft.com/office/drawing/2014/main" id="{0BE5B146-0D87-6EE8-9546-B613670CFA64}"/>
                </a:ext>
              </a:extLst>
            </p:cNvPr>
            <p:cNvSpPr/>
            <p:nvPr/>
          </p:nvSpPr>
          <p:spPr>
            <a:xfrm>
              <a:off x="25336079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509" y="30886"/>
                  </a:moveTo>
                  <a:cubicBezTo>
                    <a:pt x="10439" y="30479"/>
                    <a:pt x="8559" y="29412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00"/>
                    <a:pt x="12268" y="1701"/>
                    <a:pt x="10553" y="2692"/>
                  </a:cubicBezTo>
                  <a:cubicBezTo>
                    <a:pt x="3174" y="7315"/>
                    <a:pt x="952" y="17043"/>
                    <a:pt x="5575" y="24409"/>
                  </a:cubicBezTo>
                  <a:cubicBezTo>
                    <a:pt x="6184" y="25387"/>
                    <a:pt x="6908" y="26288"/>
                    <a:pt x="7708" y="27114"/>
                  </a:cubicBezTo>
                  <a:cubicBezTo>
                    <a:pt x="9194" y="28511"/>
                    <a:pt x="10807" y="29768"/>
                    <a:pt x="12509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19" name="Free Form 3471">
              <a:extLst>
                <a:ext uri="{FF2B5EF4-FFF2-40B4-BE49-F238E27FC236}">
                  <a16:creationId xmlns:a16="http://schemas.microsoft.com/office/drawing/2014/main" id="{EE4F3744-7C63-06DA-A91F-332F41A38A28}"/>
                </a:ext>
              </a:extLst>
            </p:cNvPr>
            <p:cNvSpPr/>
            <p:nvPr/>
          </p:nvSpPr>
          <p:spPr>
            <a:xfrm>
              <a:off x="25330707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4020" y="32168"/>
                  </a:moveTo>
                  <a:cubicBezTo>
                    <a:pt x="12090" y="31736"/>
                    <a:pt x="10337" y="30746"/>
                    <a:pt x="8966" y="29323"/>
                  </a:cubicBezTo>
                  <a:cubicBezTo>
                    <a:pt x="1257" y="22986"/>
                    <a:pt x="0" y="11658"/>
                    <a:pt x="6134" y="3784"/>
                  </a:cubicBezTo>
                  <a:cubicBezTo>
                    <a:pt x="7188" y="2133"/>
                    <a:pt x="8699" y="825"/>
                    <a:pt x="10477" y="0"/>
                  </a:cubicBezTo>
                  <a:cubicBezTo>
                    <a:pt x="10642" y="203"/>
                    <a:pt x="8851" y="1511"/>
                    <a:pt x="6984" y="4381"/>
                  </a:cubicBezTo>
                  <a:cubicBezTo>
                    <a:pt x="1828" y="12026"/>
                    <a:pt x="3035" y="22288"/>
                    <a:pt x="9816" y="28536"/>
                  </a:cubicBezTo>
                  <a:cubicBezTo>
                    <a:pt x="12115" y="31089"/>
                    <a:pt x="14134" y="31965"/>
                    <a:pt x="14020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0" name="Free Form 3472">
              <a:extLst>
                <a:ext uri="{FF2B5EF4-FFF2-40B4-BE49-F238E27FC236}">
                  <a16:creationId xmlns:a16="http://schemas.microsoft.com/office/drawing/2014/main" id="{1E9E92B4-5BB4-C391-90FB-1ECB3831C3E3}"/>
                </a:ext>
              </a:extLst>
            </p:cNvPr>
            <p:cNvSpPr/>
            <p:nvPr/>
          </p:nvSpPr>
          <p:spPr>
            <a:xfrm>
              <a:off x="25311459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00"/>
                    <a:pt x="12242" y="1701"/>
                    <a:pt x="10528" y="2692"/>
                  </a:cubicBezTo>
                  <a:cubicBezTo>
                    <a:pt x="3162" y="7315"/>
                    <a:pt x="927" y="17043"/>
                    <a:pt x="5562" y="24409"/>
                  </a:cubicBezTo>
                  <a:cubicBezTo>
                    <a:pt x="6172" y="25387"/>
                    <a:pt x="6883" y="26288"/>
                    <a:pt x="7683" y="27114"/>
                  </a:cubicBezTo>
                  <a:cubicBezTo>
                    <a:pt x="9169" y="28511"/>
                    <a:pt x="10756" y="29768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1" name="Free Form 3473">
              <a:extLst>
                <a:ext uri="{FF2B5EF4-FFF2-40B4-BE49-F238E27FC236}">
                  <a16:creationId xmlns:a16="http://schemas.microsoft.com/office/drawing/2014/main" id="{569BB4EF-C126-167A-7B94-7CBE1E85EBD1}"/>
                </a:ext>
              </a:extLst>
            </p:cNvPr>
            <p:cNvSpPr/>
            <p:nvPr/>
          </p:nvSpPr>
          <p:spPr>
            <a:xfrm>
              <a:off x="25307802" y="30822582"/>
              <a:ext cx="12369" cy="32144"/>
            </a:xfrm>
            <a:custGeom>
              <a:avLst/>
              <a:gdLst/>
              <a:ahLst/>
              <a:cxnLst/>
              <a:rect l="0" t="0" r="0" b="0"/>
              <a:pathLst>
                <a:path w="12369" h="32143">
                  <a:moveTo>
                    <a:pt x="12255" y="32143"/>
                  </a:moveTo>
                  <a:cubicBezTo>
                    <a:pt x="10324" y="31711"/>
                    <a:pt x="8572" y="30720"/>
                    <a:pt x="7200" y="29298"/>
                  </a:cubicBezTo>
                  <a:cubicBezTo>
                    <a:pt x="3517" y="26237"/>
                    <a:pt x="1168" y="21881"/>
                    <a:pt x="609" y="17119"/>
                  </a:cubicBezTo>
                  <a:cubicBezTo>
                    <a:pt x="126" y="12369"/>
                    <a:pt x="1447" y="7594"/>
                    <a:pt x="4330" y="3784"/>
                  </a:cubicBezTo>
                  <a:cubicBezTo>
                    <a:pt x="5410" y="2146"/>
                    <a:pt x="6908" y="838"/>
                    <a:pt x="8674" y="0"/>
                  </a:cubicBezTo>
                  <a:cubicBezTo>
                    <a:pt x="8851" y="203"/>
                    <a:pt x="7061" y="1511"/>
                    <a:pt x="5181" y="4381"/>
                  </a:cubicBezTo>
                  <a:cubicBezTo>
                    <a:pt x="0" y="11988"/>
                    <a:pt x="1142" y="22250"/>
                    <a:pt x="7886" y="28536"/>
                  </a:cubicBezTo>
                  <a:cubicBezTo>
                    <a:pt x="10350" y="31063"/>
                    <a:pt x="12369" y="31940"/>
                    <a:pt x="12255" y="3214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2" name="Free Form 3474">
              <a:extLst>
                <a:ext uri="{FF2B5EF4-FFF2-40B4-BE49-F238E27FC236}">
                  <a16:creationId xmlns:a16="http://schemas.microsoft.com/office/drawing/2014/main" id="{3609C6CA-0A47-7729-1E14-1BA4EDA5C8A9}"/>
                </a:ext>
              </a:extLst>
            </p:cNvPr>
            <p:cNvSpPr/>
            <p:nvPr/>
          </p:nvSpPr>
          <p:spPr>
            <a:xfrm>
              <a:off x="25286787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62" y="7315"/>
                    <a:pt x="927" y="17043"/>
                    <a:pt x="5549" y="24409"/>
                  </a:cubicBezTo>
                  <a:cubicBezTo>
                    <a:pt x="6172" y="25387"/>
                    <a:pt x="6883" y="26288"/>
                    <a:pt x="7683" y="27114"/>
                  </a:cubicBezTo>
                  <a:cubicBezTo>
                    <a:pt x="9169" y="28511"/>
                    <a:pt x="10756" y="29768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3" name="Free Form 3475">
              <a:extLst>
                <a:ext uri="{FF2B5EF4-FFF2-40B4-BE49-F238E27FC236}">
                  <a16:creationId xmlns:a16="http://schemas.microsoft.com/office/drawing/2014/main" id="{0D34FAC1-A01D-73DE-D3CE-CEFED2114FB4}"/>
                </a:ext>
              </a:extLst>
            </p:cNvPr>
            <p:cNvSpPr/>
            <p:nvPr/>
          </p:nvSpPr>
          <p:spPr>
            <a:xfrm>
              <a:off x="25281390" y="30822557"/>
              <a:ext cx="14109" cy="32169"/>
            </a:xfrm>
            <a:custGeom>
              <a:avLst/>
              <a:gdLst/>
              <a:ahLst/>
              <a:cxnLst/>
              <a:rect l="0" t="0" r="0" b="0"/>
              <a:pathLst>
                <a:path w="14109" h="32168">
                  <a:moveTo>
                    <a:pt x="13995" y="32168"/>
                  </a:moveTo>
                  <a:cubicBezTo>
                    <a:pt x="12077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108" y="3784"/>
                  </a:cubicBezTo>
                  <a:cubicBezTo>
                    <a:pt x="7175" y="2146"/>
                    <a:pt x="8674" y="838"/>
                    <a:pt x="10451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1777" y="11988"/>
                    <a:pt x="2920" y="22250"/>
                    <a:pt x="9651" y="28536"/>
                  </a:cubicBezTo>
                  <a:cubicBezTo>
                    <a:pt x="12090" y="31089"/>
                    <a:pt x="14109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4" name="Free Form 3476">
              <a:extLst>
                <a:ext uri="{FF2B5EF4-FFF2-40B4-BE49-F238E27FC236}">
                  <a16:creationId xmlns:a16="http://schemas.microsoft.com/office/drawing/2014/main" id="{03E32F0B-8725-9953-7BDF-7730D665D0D8}"/>
                </a:ext>
              </a:extLst>
            </p:cNvPr>
            <p:cNvSpPr/>
            <p:nvPr/>
          </p:nvSpPr>
          <p:spPr>
            <a:xfrm>
              <a:off x="25262116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5" name="Free Form 3477">
              <a:extLst>
                <a:ext uri="{FF2B5EF4-FFF2-40B4-BE49-F238E27FC236}">
                  <a16:creationId xmlns:a16="http://schemas.microsoft.com/office/drawing/2014/main" id="{795E30A4-5ADF-D24E-952B-6F1294ED2F29}"/>
                </a:ext>
              </a:extLst>
            </p:cNvPr>
            <p:cNvSpPr/>
            <p:nvPr/>
          </p:nvSpPr>
          <p:spPr>
            <a:xfrm>
              <a:off x="25256718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3995" y="32168"/>
                  </a:moveTo>
                  <a:cubicBezTo>
                    <a:pt x="12064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108" y="3784"/>
                  </a:cubicBezTo>
                  <a:cubicBezTo>
                    <a:pt x="7175" y="2146"/>
                    <a:pt x="8674" y="838"/>
                    <a:pt x="10451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4521" y="8089"/>
                    <a:pt x="3428" y="12534"/>
                    <a:pt x="3860" y="16954"/>
                  </a:cubicBezTo>
                  <a:cubicBezTo>
                    <a:pt x="4356" y="21348"/>
                    <a:pt x="6362" y="25437"/>
                    <a:pt x="9537" y="28536"/>
                  </a:cubicBezTo>
                  <a:cubicBezTo>
                    <a:pt x="12039" y="31089"/>
                    <a:pt x="14134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6" name="Free Form 3478">
              <a:extLst>
                <a:ext uri="{FF2B5EF4-FFF2-40B4-BE49-F238E27FC236}">
                  <a16:creationId xmlns:a16="http://schemas.microsoft.com/office/drawing/2014/main" id="{A2367414-0E06-1EC0-84EB-3C89E891F495}"/>
                </a:ext>
              </a:extLst>
            </p:cNvPr>
            <p:cNvSpPr/>
            <p:nvPr/>
          </p:nvSpPr>
          <p:spPr>
            <a:xfrm>
              <a:off x="25237444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66"/>
                    <a:pt x="8534" y="29400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7" name="Free Form 3479">
              <a:extLst>
                <a:ext uri="{FF2B5EF4-FFF2-40B4-BE49-F238E27FC236}">
                  <a16:creationId xmlns:a16="http://schemas.microsoft.com/office/drawing/2014/main" id="{95376B64-4C4F-9868-7726-5E1801D5E8C5}"/>
                </a:ext>
              </a:extLst>
            </p:cNvPr>
            <p:cNvSpPr/>
            <p:nvPr/>
          </p:nvSpPr>
          <p:spPr>
            <a:xfrm>
              <a:off x="25232021" y="30822557"/>
              <a:ext cx="14161" cy="32169"/>
            </a:xfrm>
            <a:custGeom>
              <a:avLst/>
              <a:gdLst/>
              <a:ahLst/>
              <a:cxnLst/>
              <a:rect l="0" t="0" r="0" b="0"/>
              <a:pathLst>
                <a:path w="14160" h="32168">
                  <a:moveTo>
                    <a:pt x="14020" y="32168"/>
                  </a:moveTo>
                  <a:cubicBezTo>
                    <a:pt x="12090" y="31736"/>
                    <a:pt x="10324" y="30746"/>
                    <a:pt x="8940" y="29323"/>
                  </a:cubicBezTo>
                  <a:cubicBezTo>
                    <a:pt x="1257" y="22974"/>
                    <a:pt x="0" y="11671"/>
                    <a:pt x="6095" y="3784"/>
                  </a:cubicBezTo>
                  <a:cubicBezTo>
                    <a:pt x="7175" y="2146"/>
                    <a:pt x="8674" y="838"/>
                    <a:pt x="10439" y="0"/>
                  </a:cubicBezTo>
                  <a:cubicBezTo>
                    <a:pt x="10617" y="203"/>
                    <a:pt x="8826" y="1511"/>
                    <a:pt x="6946" y="4381"/>
                  </a:cubicBezTo>
                  <a:cubicBezTo>
                    <a:pt x="1816" y="12026"/>
                    <a:pt x="3022" y="22275"/>
                    <a:pt x="9791" y="28536"/>
                  </a:cubicBezTo>
                  <a:cubicBezTo>
                    <a:pt x="12115" y="31089"/>
                    <a:pt x="14160" y="31965"/>
                    <a:pt x="14020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8" name="Free Form 3480">
              <a:extLst>
                <a:ext uri="{FF2B5EF4-FFF2-40B4-BE49-F238E27FC236}">
                  <a16:creationId xmlns:a16="http://schemas.microsoft.com/office/drawing/2014/main" id="{D1023FDD-9B32-9601-4AF6-BEB3EB3F3DE2}"/>
                </a:ext>
              </a:extLst>
            </p:cNvPr>
            <p:cNvSpPr/>
            <p:nvPr/>
          </p:nvSpPr>
          <p:spPr>
            <a:xfrm>
              <a:off x="25212772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66"/>
                    <a:pt x="8534" y="29400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55" y="1714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82" y="28485"/>
                    <a:pt x="10782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29" name="Free Form 3481">
              <a:extLst>
                <a:ext uri="{FF2B5EF4-FFF2-40B4-BE49-F238E27FC236}">
                  <a16:creationId xmlns:a16="http://schemas.microsoft.com/office/drawing/2014/main" id="{241CE1A8-C9EE-7F8F-5804-C1FC093DF237}"/>
                </a:ext>
              </a:extLst>
            </p:cNvPr>
            <p:cNvSpPr/>
            <p:nvPr/>
          </p:nvSpPr>
          <p:spPr>
            <a:xfrm>
              <a:off x="25207366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46"/>
                    <a:pt x="8674" y="838"/>
                    <a:pt x="10426" y="0"/>
                  </a:cubicBezTo>
                  <a:cubicBezTo>
                    <a:pt x="10591" y="203"/>
                    <a:pt x="8839" y="1511"/>
                    <a:pt x="6959" y="4381"/>
                  </a:cubicBezTo>
                  <a:cubicBezTo>
                    <a:pt x="1777" y="11988"/>
                    <a:pt x="2933" y="22250"/>
                    <a:pt x="9664" y="28536"/>
                  </a:cubicBezTo>
                  <a:cubicBezTo>
                    <a:pt x="12128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0" name="Free Form 3482">
              <a:extLst>
                <a:ext uri="{FF2B5EF4-FFF2-40B4-BE49-F238E27FC236}">
                  <a16:creationId xmlns:a16="http://schemas.microsoft.com/office/drawing/2014/main" id="{FDC04642-BDD8-C4FC-10F3-9BCE735AF538}"/>
                </a:ext>
              </a:extLst>
            </p:cNvPr>
            <p:cNvSpPr/>
            <p:nvPr/>
          </p:nvSpPr>
          <p:spPr>
            <a:xfrm>
              <a:off x="25188133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12"/>
                    <a:pt x="12242" y="1701"/>
                    <a:pt x="10528" y="2692"/>
                  </a:cubicBezTo>
                  <a:cubicBezTo>
                    <a:pt x="3149" y="7365"/>
                    <a:pt x="952" y="17132"/>
                    <a:pt x="5626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82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1" name="Free Form 3483">
              <a:extLst>
                <a:ext uri="{FF2B5EF4-FFF2-40B4-BE49-F238E27FC236}">
                  <a16:creationId xmlns:a16="http://schemas.microsoft.com/office/drawing/2014/main" id="{D15F97A8-2F39-799E-62D2-9E203D5E998B}"/>
                </a:ext>
              </a:extLst>
            </p:cNvPr>
            <p:cNvSpPr/>
            <p:nvPr/>
          </p:nvSpPr>
          <p:spPr>
            <a:xfrm>
              <a:off x="25182694" y="30822557"/>
              <a:ext cx="14148" cy="32169"/>
            </a:xfrm>
            <a:custGeom>
              <a:avLst/>
              <a:gdLst/>
              <a:ahLst/>
              <a:cxnLst/>
              <a:rect l="0" t="0" r="0" b="0"/>
              <a:pathLst>
                <a:path w="14147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451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242" y="31089"/>
                    <a:pt x="14147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2" name="Free Form 3484">
              <a:extLst>
                <a:ext uri="{FF2B5EF4-FFF2-40B4-BE49-F238E27FC236}">
                  <a16:creationId xmlns:a16="http://schemas.microsoft.com/office/drawing/2014/main" id="{D38CA3B7-3763-1E26-A685-1308F8191DDE}"/>
                </a:ext>
              </a:extLst>
            </p:cNvPr>
            <p:cNvSpPr/>
            <p:nvPr/>
          </p:nvSpPr>
          <p:spPr>
            <a:xfrm>
              <a:off x="25163405" y="30822619"/>
              <a:ext cx="15863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483" y="30886"/>
                  </a:moveTo>
                  <a:cubicBezTo>
                    <a:pt x="10426" y="30466"/>
                    <a:pt x="8559" y="29400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00"/>
                    <a:pt x="12268" y="1701"/>
                    <a:pt x="10553" y="2692"/>
                  </a:cubicBezTo>
                  <a:cubicBezTo>
                    <a:pt x="3174" y="7340"/>
                    <a:pt x="965" y="17094"/>
                    <a:pt x="5626" y="24472"/>
                  </a:cubicBezTo>
                  <a:cubicBezTo>
                    <a:pt x="6222" y="25425"/>
                    <a:pt x="6921" y="26301"/>
                    <a:pt x="7708" y="27114"/>
                  </a:cubicBezTo>
                  <a:cubicBezTo>
                    <a:pt x="9207" y="28485"/>
                    <a:pt x="10794" y="29755"/>
                    <a:pt x="12483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3" name="Free Form 3485">
              <a:extLst>
                <a:ext uri="{FF2B5EF4-FFF2-40B4-BE49-F238E27FC236}">
                  <a16:creationId xmlns:a16="http://schemas.microsoft.com/office/drawing/2014/main" id="{C42CD8CE-DBA8-31D3-3E45-6884C55B175F}"/>
                </a:ext>
              </a:extLst>
            </p:cNvPr>
            <p:cNvSpPr/>
            <p:nvPr/>
          </p:nvSpPr>
          <p:spPr>
            <a:xfrm>
              <a:off x="25158022" y="30822557"/>
              <a:ext cx="14198" cy="32169"/>
            </a:xfrm>
            <a:custGeom>
              <a:avLst/>
              <a:gdLst/>
              <a:ahLst/>
              <a:cxnLst/>
              <a:rect l="0" t="0" r="0" b="0"/>
              <a:pathLst>
                <a:path w="14198" h="32168">
                  <a:moveTo>
                    <a:pt x="14033" y="32168"/>
                  </a:moveTo>
                  <a:cubicBezTo>
                    <a:pt x="12102" y="31736"/>
                    <a:pt x="10337" y="30746"/>
                    <a:pt x="8953" y="29323"/>
                  </a:cubicBezTo>
                  <a:cubicBezTo>
                    <a:pt x="1257" y="22986"/>
                    <a:pt x="0" y="11658"/>
                    <a:pt x="6108" y="3784"/>
                  </a:cubicBezTo>
                  <a:cubicBezTo>
                    <a:pt x="7175" y="2133"/>
                    <a:pt x="8686" y="825"/>
                    <a:pt x="10451" y="0"/>
                  </a:cubicBezTo>
                  <a:cubicBezTo>
                    <a:pt x="10629" y="203"/>
                    <a:pt x="8839" y="1511"/>
                    <a:pt x="6959" y="4381"/>
                  </a:cubicBezTo>
                  <a:cubicBezTo>
                    <a:pt x="1816" y="12026"/>
                    <a:pt x="3022" y="22288"/>
                    <a:pt x="9804" y="28536"/>
                  </a:cubicBezTo>
                  <a:cubicBezTo>
                    <a:pt x="12128" y="31089"/>
                    <a:pt x="14198" y="31965"/>
                    <a:pt x="14033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4" name="Free Form 3486">
              <a:extLst>
                <a:ext uri="{FF2B5EF4-FFF2-40B4-BE49-F238E27FC236}">
                  <a16:creationId xmlns:a16="http://schemas.microsoft.com/office/drawing/2014/main" id="{467DBACA-1F7C-2199-21BB-D649D1CCF344}"/>
                </a:ext>
              </a:extLst>
            </p:cNvPr>
            <p:cNvSpPr/>
            <p:nvPr/>
          </p:nvSpPr>
          <p:spPr>
            <a:xfrm>
              <a:off x="25138736" y="30822619"/>
              <a:ext cx="15862" cy="30886"/>
            </a:xfrm>
            <a:custGeom>
              <a:avLst/>
              <a:gdLst/>
              <a:ahLst/>
              <a:cxnLst/>
              <a:rect l="0" t="0" r="0" b="0"/>
              <a:pathLst>
                <a:path w="15862" h="30886">
                  <a:moveTo>
                    <a:pt x="12509" y="30886"/>
                  </a:moveTo>
                  <a:cubicBezTo>
                    <a:pt x="10439" y="30479"/>
                    <a:pt x="8559" y="29412"/>
                    <a:pt x="7150" y="27850"/>
                  </a:cubicBezTo>
                  <a:cubicBezTo>
                    <a:pt x="520" y="21869"/>
                    <a:pt x="0" y="11658"/>
                    <a:pt x="5981" y="5029"/>
                  </a:cubicBezTo>
                  <a:cubicBezTo>
                    <a:pt x="7137" y="3759"/>
                    <a:pt x="8483" y="2666"/>
                    <a:pt x="9982" y="1816"/>
                  </a:cubicBezTo>
                  <a:cubicBezTo>
                    <a:pt x="11709" y="622"/>
                    <a:pt x="13766" y="0"/>
                    <a:pt x="15862" y="25"/>
                  </a:cubicBezTo>
                  <a:cubicBezTo>
                    <a:pt x="14033" y="800"/>
                    <a:pt x="12268" y="1701"/>
                    <a:pt x="10553" y="2692"/>
                  </a:cubicBezTo>
                  <a:cubicBezTo>
                    <a:pt x="3174" y="7315"/>
                    <a:pt x="952" y="17043"/>
                    <a:pt x="5575" y="24409"/>
                  </a:cubicBezTo>
                  <a:cubicBezTo>
                    <a:pt x="6184" y="25387"/>
                    <a:pt x="6908" y="26288"/>
                    <a:pt x="7708" y="27114"/>
                  </a:cubicBezTo>
                  <a:cubicBezTo>
                    <a:pt x="9194" y="28511"/>
                    <a:pt x="10807" y="29768"/>
                    <a:pt x="12509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5" name="Free Form 3487">
              <a:extLst>
                <a:ext uri="{FF2B5EF4-FFF2-40B4-BE49-F238E27FC236}">
                  <a16:creationId xmlns:a16="http://schemas.microsoft.com/office/drawing/2014/main" id="{34922FD2-7CE0-935B-8298-ED6BA2C3192B}"/>
                </a:ext>
              </a:extLst>
            </p:cNvPr>
            <p:cNvSpPr/>
            <p:nvPr/>
          </p:nvSpPr>
          <p:spPr>
            <a:xfrm>
              <a:off x="25135167" y="30822582"/>
              <a:ext cx="12332" cy="32144"/>
            </a:xfrm>
            <a:custGeom>
              <a:avLst/>
              <a:gdLst/>
              <a:ahLst/>
              <a:cxnLst/>
              <a:rect l="0" t="0" r="0" b="0"/>
              <a:pathLst>
                <a:path w="12331" h="32143">
                  <a:moveTo>
                    <a:pt x="12217" y="32143"/>
                  </a:moveTo>
                  <a:cubicBezTo>
                    <a:pt x="10299" y="31711"/>
                    <a:pt x="8534" y="30720"/>
                    <a:pt x="7162" y="29298"/>
                  </a:cubicBezTo>
                  <a:cubicBezTo>
                    <a:pt x="3492" y="26237"/>
                    <a:pt x="1117" y="21881"/>
                    <a:pt x="546" y="17119"/>
                  </a:cubicBezTo>
                  <a:cubicBezTo>
                    <a:pt x="76" y="12369"/>
                    <a:pt x="1422" y="7607"/>
                    <a:pt x="4292" y="3784"/>
                  </a:cubicBezTo>
                  <a:cubicBezTo>
                    <a:pt x="5359" y="2133"/>
                    <a:pt x="6870" y="825"/>
                    <a:pt x="8635" y="0"/>
                  </a:cubicBezTo>
                  <a:cubicBezTo>
                    <a:pt x="8813" y="203"/>
                    <a:pt x="7023" y="1511"/>
                    <a:pt x="5143" y="4381"/>
                  </a:cubicBezTo>
                  <a:cubicBezTo>
                    <a:pt x="0" y="12026"/>
                    <a:pt x="1206" y="22288"/>
                    <a:pt x="7988" y="28536"/>
                  </a:cubicBezTo>
                  <a:cubicBezTo>
                    <a:pt x="10312" y="31063"/>
                    <a:pt x="12331" y="31940"/>
                    <a:pt x="12217" y="3214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6" name="Free Form 3488">
              <a:extLst>
                <a:ext uri="{FF2B5EF4-FFF2-40B4-BE49-F238E27FC236}">
                  <a16:creationId xmlns:a16="http://schemas.microsoft.com/office/drawing/2014/main" id="{6EC0FB40-0820-4C8F-8371-3F4E47EA0816}"/>
                </a:ext>
              </a:extLst>
            </p:cNvPr>
            <p:cNvSpPr/>
            <p:nvPr/>
          </p:nvSpPr>
          <p:spPr>
            <a:xfrm>
              <a:off x="25114002" y="30822619"/>
              <a:ext cx="15836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572" y="30886"/>
                  </a:moveTo>
                  <a:cubicBezTo>
                    <a:pt x="10464" y="30505"/>
                    <a:pt x="8547" y="29438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00"/>
                    <a:pt x="12242" y="1701"/>
                    <a:pt x="10528" y="2692"/>
                  </a:cubicBezTo>
                  <a:cubicBezTo>
                    <a:pt x="3162" y="7315"/>
                    <a:pt x="927" y="17043"/>
                    <a:pt x="5562" y="24409"/>
                  </a:cubicBezTo>
                  <a:cubicBezTo>
                    <a:pt x="6172" y="25387"/>
                    <a:pt x="6883" y="26288"/>
                    <a:pt x="7683" y="27114"/>
                  </a:cubicBezTo>
                  <a:cubicBezTo>
                    <a:pt x="9207" y="28511"/>
                    <a:pt x="10832" y="29768"/>
                    <a:pt x="12572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7" name="Free Form 3489">
              <a:extLst>
                <a:ext uri="{FF2B5EF4-FFF2-40B4-BE49-F238E27FC236}">
                  <a16:creationId xmlns:a16="http://schemas.microsoft.com/office/drawing/2014/main" id="{997155FF-FF9F-A2EE-572A-880981CFF596}"/>
                </a:ext>
              </a:extLst>
            </p:cNvPr>
            <p:cNvSpPr/>
            <p:nvPr/>
          </p:nvSpPr>
          <p:spPr>
            <a:xfrm>
              <a:off x="25110495" y="30822582"/>
              <a:ext cx="12332" cy="32144"/>
            </a:xfrm>
            <a:custGeom>
              <a:avLst/>
              <a:gdLst/>
              <a:ahLst/>
              <a:cxnLst/>
              <a:rect l="0" t="0" r="0" b="0"/>
              <a:pathLst>
                <a:path w="12331" h="32143">
                  <a:moveTo>
                    <a:pt x="12217" y="32143"/>
                  </a:moveTo>
                  <a:cubicBezTo>
                    <a:pt x="10286" y="31711"/>
                    <a:pt x="8534" y="30720"/>
                    <a:pt x="7162" y="29298"/>
                  </a:cubicBezTo>
                  <a:cubicBezTo>
                    <a:pt x="3479" y="26237"/>
                    <a:pt x="1130" y="21881"/>
                    <a:pt x="571" y="17119"/>
                  </a:cubicBezTo>
                  <a:cubicBezTo>
                    <a:pt x="88" y="12369"/>
                    <a:pt x="1422" y="7594"/>
                    <a:pt x="4292" y="3784"/>
                  </a:cubicBezTo>
                  <a:cubicBezTo>
                    <a:pt x="5372" y="2146"/>
                    <a:pt x="6870" y="838"/>
                    <a:pt x="8635" y="0"/>
                  </a:cubicBezTo>
                  <a:cubicBezTo>
                    <a:pt x="8813" y="203"/>
                    <a:pt x="7023" y="1511"/>
                    <a:pt x="5143" y="4381"/>
                  </a:cubicBezTo>
                  <a:cubicBezTo>
                    <a:pt x="0" y="12026"/>
                    <a:pt x="1206" y="22288"/>
                    <a:pt x="7988" y="28536"/>
                  </a:cubicBezTo>
                  <a:cubicBezTo>
                    <a:pt x="10312" y="31063"/>
                    <a:pt x="12331" y="31940"/>
                    <a:pt x="12217" y="3214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8" name="Free Form 3490">
              <a:extLst>
                <a:ext uri="{FF2B5EF4-FFF2-40B4-BE49-F238E27FC236}">
                  <a16:creationId xmlns:a16="http://schemas.microsoft.com/office/drawing/2014/main" id="{A75EBCE9-E0DB-2AB8-7CD1-E2A1518DD862}"/>
                </a:ext>
              </a:extLst>
            </p:cNvPr>
            <p:cNvSpPr/>
            <p:nvPr/>
          </p:nvSpPr>
          <p:spPr>
            <a:xfrm>
              <a:off x="25089444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39" name="Free Form 3491">
              <a:extLst>
                <a:ext uri="{FF2B5EF4-FFF2-40B4-BE49-F238E27FC236}">
                  <a16:creationId xmlns:a16="http://schemas.microsoft.com/office/drawing/2014/main" id="{6321D7A4-8E7C-2C13-454F-736FF1A096FF}"/>
                </a:ext>
              </a:extLst>
            </p:cNvPr>
            <p:cNvSpPr/>
            <p:nvPr/>
          </p:nvSpPr>
          <p:spPr>
            <a:xfrm>
              <a:off x="25084046" y="30822557"/>
              <a:ext cx="14110" cy="32169"/>
            </a:xfrm>
            <a:custGeom>
              <a:avLst/>
              <a:gdLst/>
              <a:ahLst/>
              <a:cxnLst/>
              <a:rect l="0" t="0" r="0" b="0"/>
              <a:pathLst>
                <a:path w="14109" h="32168">
                  <a:moveTo>
                    <a:pt x="13995" y="32168"/>
                  </a:moveTo>
                  <a:cubicBezTo>
                    <a:pt x="12064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108" y="3784"/>
                  </a:cubicBezTo>
                  <a:cubicBezTo>
                    <a:pt x="7175" y="2146"/>
                    <a:pt x="8674" y="838"/>
                    <a:pt x="10451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1841" y="12039"/>
                    <a:pt x="3047" y="22262"/>
                    <a:pt x="9791" y="28536"/>
                  </a:cubicBezTo>
                  <a:cubicBezTo>
                    <a:pt x="12090" y="31089"/>
                    <a:pt x="14109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0" name="Free Form 3492">
              <a:extLst>
                <a:ext uri="{FF2B5EF4-FFF2-40B4-BE49-F238E27FC236}">
                  <a16:creationId xmlns:a16="http://schemas.microsoft.com/office/drawing/2014/main" id="{838A2858-58B9-5A6C-D980-0E9FE17DBFFA}"/>
                </a:ext>
              </a:extLst>
            </p:cNvPr>
            <p:cNvSpPr/>
            <p:nvPr/>
          </p:nvSpPr>
          <p:spPr>
            <a:xfrm>
              <a:off x="25064772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458" y="30886"/>
                  </a:moveTo>
                  <a:cubicBezTo>
                    <a:pt x="10401" y="30479"/>
                    <a:pt x="8521" y="29412"/>
                    <a:pt x="7124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20" y="812"/>
                    <a:pt x="12242" y="1701"/>
                    <a:pt x="10528" y="2692"/>
                  </a:cubicBezTo>
                  <a:cubicBezTo>
                    <a:pt x="3149" y="7365"/>
                    <a:pt x="965" y="17132"/>
                    <a:pt x="5638" y="24510"/>
                  </a:cubicBezTo>
                  <a:cubicBezTo>
                    <a:pt x="6222" y="25450"/>
                    <a:pt x="6921" y="26314"/>
                    <a:pt x="7696" y="27114"/>
                  </a:cubicBezTo>
                  <a:cubicBezTo>
                    <a:pt x="9169" y="28498"/>
                    <a:pt x="10769" y="29755"/>
                    <a:pt x="12458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1" name="Free Form 3493">
              <a:extLst>
                <a:ext uri="{FF2B5EF4-FFF2-40B4-BE49-F238E27FC236}">
                  <a16:creationId xmlns:a16="http://schemas.microsoft.com/office/drawing/2014/main" id="{4BFE9F89-F72A-1833-9572-42E934ADC547}"/>
                </a:ext>
              </a:extLst>
            </p:cNvPr>
            <p:cNvSpPr/>
            <p:nvPr/>
          </p:nvSpPr>
          <p:spPr>
            <a:xfrm>
              <a:off x="25059376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3995" y="32168"/>
                  </a:moveTo>
                  <a:cubicBezTo>
                    <a:pt x="12064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095" y="3784"/>
                  </a:cubicBezTo>
                  <a:cubicBezTo>
                    <a:pt x="7175" y="2146"/>
                    <a:pt x="8674" y="838"/>
                    <a:pt x="10439" y="0"/>
                  </a:cubicBezTo>
                  <a:cubicBezTo>
                    <a:pt x="10617" y="203"/>
                    <a:pt x="8826" y="1511"/>
                    <a:pt x="6959" y="4381"/>
                  </a:cubicBezTo>
                  <a:cubicBezTo>
                    <a:pt x="4521" y="8089"/>
                    <a:pt x="3428" y="12534"/>
                    <a:pt x="3860" y="16954"/>
                  </a:cubicBezTo>
                  <a:cubicBezTo>
                    <a:pt x="4394" y="21373"/>
                    <a:pt x="6451" y="25463"/>
                    <a:pt x="9677" y="28536"/>
                  </a:cubicBezTo>
                  <a:cubicBezTo>
                    <a:pt x="12090" y="31089"/>
                    <a:pt x="14134" y="31965"/>
                    <a:pt x="13995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2" name="Free Form 3494">
              <a:extLst>
                <a:ext uri="{FF2B5EF4-FFF2-40B4-BE49-F238E27FC236}">
                  <a16:creationId xmlns:a16="http://schemas.microsoft.com/office/drawing/2014/main" id="{67D87337-7CBF-C880-46C4-13B0CE6957EC}"/>
                </a:ext>
              </a:extLst>
            </p:cNvPr>
            <p:cNvSpPr/>
            <p:nvPr/>
          </p:nvSpPr>
          <p:spPr>
            <a:xfrm>
              <a:off x="25040190" y="30822619"/>
              <a:ext cx="15837" cy="30886"/>
            </a:xfrm>
            <a:custGeom>
              <a:avLst/>
              <a:gdLst/>
              <a:ahLst/>
              <a:cxnLst/>
              <a:rect l="0" t="0" r="0" b="0"/>
              <a:pathLst>
                <a:path w="15836" h="30886">
                  <a:moveTo>
                    <a:pt x="12369" y="30886"/>
                  </a:moveTo>
                  <a:cubicBezTo>
                    <a:pt x="10337" y="30454"/>
                    <a:pt x="8508" y="29387"/>
                    <a:pt x="7111" y="27850"/>
                  </a:cubicBezTo>
                  <a:cubicBezTo>
                    <a:pt x="495" y="21843"/>
                    <a:pt x="0" y="11607"/>
                    <a:pt x="6007" y="4991"/>
                  </a:cubicBezTo>
                  <a:cubicBezTo>
                    <a:pt x="7150" y="3733"/>
                    <a:pt x="8483" y="2654"/>
                    <a:pt x="9956" y="1816"/>
                  </a:cubicBezTo>
                  <a:cubicBezTo>
                    <a:pt x="11683" y="622"/>
                    <a:pt x="13741" y="0"/>
                    <a:pt x="15836" y="25"/>
                  </a:cubicBezTo>
                  <a:cubicBezTo>
                    <a:pt x="14007" y="812"/>
                    <a:pt x="12242" y="1701"/>
                    <a:pt x="10528" y="2692"/>
                  </a:cubicBezTo>
                  <a:cubicBezTo>
                    <a:pt x="3149" y="7365"/>
                    <a:pt x="952" y="17132"/>
                    <a:pt x="5626" y="24510"/>
                  </a:cubicBezTo>
                  <a:cubicBezTo>
                    <a:pt x="6222" y="25450"/>
                    <a:pt x="6908" y="26314"/>
                    <a:pt x="7683" y="27114"/>
                  </a:cubicBezTo>
                  <a:cubicBezTo>
                    <a:pt x="9143" y="28498"/>
                    <a:pt x="10705" y="29755"/>
                    <a:pt x="12369" y="308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3" name="Free Form 3495">
              <a:extLst>
                <a:ext uri="{FF2B5EF4-FFF2-40B4-BE49-F238E27FC236}">
                  <a16:creationId xmlns:a16="http://schemas.microsoft.com/office/drawing/2014/main" id="{0CEA5E15-671C-CB55-4C5B-91ECC8FAEDE2}"/>
                </a:ext>
              </a:extLst>
            </p:cNvPr>
            <p:cNvSpPr/>
            <p:nvPr/>
          </p:nvSpPr>
          <p:spPr>
            <a:xfrm>
              <a:off x="25034707" y="30822557"/>
              <a:ext cx="14135" cy="32169"/>
            </a:xfrm>
            <a:custGeom>
              <a:avLst/>
              <a:gdLst/>
              <a:ahLst/>
              <a:cxnLst/>
              <a:rect l="0" t="0" r="0" b="0"/>
              <a:pathLst>
                <a:path w="14134" h="32168">
                  <a:moveTo>
                    <a:pt x="14020" y="32168"/>
                  </a:moveTo>
                  <a:cubicBezTo>
                    <a:pt x="12090" y="31736"/>
                    <a:pt x="10312" y="30746"/>
                    <a:pt x="8940" y="29323"/>
                  </a:cubicBezTo>
                  <a:cubicBezTo>
                    <a:pt x="1257" y="22974"/>
                    <a:pt x="0" y="11671"/>
                    <a:pt x="6095" y="3784"/>
                  </a:cubicBezTo>
                  <a:cubicBezTo>
                    <a:pt x="7175" y="2146"/>
                    <a:pt x="8674" y="838"/>
                    <a:pt x="10439" y="0"/>
                  </a:cubicBezTo>
                  <a:cubicBezTo>
                    <a:pt x="10617" y="203"/>
                    <a:pt x="8851" y="1511"/>
                    <a:pt x="6984" y="4381"/>
                  </a:cubicBezTo>
                  <a:cubicBezTo>
                    <a:pt x="1828" y="12026"/>
                    <a:pt x="3035" y="22288"/>
                    <a:pt x="9816" y="28536"/>
                  </a:cubicBezTo>
                  <a:cubicBezTo>
                    <a:pt x="12090" y="31089"/>
                    <a:pt x="14134" y="31965"/>
                    <a:pt x="14020" y="3216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4" name="Free Form 3500">
              <a:extLst>
                <a:ext uri="{FF2B5EF4-FFF2-40B4-BE49-F238E27FC236}">
                  <a16:creationId xmlns:a16="http://schemas.microsoft.com/office/drawing/2014/main" id="{5BE064CC-2916-2836-3895-F7E501615D3A}"/>
                </a:ext>
              </a:extLst>
            </p:cNvPr>
            <p:cNvSpPr/>
            <p:nvPr/>
          </p:nvSpPr>
          <p:spPr>
            <a:xfrm>
              <a:off x="25060822" y="30786337"/>
              <a:ext cx="41961" cy="12687"/>
            </a:xfrm>
            <a:custGeom>
              <a:avLst/>
              <a:gdLst/>
              <a:ahLst/>
              <a:cxnLst/>
              <a:rect l="0" t="0" r="0" b="0"/>
              <a:pathLst>
                <a:path w="41960" h="12687">
                  <a:moveTo>
                    <a:pt x="41960" y="12687"/>
                  </a:moveTo>
                  <a:cubicBezTo>
                    <a:pt x="39814" y="12636"/>
                    <a:pt x="37667" y="12306"/>
                    <a:pt x="35597" y="11721"/>
                  </a:cubicBezTo>
                  <a:cubicBezTo>
                    <a:pt x="31711" y="10921"/>
                    <a:pt x="26377" y="9588"/>
                    <a:pt x="20548" y="7861"/>
                  </a:cubicBezTo>
                  <a:cubicBezTo>
                    <a:pt x="14731" y="6134"/>
                    <a:pt x="9562" y="4279"/>
                    <a:pt x="5880" y="2832"/>
                  </a:cubicBezTo>
                  <a:cubicBezTo>
                    <a:pt x="3797" y="2146"/>
                    <a:pt x="1828" y="1193"/>
                    <a:pt x="0" y="0"/>
                  </a:cubicBezTo>
                  <a:cubicBezTo>
                    <a:pt x="2133" y="342"/>
                    <a:pt x="4216" y="914"/>
                    <a:pt x="6222" y="1701"/>
                  </a:cubicBezTo>
                  <a:cubicBezTo>
                    <a:pt x="9994" y="2920"/>
                    <a:pt x="15189" y="4533"/>
                    <a:pt x="20980" y="6299"/>
                  </a:cubicBezTo>
                  <a:cubicBezTo>
                    <a:pt x="26771" y="8064"/>
                    <a:pt x="32029" y="9512"/>
                    <a:pt x="35851" y="10578"/>
                  </a:cubicBezTo>
                  <a:cubicBezTo>
                    <a:pt x="37959" y="11061"/>
                    <a:pt x="40004" y="11760"/>
                    <a:pt x="41960" y="12687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5" name="Free Form 3501">
              <a:extLst>
                <a:ext uri="{FF2B5EF4-FFF2-40B4-BE49-F238E27FC236}">
                  <a16:creationId xmlns:a16="http://schemas.microsoft.com/office/drawing/2014/main" id="{9C61121B-0A0F-8C3D-B065-F003EA440F73}"/>
                </a:ext>
              </a:extLst>
            </p:cNvPr>
            <p:cNvSpPr/>
            <p:nvPr/>
          </p:nvSpPr>
          <p:spPr>
            <a:xfrm>
              <a:off x="25156133" y="30795560"/>
              <a:ext cx="35598" cy="18148"/>
            </a:xfrm>
            <a:custGeom>
              <a:avLst/>
              <a:gdLst/>
              <a:ahLst/>
              <a:cxnLst/>
              <a:rect l="0" t="0" r="0" b="0"/>
              <a:pathLst>
                <a:path w="35597" h="18148">
                  <a:moveTo>
                    <a:pt x="35597" y="0"/>
                  </a:moveTo>
                  <a:cubicBezTo>
                    <a:pt x="34111" y="1295"/>
                    <a:pt x="32473" y="2387"/>
                    <a:pt x="30708" y="3263"/>
                  </a:cubicBezTo>
                  <a:cubicBezTo>
                    <a:pt x="27596" y="5079"/>
                    <a:pt x="23215" y="7518"/>
                    <a:pt x="18275" y="10020"/>
                  </a:cubicBezTo>
                  <a:cubicBezTo>
                    <a:pt x="13334" y="12522"/>
                    <a:pt x="8826" y="14681"/>
                    <a:pt x="5499" y="16128"/>
                  </a:cubicBezTo>
                  <a:cubicBezTo>
                    <a:pt x="3771" y="17055"/>
                    <a:pt x="1917" y="17729"/>
                    <a:pt x="0" y="18148"/>
                  </a:cubicBezTo>
                  <a:cubicBezTo>
                    <a:pt x="5689" y="14681"/>
                    <a:pt x="11569" y="11531"/>
                    <a:pt x="17602" y="8712"/>
                  </a:cubicBezTo>
                  <a:cubicBezTo>
                    <a:pt x="23431" y="5473"/>
                    <a:pt x="29438" y="2565"/>
                    <a:pt x="35597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6" name="Free Form 3502">
              <a:extLst>
                <a:ext uri="{FF2B5EF4-FFF2-40B4-BE49-F238E27FC236}">
                  <a16:creationId xmlns:a16="http://schemas.microsoft.com/office/drawing/2014/main" id="{0E0F9186-CF2B-CAA1-EBD4-8FC553074568}"/>
                </a:ext>
              </a:extLst>
            </p:cNvPr>
            <p:cNvSpPr/>
            <p:nvPr/>
          </p:nvSpPr>
          <p:spPr>
            <a:xfrm>
              <a:off x="25173441" y="30793885"/>
              <a:ext cx="38163" cy="21412"/>
            </a:xfrm>
            <a:custGeom>
              <a:avLst/>
              <a:gdLst/>
              <a:ahLst/>
              <a:cxnLst/>
              <a:rect l="0" t="0" r="0" b="0"/>
              <a:pathLst>
                <a:path w="38163" h="21411">
                  <a:moveTo>
                    <a:pt x="38163" y="0"/>
                  </a:moveTo>
                  <a:cubicBezTo>
                    <a:pt x="32194" y="4216"/>
                    <a:pt x="25945" y="8000"/>
                    <a:pt x="19456" y="11353"/>
                  </a:cubicBezTo>
                  <a:cubicBezTo>
                    <a:pt x="13207" y="15150"/>
                    <a:pt x="6718" y="18516"/>
                    <a:pt x="0" y="21411"/>
                  </a:cubicBezTo>
                  <a:cubicBezTo>
                    <a:pt x="5981" y="17208"/>
                    <a:pt x="12229" y="13423"/>
                    <a:pt x="18719" y="10045"/>
                  </a:cubicBezTo>
                  <a:cubicBezTo>
                    <a:pt x="24967" y="6286"/>
                    <a:pt x="31470" y="2920"/>
                    <a:pt x="38163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7" name="Free Form 3503">
              <a:extLst>
                <a:ext uri="{FF2B5EF4-FFF2-40B4-BE49-F238E27FC236}">
                  <a16:creationId xmlns:a16="http://schemas.microsoft.com/office/drawing/2014/main" id="{E153FB81-F5A4-92A3-FB47-8819B191C8BE}"/>
                </a:ext>
              </a:extLst>
            </p:cNvPr>
            <p:cNvSpPr/>
            <p:nvPr/>
          </p:nvSpPr>
          <p:spPr>
            <a:xfrm>
              <a:off x="25189998" y="30795105"/>
              <a:ext cx="28676" cy="19253"/>
            </a:xfrm>
            <a:custGeom>
              <a:avLst/>
              <a:gdLst/>
              <a:ahLst/>
              <a:cxnLst/>
              <a:rect l="0" t="0" r="0" b="0"/>
              <a:pathLst>
                <a:path w="28676" h="19252">
                  <a:moveTo>
                    <a:pt x="28676" y="0"/>
                  </a:moveTo>
                  <a:cubicBezTo>
                    <a:pt x="24332" y="3797"/>
                    <a:pt x="19684" y="7226"/>
                    <a:pt x="14769" y="10248"/>
                  </a:cubicBezTo>
                  <a:cubicBezTo>
                    <a:pt x="10109" y="13652"/>
                    <a:pt x="5168" y="16662"/>
                    <a:pt x="0" y="19252"/>
                  </a:cubicBezTo>
                  <a:cubicBezTo>
                    <a:pt x="4343" y="15443"/>
                    <a:pt x="9016" y="12014"/>
                    <a:pt x="13944" y="9004"/>
                  </a:cubicBezTo>
                  <a:cubicBezTo>
                    <a:pt x="18592" y="5587"/>
                    <a:pt x="23520" y="2578"/>
                    <a:pt x="2867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8" name="Free Form 3504">
              <a:extLst>
                <a:ext uri="{FF2B5EF4-FFF2-40B4-BE49-F238E27FC236}">
                  <a16:creationId xmlns:a16="http://schemas.microsoft.com/office/drawing/2014/main" id="{FAA6AF72-3B65-ACE5-90EA-5BFAA4054267}"/>
                </a:ext>
              </a:extLst>
            </p:cNvPr>
            <p:cNvSpPr/>
            <p:nvPr/>
          </p:nvSpPr>
          <p:spPr>
            <a:xfrm>
              <a:off x="25216879" y="30793885"/>
              <a:ext cx="37681" cy="23139"/>
            </a:xfrm>
            <a:custGeom>
              <a:avLst/>
              <a:gdLst/>
              <a:ahLst/>
              <a:cxnLst/>
              <a:rect l="0" t="0" r="0" b="0"/>
              <a:pathLst>
                <a:path w="37680" h="23139">
                  <a:moveTo>
                    <a:pt x="37680" y="0"/>
                  </a:moveTo>
                  <a:cubicBezTo>
                    <a:pt x="31800" y="4470"/>
                    <a:pt x="25641" y="8547"/>
                    <a:pt x="19227" y="12204"/>
                  </a:cubicBezTo>
                  <a:cubicBezTo>
                    <a:pt x="13068" y="16281"/>
                    <a:pt x="6654" y="19926"/>
                    <a:pt x="0" y="23139"/>
                  </a:cubicBezTo>
                  <a:cubicBezTo>
                    <a:pt x="5880" y="18668"/>
                    <a:pt x="12052" y="14592"/>
                    <a:pt x="18465" y="10934"/>
                  </a:cubicBezTo>
                  <a:cubicBezTo>
                    <a:pt x="24625" y="6870"/>
                    <a:pt x="31038" y="3225"/>
                    <a:pt x="37680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49" name="Free Form 3505">
              <a:extLst>
                <a:ext uri="{FF2B5EF4-FFF2-40B4-BE49-F238E27FC236}">
                  <a16:creationId xmlns:a16="http://schemas.microsoft.com/office/drawing/2014/main" id="{C91EA64B-E77E-59C8-9F6A-7CAA18F84F14}"/>
                </a:ext>
              </a:extLst>
            </p:cNvPr>
            <p:cNvSpPr/>
            <p:nvPr/>
          </p:nvSpPr>
          <p:spPr>
            <a:xfrm>
              <a:off x="25232250" y="30794452"/>
              <a:ext cx="35052" cy="22085"/>
            </a:xfrm>
            <a:custGeom>
              <a:avLst/>
              <a:gdLst/>
              <a:ahLst/>
              <a:cxnLst/>
              <a:rect l="0" t="0" r="0" b="0"/>
              <a:pathLst>
                <a:path w="35051" h="22085">
                  <a:moveTo>
                    <a:pt x="34886" y="0"/>
                  </a:moveTo>
                  <a:cubicBezTo>
                    <a:pt x="35051" y="393"/>
                    <a:pt x="26796" y="4457"/>
                    <a:pt x="17170" y="10477"/>
                  </a:cubicBezTo>
                  <a:cubicBezTo>
                    <a:pt x="7543" y="16497"/>
                    <a:pt x="279" y="22085"/>
                    <a:pt x="0" y="21831"/>
                  </a:cubicBezTo>
                  <a:cubicBezTo>
                    <a:pt x="1282" y="20256"/>
                    <a:pt x="2781" y="18871"/>
                    <a:pt x="4457" y="17716"/>
                  </a:cubicBezTo>
                  <a:cubicBezTo>
                    <a:pt x="8267" y="14642"/>
                    <a:pt x="12255" y="11810"/>
                    <a:pt x="16408" y="9194"/>
                  </a:cubicBezTo>
                  <a:cubicBezTo>
                    <a:pt x="20535" y="6616"/>
                    <a:pt x="24828" y="4279"/>
                    <a:pt x="29235" y="2209"/>
                  </a:cubicBezTo>
                  <a:cubicBezTo>
                    <a:pt x="31013" y="1219"/>
                    <a:pt x="32905" y="482"/>
                    <a:pt x="3488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0" name="Free Form 3506">
              <a:extLst>
                <a:ext uri="{FF2B5EF4-FFF2-40B4-BE49-F238E27FC236}">
                  <a16:creationId xmlns:a16="http://schemas.microsoft.com/office/drawing/2014/main" id="{4FA27E6E-CF82-5F6B-F323-E46DA52A0EE6}"/>
                </a:ext>
              </a:extLst>
            </p:cNvPr>
            <p:cNvSpPr/>
            <p:nvPr/>
          </p:nvSpPr>
          <p:spPr>
            <a:xfrm>
              <a:off x="25246352" y="30792834"/>
              <a:ext cx="34213" cy="22568"/>
            </a:xfrm>
            <a:custGeom>
              <a:avLst/>
              <a:gdLst/>
              <a:ahLst/>
              <a:cxnLst/>
              <a:rect l="0" t="0" r="0" b="0"/>
              <a:pathLst>
                <a:path w="34213" h="22567">
                  <a:moveTo>
                    <a:pt x="34213" y="0"/>
                  </a:moveTo>
                  <a:cubicBezTo>
                    <a:pt x="28930" y="4356"/>
                    <a:pt x="23355" y="8331"/>
                    <a:pt x="17525" y="11899"/>
                  </a:cubicBezTo>
                  <a:cubicBezTo>
                    <a:pt x="11950" y="15874"/>
                    <a:pt x="6095" y="19443"/>
                    <a:pt x="0" y="22567"/>
                  </a:cubicBezTo>
                  <a:cubicBezTo>
                    <a:pt x="5295" y="18249"/>
                    <a:pt x="10871" y="14312"/>
                    <a:pt x="16725" y="10782"/>
                  </a:cubicBezTo>
                  <a:cubicBezTo>
                    <a:pt x="22288" y="6769"/>
                    <a:pt x="28130" y="3174"/>
                    <a:pt x="34213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1" name="Free Form 3507">
              <a:extLst>
                <a:ext uri="{FF2B5EF4-FFF2-40B4-BE49-F238E27FC236}">
                  <a16:creationId xmlns:a16="http://schemas.microsoft.com/office/drawing/2014/main" id="{9E81C90F-5EFE-C3F8-F8AC-2942BC8C9D00}"/>
                </a:ext>
              </a:extLst>
            </p:cNvPr>
            <p:cNvSpPr/>
            <p:nvPr/>
          </p:nvSpPr>
          <p:spPr>
            <a:xfrm>
              <a:off x="25262568" y="30790506"/>
              <a:ext cx="36309" cy="24079"/>
            </a:xfrm>
            <a:custGeom>
              <a:avLst/>
              <a:gdLst/>
              <a:ahLst/>
              <a:cxnLst/>
              <a:rect l="0" t="0" r="0" b="0"/>
              <a:pathLst>
                <a:path w="36308" h="24078">
                  <a:moveTo>
                    <a:pt x="36308" y="0"/>
                  </a:moveTo>
                  <a:cubicBezTo>
                    <a:pt x="30695" y="4635"/>
                    <a:pt x="24764" y="8889"/>
                    <a:pt x="18567" y="12712"/>
                  </a:cubicBezTo>
                  <a:cubicBezTo>
                    <a:pt x="12636" y="16916"/>
                    <a:pt x="6438" y="20713"/>
                    <a:pt x="0" y="24078"/>
                  </a:cubicBezTo>
                  <a:cubicBezTo>
                    <a:pt x="5626" y="19443"/>
                    <a:pt x="11556" y="15201"/>
                    <a:pt x="17741" y="11353"/>
                  </a:cubicBezTo>
                  <a:cubicBezTo>
                    <a:pt x="23672" y="7150"/>
                    <a:pt x="29870" y="3365"/>
                    <a:pt x="36308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2" name="Free Form 3508">
              <a:extLst>
                <a:ext uri="{FF2B5EF4-FFF2-40B4-BE49-F238E27FC236}">
                  <a16:creationId xmlns:a16="http://schemas.microsoft.com/office/drawing/2014/main" id="{CB65C753-04E9-F93D-1DAD-5450C0D7E64C}"/>
                </a:ext>
              </a:extLst>
            </p:cNvPr>
            <p:cNvSpPr/>
            <p:nvPr/>
          </p:nvSpPr>
          <p:spPr>
            <a:xfrm>
              <a:off x="25291471" y="30789824"/>
              <a:ext cx="30886" cy="24244"/>
            </a:xfrm>
            <a:custGeom>
              <a:avLst/>
              <a:gdLst/>
              <a:ahLst/>
              <a:cxnLst/>
              <a:rect l="0" t="0" r="0" b="0"/>
              <a:pathLst>
                <a:path w="30886" h="24244">
                  <a:moveTo>
                    <a:pt x="30657" y="0"/>
                  </a:moveTo>
                  <a:cubicBezTo>
                    <a:pt x="30886" y="368"/>
                    <a:pt x="23507" y="5029"/>
                    <a:pt x="15074" y="11645"/>
                  </a:cubicBezTo>
                  <a:cubicBezTo>
                    <a:pt x="6642" y="18249"/>
                    <a:pt x="304" y="24244"/>
                    <a:pt x="0" y="23939"/>
                  </a:cubicBezTo>
                  <a:cubicBezTo>
                    <a:pt x="1054" y="22326"/>
                    <a:pt x="2324" y="20878"/>
                    <a:pt x="3771" y="19621"/>
                  </a:cubicBezTo>
                  <a:cubicBezTo>
                    <a:pt x="7048" y="16357"/>
                    <a:pt x="10515" y="13309"/>
                    <a:pt x="14160" y="10477"/>
                  </a:cubicBezTo>
                  <a:cubicBezTo>
                    <a:pt x="17792" y="7632"/>
                    <a:pt x="21577" y="5003"/>
                    <a:pt x="25514" y="2616"/>
                  </a:cubicBezTo>
                  <a:cubicBezTo>
                    <a:pt x="27088" y="1485"/>
                    <a:pt x="28815" y="596"/>
                    <a:pt x="30657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3" name="Free Form 3509">
              <a:extLst>
                <a:ext uri="{FF2B5EF4-FFF2-40B4-BE49-F238E27FC236}">
                  <a16:creationId xmlns:a16="http://schemas.microsoft.com/office/drawing/2014/main" id="{2C89CC5D-17DF-EA94-9B55-FAC52DF9C013}"/>
                </a:ext>
              </a:extLst>
            </p:cNvPr>
            <p:cNvSpPr/>
            <p:nvPr/>
          </p:nvSpPr>
          <p:spPr>
            <a:xfrm>
              <a:off x="25304050" y="30791840"/>
              <a:ext cx="28638" cy="23990"/>
            </a:xfrm>
            <a:custGeom>
              <a:avLst/>
              <a:gdLst/>
              <a:ahLst/>
              <a:cxnLst/>
              <a:rect l="0" t="0" r="0" b="0"/>
              <a:pathLst>
                <a:path w="28638" h="23990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3990"/>
                    <a:pt x="0" y="23710"/>
                  </a:cubicBezTo>
                  <a:cubicBezTo>
                    <a:pt x="8051" y="14261"/>
                    <a:pt x="17652" y="624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4" name="Free Form 3510">
              <a:extLst>
                <a:ext uri="{FF2B5EF4-FFF2-40B4-BE49-F238E27FC236}">
                  <a16:creationId xmlns:a16="http://schemas.microsoft.com/office/drawing/2014/main" id="{A742DBFD-6DEE-F8BE-6F37-B120C45A1C84}"/>
                </a:ext>
              </a:extLst>
            </p:cNvPr>
            <p:cNvSpPr/>
            <p:nvPr/>
          </p:nvSpPr>
          <p:spPr>
            <a:xfrm>
              <a:off x="25326139" y="30791840"/>
              <a:ext cx="28638" cy="23990"/>
            </a:xfrm>
            <a:custGeom>
              <a:avLst/>
              <a:gdLst/>
              <a:ahLst/>
              <a:cxnLst/>
              <a:rect l="0" t="0" r="0" b="0"/>
              <a:pathLst>
                <a:path w="28638" h="23990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3990"/>
                    <a:pt x="0" y="23710"/>
                  </a:cubicBezTo>
                  <a:cubicBezTo>
                    <a:pt x="3860" y="18833"/>
                    <a:pt x="8305" y="14452"/>
                    <a:pt x="13220" y="10642"/>
                  </a:cubicBezTo>
                  <a:cubicBezTo>
                    <a:pt x="17817" y="6489"/>
                    <a:pt x="22910" y="290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5" name="Free Form 3511">
              <a:extLst>
                <a:ext uri="{FF2B5EF4-FFF2-40B4-BE49-F238E27FC236}">
                  <a16:creationId xmlns:a16="http://schemas.microsoft.com/office/drawing/2014/main" id="{667D846F-983A-7F73-59D0-2824622A4B7A}"/>
                </a:ext>
              </a:extLst>
            </p:cNvPr>
            <p:cNvSpPr/>
            <p:nvPr/>
          </p:nvSpPr>
          <p:spPr>
            <a:xfrm>
              <a:off x="25342774" y="30791840"/>
              <a:ext cx="28639" cy="23990"/>
            </a:xfrm>
            <a:custGeom>
              <a:avLst/>
              <a:gdLst/>
              <a:ahLst/>
              <a:cxnLst/>
              <a:rect l="0" t="0" r="0" b="0"/>
              <a:pathLst>
                <a:path w="28638" h="23990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3990"/>
                    <a:pt x="0" y="23710"/>
                  </a:cubicBezTo>
                  <a:cubicBezTo>
                    <a:pt x="3860" y="18833"/>
                    <a:pt x="8305" y="14452"/>
                    <a:pt x="13220" y="10642"/>
                  </a:cubicBezTo>
                  <a:cubicBezTo>
                    <a:pt x="17817" y="6489"/>
                    <a:pt x="22910" y="290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6" name="Free Form 3512">
              <a:extLst>
                <a:ext uri="{FF2B5EF4-FFF2-40B4-BE49-F238E27FC236}">
                  <a16:creationId xmlns:a16="http://schemas.microsoft.com/office/drawing/2014/main" id="{63E681CF-42A2-4518-5567-98025A366A72}"/>
                </a:ext>
              </a:extLst>
            </p:cNvPr>
            <p:cNvSpPr/>
            <p:nvPr/>
          </p:nvSpPr>
          <p:spPr>
            <a:xfrm>
              <a:off x="25351349" y="30791840"/>
              <a:ext cx="28613" cy="23990"/>
            </a:xfrm>
            <a:custGeom>
              <a:avLst/>
              <a:gdLst/>
              <a:ahLst/>
              <a:cxnLst/>
              <a:rect l="0" t="0" r="0" b="0"/>
              <a:pathLst>
                <a:path w="28612" h="23990">
                  <a:moveTo>
                    <a:pt x="28384" y="0"/>
                  </a:moveTo>
                  <a:cubicBezTo>
                    <a:pt x="28612" y="342"/>
                    <a:pt x="21945" y="5257"/>
                    <a:pt x="14185" y="11785"/>
                  </a:cubicBezTo>
                  <a:cubicBezTo>
                    <a:pt x="6438" y="18313"/>
                    <a:pt x="330" y="23990"/>
                    <a:pt x="0" y="23710"/>
                  </a:cubicBezTo>
                  <a:cubicBezTo>
                    <a:pt x="8051" y="14261"/>
                    <a:pt x="17652" y="624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7" name="Free Form 3513">
              <a:extLst>
                <a:ext uri="{FF2B5EF4-FFF2-40B4-BE49-F238E27FC236}">
                  <a16:creationId xmlns:a16="http://schemas.microsoft.com/office/drawing/2014/main" id="{F40FEED4-1967-FE16-2514-24AF8888A21F}"/>
                </a:ext>
              </a:extLst>
            </p:cNvPr>
            <p:cNvSpPr/>
            <p:nvPr/>
          </p:nvSpPr>
          <p:spPr>
            <a:xfrm>
              <a:off x="25381641" y="30790989"/>
              <a:ext cx="28638" cy="24015"/>
            </a:xfrm>
            <a:custGeom>
              <a:avLst/>
              <a:gdLst/>
              <a:ahLst/>
              <a:cxnLst/>
              <a:rect l="0" t="0" r="0" b="0"/>
              <a:pathLst>
                <a:path w="28638" h="24015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30" y="24015"/>
                    <a:pt x="0" y="23710"/>
                  </a:cubicBezTo>
                  <a:cubicBezTo>
                    <a:pt x="3848" y="18833"/>
                    <a:pt x="8293" y="14439"/>
                    <a:pt x="13220" y="10642"/>
                  </a:cubicBezTo>
                  <a:cubicBezTo>
                    <a:pt x="17817" y="6476"/>
                    <a:pt x="22910" y="2908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8" name="Free Form 3514">
              <a:extLst>
                <a:ext uri="{FF2B5EF4-FFF2-40B4-BE49-F238E27FC236}">
                  <a16:creationId xmlns:a16="http://schemas.microsoft.com/office/drawing/2014/main" id="{0F625AE8-0AC0-B186-CCBC-8BC0550D8F5E}"/>
                </a:ext>
              </a:extLst>
            </p:cNvPr>
            <p:cNvSpPr/>
            <p:nvPr/>
          </p:nvSpPr>
          <p:spPr>
            <a:xfrm>
              <a:off x="25411934" y="30790138"/>
              <a:ext cx="28638" cy="24016"/>
            </a:xfrm>
            <a:custGeom>
              <a:avLst/>
              <a:gdLst/>
              <a:ahLst/>
              <a:cxnLst/>
              <a:rect l="0" t="0" r="0" b="0"/>
              <a:pathLst>
                <a:path w="28638" h="24015">
                  <a:moveTo>
                    <a:pt x="28384" y="0"/>
                  </a:moveTo>
                  <a:cubicBezTo>
                    <a:pt x="28638" y="368"/>
                    <a:pt x="21945" y="5245"/>
                    <a:pt x="14185" y="11810"/>
                  </a:cubicBezTo>
                  <a:cubicBezTo>
                    <a:pt x="6438" y="18364"/>
                    <a:pt x="304" y="24015"/>
                    <a:pt x="0" y="23710"/>
                  </a:cubicBezTo>
                  <a:cubicBezTo>
                    <a:pt x="3873" y="18846"/>
                    <a:pt x="8305" y="14477"/>
                    <a:pt x="13220" y="10667"/>
                  </a:cubicBezTo>
                  <a:cubicBezTo>
                    <a:pt x="17830" y="6515"/>
                    <a:pt x="22910" y="2933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59" name="Free Form 3515">
              <a:extLst>
                <a:ext uri="{FF2B5EF4-FFF2-40B4-BE49-F238E27FC236}">
                  <a16:creationId xmlns:a16="http://schemas.microsoft.com/office/drawing/2014/main" id="{708729B4-8699-24FF-8AFF-67C03152ABE3}"/>
                </a:ext>
              </a:extLst>
            </p:cNvPr>
            <p:cNvSpPr/>
            <p:nvPr/>
          </p:nvSpPr>
          <p:spPr>
            <a:xfrm>
              <a:off x="25442216" y="30789428"/>
              <a:ext cx="28651" cy="23990"/>
            </a:xfrm>
            <a:custGeom>
              <a:avLst/>
              <a:gdLst/>
              <a:ahLst/>
              <a:cxnLst/>
              <a:rect l="0" t="0" r="0" b="0"/>
              <a:pathLst>
                <a:path w="28650" h="23990">
                  <a:moveTo>
                    <a:pt x="28396" y="0"/>
                  </a:moveTo>
                  <a:cubicBezTo>
                    <a:pt x="28650" y="342"/>
                    <a:pt x="21958" y="5257"/>
                    <a:pt x="14198" y="11785"/>
                  </a:cubicBezTo>
                  <a:cubicBezTo>
                    <a:pt x="6451" y="18313"/>
                    <a:pt x="317" y="23990"/>
                    <a:pt x="0" y="23710"/>
                  </a:cubicBezTo>
                  <a:cubicBezTo>
                    <a:pt x="3873" y="18833"/>
                    <a:pt x="8318" y="14452"/>
                    <a:pt x="13233" y="10642"/>
                  </a:cubicBezTo>
                  <a:cubicBezTo>
                    <a:pt x="17830" y="6489"/>
                    <a:pt x="22923" y="2908"/>
                    <a:pt x="28396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0" name="Free Form 3516">
              <a:extLst>
                <a:ext uri="{FF2B5EF4-FFF2-40B4-BE49-F238E27FC236}">
                  <a16:creationId xmlns:a16="http://schemas.microsoft.com/office/drawing/2014/main" id="{650645A3-5730-C596-33CD-13A71D112125}"/>
                </a:ext>
              </a:extLst>
            </p:cNvPr>
            <p:cNvSpPr/>
            <p:nvPr/>
          </p:nvSpPr>
          <p:spPr>
            <a:xfrm>
              <a:off x="25472520" y="30788462"/>
              <a:ext cx="28638" cy="24015"/>
            </a:xfrm>
            <a:custGeom>
              <a:avLst/>
              <a:gdLst/>
              <a:ahLst/>
              <a:cxnLst/>
              <a:rect l="0" t="0" r="0" b="0"/>
              <a:pathLst>
                <a:path w="28638" h="24015">
                  <a:moveTo>
                    <a:pt x="28384" y="0"/>
                  </a:moveTo>
                  <a:cubicBezTo>
                    <a:pt x="28638" y="342"/>
                    <a:pt x="21945" y="5257"/>
                    <a:pt x="14185" y="11785"/>
                  </a:cubicBezTo>
                  <a:cubicBezTo>
                    <a:pt x="6438" y="18313"/>
                    <a:pt x="304" y="24015"/>
                    <a:pt x="0" y="23710"/>
                  </a:cubicBezTo>
                  <a:cubicBezTo>
                    <a:pt x="8051" y="14249"/>
                    <a:pt x="17652" y="6235"/>
                    <a:pt x="28384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1" name="Free Form 3517">
              <a:extLst>
                <a:ext uri="{FF2B5EF4-FFF2-40B4-BE49-F238E27FC236}">
                  <a16:creationId xmlns:a16="http://schemas.microsoft.com/office/drawing/2014/main" id="{0F624EFE-74AA-6D44-4EC6-80BE52D5F671}"/>
                </a:ext>
              </a:extLst>
            </p:cNvPr>
            <p:cNvSpPr/>
            <p:nvPr/>
          </p:nvSpPr>
          <p:spPr>
            <a:xfrm>
              <a:off x="25207972" y="30038124"/>
              <a:ext cx="176109" cy="176097"/>
            </a:xfrm>
            <a:custGeom>
              <a:avLst/>
              <a:gdLst/>
              <a:ahLst/>
              <a:cxnLst/>
              <a:rect l="0" t="0" r="0" b="0"/>
              <a:pathLst>
                <a:path w="176109" h="176096">
                  <a:moveTo>
                    <a:pt x="44703" y="23939"/>
                  </a:moveTo>
                  <a:cubicBezTo>
                    <a:pt x="80110" y="0"/>
                    <a:pt x="128217" y="9283"/>
                    <a:pt x="152169" y="44690"/>
                  </a:cubicBezTo>
                  <a:cubicBezTo>
                    <a:pt x="176109" y="80098"/>
                    <a:pt x="166825" y="128205"/>
                    <a:pt x="131418" y="152157"/>
                  </a:cubicBezTo>
                  <a:cubicBezTo>
                    <a:pt x="96010" y="176096"/>
                    <a:pt x="47891" y="166812"/>
                    <a:pt x="23951" y="131405"/>
                  </a:cubicBezTo>
                  <a:cubicBezTo>
                    <a:pt x="0" y="95998"/>
                    <a:pt x="9296" y="47878"/>
                    <a:pt x="44703" y="23939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2" name="Free Form 3518">
              <a:extLst>
                <a:ext uri="{FF2B5EF4-FFF2-40B4-BE49-F238E27FC236}">
                  <a16:creationId xmlns:a16="http://schemas.microsoft.com/office/drawing/2014/main" id="{9397C1C5-CE7B-F237-E9E3-2CC7BC12F4C2}"/>
                </a:ext>
              </a:extLst>
            </p:cNvPr>
            <p:cNvSpPr/>
            <p:nvPr/>
          </p:nvSpPr>
          <p:spPr>
            <a:xfrm>
              <a:off x="25171230" y="30056637"/>
              <a:ext cx="170432" cy="317916"/>
            </a:xfrm>
            <a:custGeom>
              <a:avLst/>
              <a:gdLst/>
              <a:ahLst/>
              <a:cxnLst/>
              <a:rect l="0" t="0" r="0" b="0"/>
              <a:pathLst>
                <a:path w="170432" h="317915">
                  <a:moveTo>
                    <a:pt x="150302" y="0"/>
                  </a:moveTo>
                  <a:cubicBezTo>
                    <a:pt x="150302" y="0"/>
                    <a:pt x="163167" y="128128"/>
                    <a:pt x="164755" y="215173"/>
                  </a:cubicBezTo>
                  <a:lnTo>
                    <a:pt x="170432" y="317915"/>
                  </a:lnTo>
                  <a:cubicBezTo>
                    <a:pt x="170432" y="317915"/>
                    <a:pt x="110158" y="298751"/>
                    <a:pt x="49237" y="301596"/>
                  </a:cubicBezTo>
                  <a:lnTo>
                    <a:pt x="0" y="175397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3" name="Free Form 3519">
              <a:extLst>
                <a:ext uri="{FF2B5EF4-FFF2-40B4-BE49-F238E27FC236}">
                  <a16:creationId xmlns:a16="http://schemas.microsoft.com/office/drawing/2014/main" id="{16803550-9A0D-CB22-833C-68809C129ED9}"/>
                </a:ext>
              </a:extLst>
            </p:cNvPr>
            <p:cNvSpPr/>
            <p:nvPr/>
          </p:nvSpPr>
          <p:spPr>
            <a:xfrm>
              <a:off x="24963332" y="29897957"/>
              <a:ext cx="370556" cy="402472"/>
            </a:xfrm>
            <a:custGeom>
              <a:avLst/>
              <a:gdLst/>
              <a:ahLst/>
              <a:cxnLst/>
              <a:rect l="0" t="0" r="0" b="0"/>
              <a:pathLst>
                <a:path w="370556" h="402471">
                  <a:moveTo>
                    <a:pt x="17627" y="181023"/>
                  </a:moveTo>
                  <a:cubicBezTo>
                    <a:pt x="29273" y="127074"/>
                    <a:pt x="41185" y="71043"/>
                    <a:pt x="85050" y="37655"/>
                  </a:cubicBezTo>
                  <a:cubicBezTo>
                    <a:pt x="124153" y="7873"/>
                    <a:pt x="168298" y="0"/>
                    <a:pt x="217408" y="2844"/>
                  </a:cubicBezTo>
                  <a:cubicBezTo>
                    <a:pt x="241576" y="4178"/>
                    <a:pt x="268691" y="15735"/>
                    <a:pt x="289582" y="27939"/>
                  </a:cubicBezTo>
                  <a:cubicBezTo>
                    <a:pt x="318195" y="44690"/>
                    <a:pt x="329955" y="77989"/>
                    <a:pt x="343518" y="108317"/>
                  </a:cubicBezTo>
                  <a:cubicBezTo>
                    <a:pt x="370556" y="169009"/>
                    <a:pt x="365870" y="250606"/>
                    <a:pt x="346642" y="272983"/>
                  </a:cubicBezTo>
                  <a:lnTo>
                    <a:pt x="92747" y="402471"/>
                  </a:lnTo>
                  <a:cubicBezTo>
                    <a:pt x="48488" y="378621"/>
                    <a:pt x="18795" y="367356"/>
                    <a:pt x="7581" y="318322"/>
                  </a:cubicBezTo>
                  <a:cubicBezTo>
                    <a:pt x="0" y="284934"/>
                    <a:pt x="10388" y="214500"/>
                    <a:pt x="17627" y="181023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4" name="Free Form 3520">
              <a:extLst>
                <a:ext uri="{FF2B5EF4-FFF2-40B4-BE49-F238E27FC236}">
                  <a16:creationId xmlns:a16="http://schemas.microsoft.com/office/drawing/2014/main" id="{1126527B-7299-58FC-978E-5A8ADB1B7EC8}"/>
                </a:ext>
              </a:extLst>
            </p:cNvPr>
            <p:cNvSpPr/>
            <p:nvPr/>
          </p:nvSpPr>
          <p:spPr>
            <a:xfrm>
              <a:off x="25026839" y="29934218"/>
              <a:ext cx="285924" cy="536811"/>
            </a:xfrm>
            <a:custGeom>
              <a:avLst/>
              <a:gdLst/>
              <a:ahLst/>
              <a:cxnLst/>
              <a:rect l="0" t="0" r="0" b="0"/>
              <a:pathLst>
                <a:path w="285924" h="536810">
                  <a:moveTo>
                    <a:pt x="26288" y="51243"/>
                  </a:moveTo>
                  <a:lnTo>
                    <a:pt x="185532" y="6692"/>
                  </a:lnTo>
                  <a:cubicBezTo>
                    <a:pt x="236636" y="0"/>
                    <a:pt x="272437" y="62343"/>
                    <a:pt x="276984" y="113752"/>
                  </a:cubicBezTo>
                  <a:cubicBezTo>
                    <a:pt x="282025" y="170914"/>
                    <a:pt x="285924" y="240865"/>
                    <a:pt x="280209" y="283740"/>
                  </a:cubicBezTo>
                  <a:cubicBezTo>
                    <a:pt x="268856" y="369934"/>
                    <a:pt x="203185" y="382507"/>
                    <a:pt x="203185" y="382507"/>
                  </a:cubicBezTo>
                  <a:cubicBezTo>
                    <a:pt x="203185" y="382507"/>
                    <a:pt x="203020" y="383815"/>
                    <a:pt x="203185" y="409329"/>
                  </a:cubicBezTo>
                  <a:lnTo>
                    <a:pt x="204696" y="466745"/>
                  </a:lnTo>
                  <a:cubicBezTo>
                    <a:pt x="184821" y="536810"/>
                    <a:pt x="114095" y="529711"/>
                    <a:pt x="20472" y="417025"/>
                  </a:cubicBezTo>
                  <a:lnTo>
                    <a:pt x="1282" y="102856"/>
                  </a:lnTo>
                  <a:cubicBezTo>
                    <a:pt x="0" y="78180"/>
                    <a:pt x="10731" y="53288"/>
                    <a:pt x="26288" y="51243"/>
                  </a:cubicBezTo>
                  <a:close/>
                </a:path>
              </a:pathLst>
            </a:custGeom>
            <a:solidFill>
              <a:srgbClr val="EEAB8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5" name="Free Form 3521">
              <a:extLst>
                <a:ext uri="{FF2B5EF4-FFF2-40B4-BE49-F238E27FC236}">
                  <a16:creationId xmlns:a16="http://schemas.microsoft.com/office/drawing/2014/main" id="{3571F1A1-8111-1744-50B7-B56FCC0CF43C}"/>
                </a:ext>
              </a:extLst>
            </p:cNvPr>
            <p:cNvSpPr/>
            <p:nvPr/>
          </p:nvSpPr>
          <p:spPr>
            <a:xfrm>
              <a:off x="25267286" y="30108365"/>
              <a:ext cx="22314" cy="22212"/>
            </a:xfrm>
            <a:custGeom>
              <a:avLst/>
              <a:gdLst/>
              <a:ahLst/>
              <a:cxnLst/>
              <a:rect l="0" t="0" r="0" b="0"/>
              <a:pathLst>
                <a:path w="22313" h="22212">
                  <a:moveTo>
                    <a:pt x="22135" y="10248"/>
                  </a:moveTo>
                  <a:cubicBezTo>
                    <a:pt x="22313" y="16205"/>
                    <a:pt x="17729" y="21234"/>
                    <a:pt x="11772" y="21602"/>
                  </a:cubicBezTo>
                  <a:cubicBezTo>
                    <a:pt x="6007" y="22212"/>
                    <a:pt x="838" y="18033"/>
                    <a:pt x="215" y="12268"/>
                  </a:cubicBezTo>
                  <a:cubicBezTo>
                    <a:pt x="203" y="12166"/>
                    <a:pt x="203" y="12052"/>
                    <a:pt x="190" y="11950"/>
                  </a:cubicBezTo>
                  <a:cubicBezTo>
                    <a:pt x="0" y="5994"/>
                    <a:pt x="4571" y="965"/>
                    <a:pt x="10528" y="596"/>
                  </a:cubicBezTo>
                  <a:cubicBezTo>
                    <a:pt x="16332" y="0"/>
                    <a:pt x="21513" y="4216"/>
                    <a:pt x="22110" y="10020"/>
                  </a:cubicBezTo>
                  <a:cubicBezTo>
                    <a:pt x="22123" y="10096"/>
                    <a:pt x="22135" y="10172"/>
                    <a:pt x="22135" y="1024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6" name="Free Form 3522">
              <a:extLst>
                <a:ext uri="{FF2B5EF4-FFF2-40B4-BE49-F238E27FC236}">
                  <a16:creationId xmlns:a16="http://schemas.microsoft.com/office/drawing/2014/main" id="{B28A8356-2E26-A9BA-BD47-E91312411613}"/>
                </a:ext>
              </a:extLst>
            </p:cNvPr>
            <p:cNvSpPr/>
            <p:nvPr/>
          </p:nvSpPr>
          <p:spPr>
            <a:xfrm>
              <a:off x="25245789" y="30088448"/>
              <a:ext cx="44679" cy="13385"/>
            </a:xfrm>
            <a:custGeom>
              <a:avLst/>
              <a:gdLst/>
              <a:ahLst/>
              <a:cxnLst/>
              <a:rect l="0" t="0" r="0" b="0"/>
              <a:pathLst>
                <a:path w="44678" h="13385">
                  <a:moveTo>
                    <a:pt x="44030" y="11086"/>
                  </a:moveTo>
                  <a:cubicBezTo>
                    <a:pt x="42696" y="12560"/>
                    <a:pt x="34200" y="6603"/>
                    <a:pt x="22339" y="6908"/>
                  </a:cubicBezTo>
                  <a:cubicBezTo>
                    <a:pt x="10477" y="7226"/>
                    <a:pt x="1955" y="13385"/>
                    <a:pt x="647" y="11963"/>
                  </a:cubicBezTo>
                  <a:cubicBezTo>
                    <a:pt x="0" y="11340"/>
                    <a:pt x="1333" y="8724"/>
                    <a:pt x="5054" y="5867"/>
                  </a:cubicBezTo>
                  <a:cubicBezTo>
                    <a:pt x="10096" y="2235"/>
                    <a:pt x="16154" y="253"/>
                    <a:pt x="22364" y="190"/>
                  </a:cubicBezTo>
                  <a:cubicBezTo>
                    <a:pt x="28523" y="0"/>
                    <a:pt x="34581" y="1790"/>
                    <a:pt x="39661" y="5295"/>
                  </a:cubicBezTo>
                  <a:cubicBezTo>
                    <a:pt x="43382" y="7848"/>
                    <a:pt x="44678" y="10439"/>
                    <a:pt x="44030" y="110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7" name="Free Form 3523">
              <a:extLst>
                <a:ext uri="{FF2B5EF4-FFF2-40B4-BE49-F238E27FC236}">
                  <a16:creationId xmlns:a16="http://schemas.microsoft.com/office/drawing/2014/main" id="{661A14CE-EE6B-F896-47E0-8A01B6A1E64E}"/>
                </a:ext>
              </a:extLst>
            </p:cNvPr>
            <p:cNvSpPr/>
            <p:nvPr/>
          </p:nvSpPr>
          <p:spPr>
            <a:xfrm>
              <a:off x="25155270" y="30108352"/>
              <a:ext cx="22339" cy="22225"/>
            </a:xfrm>
            <a:custGeom>
              <a:avLst/>
              <a:gdLst/>
              <a:ahLst/>
              <a:cxnLst/>
              <a:rect l="0" t="0" r="0" b="0"/>
              <a:pathLst>
                <a:path w="22339" h="22224">
                  <a:moveTo>
                    <a:pt x="22123" y="10261"/>
                  </a:moveTo>
                  <a:cubicBezTo>
                    <a:pt x="22339" y="16230"/>
                    <a:pt x="17741" y="21272"/>
                    <a:pt x="11785" y="21615"/>
                  </a:cubicBezTo>
                  <a:cubicBezTo>
                    <a:pt x="6019" y="22224"/>
                    <a:pt x="850" y="18046"/>
                    <a:pt x="228" y="12280"/>
                  </a:cubicBezTo>
                  <a:cubicBezTo>
                    <a:pt x="228" y="12179"/>
                    <a:pt x="215" y="12064"/>
                    <a:pt x="203" y="11963"/>
                  </a:cubicBezTo>
                  <a:cubicBezTo>
                    <a:pt x="0" y="6007"/>
                    <a:pt x="4584" y="965"/>
                    <a:pt x="10540" y="609"/>
                  </a:cubicBezTo>
                  <a:cubicBezTo>
                    <a:pt x="16306" y="0"/>
                    <a:pt x="21488" y="4178"/>
                    <a:pt x="22097" y="9943"/>
                  </a:cubicBezTo>
                  <a:cubicBezTo>
                    <a:pt x="22110" y="10045"/>
                    <a:pt x="22110" y="10159"/>
                    <a:pt x="22123" y="1026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8" name="Free Form 3524">
              <a:extLst>
                <a:ext uri="{FF2B5EF4-FFF2-40B4-BE49-F238E27FC236}">
                  <a16:creationId xmlns:a16="http://schemas.microsoft.com/office/drawing/2014/main" id="{4A2A8608-BAB6-3429-3285-D94ECA7312BF}"/>
                </a:ext>
              </a:extLst>
            </p:cNvPr>
            <p:cNvSpPr/>
            <p:nvPr/>
          </p:nvSpPr>
          <p:spPr>
            <a:xfrm>
              <a:off x="25129274" y="30088194"/>
              <a:ext cx="44679" cy="13385"/>
            </a:xfrm>
            <a:custGeom>
              <a:avLst/>
              <a:gdLst/>
              <a:ahLst/>
              <a:cxnLst/>
              <a:rect l="0" t="0" r="0" b="0"/>
              <a:pathLst>
                <a:path w="44678" h="13385">
                  <a:moveTo>
                    <a:pt x="44030" y="11086"/>
                  </a:moveTo>
                  <a:cubicBezTo>
                    <a:pt x="42696" y="12560"/>
                    <a:pt x="34175" y="6603"/>
                    <a:pt x="22339" y="6908"/>
                  </a:cubicBezTo>
                  <a:cubicBezTo>
                    <a:pt x="10502" y="7226"/>
                    <a:pt x="1955" y="13385"/>
                    <a:pt x="647" y="11963"/>
                  </a:cubicBezTo>
                  <a:cubicBezTo>
                    <a:pt x="0" y="11340"/>
                    <a:pt x="1308" y="8724"/>
                    <a:pt x="5054" y="5867"/>
                  </a:cubicBezTo>
                  <a:cubicBezTo>
                    <a:pt x="10096" y="2222"/>
                    <a:pt x="16141" y="241"/>
                    <a:pt x="22364" y="177"/>
                  </a:cubicBezTo>
                  <a:cubicBezTo>
                    <a:pt x="28523" y="0"/>
                    <a:pt x="34581" y="1790"/>
                    <a:pt x="39661" y="5295"/>
                  </a:cubicBezTo>
                  <a:cubicBezTo>
                    <a:pt x="43382" y="7848"/>
                    <a:pt x="44678" y="10426"/>
                    <a:pt x="44030" y="1108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69" name="Free Form 3525">
              <a:extLst>
                <a:ext uri="{FF2B5EF4-FFF2-40B4-BE49-F238E27FC236}">
                  <a16:creationId xmlns:a16="http://schemas.microsoft.com/office/drawing/2014/main" id="{14B7722D-B59D-9B6C-C69D-EC061C049F57}"/>
                </a:ext>
              </a:extLst>
            </p:cNvPr>
            <p:cNvSpPr/>
            <p:nvPr/>
          </p:nvSpPr>
          <p:spPr>
            <a:xfrm>
              <a:off x="25209138" y="30078013"/>
              <a:ext cx="40106" cy="99364"/>
            </a:xfrm>
            <a:custGeom>
              <a:avLst/>
              <a:gdLst/>
              <a:ahLst/>
              <a:cxnLst/>
              <a:rect l="0" t="0" r="0" b="0"/>
              <a:pathLst>
                <a:path w="40106" h="99363">
                  <a:moveTo>
                    <a:pt x="9194" y="98716"/>
                  </a:moveTo>
                  <a:cubicBezTo>
                    <a:pt x="9194" y="98030"/>
                    <a:pt x="16459" y="96582"/>
                    <a:pt x="28358" y="94740"/>
                  </a:cubicBezTo>
                  <a:cubicBezTo>
                    <a:pt x="31368" y="94372"/>
                    <a:pt x="34238" y="93686"/>
                    <a:pt x="34683" y="91616"/>
                  </a:cubicBezTo>
                  <a:cubicBezTo>
                    <a:pt x="35140" y="89546"/>
                    <a:pt x="34010" y="86168"/>
                    <a:pt x="32448" y="82701"/>
                  </a:cubicBezTo>
                  <a:lnTo>
                    <a:pt x="22910" y="59994"/>
                  </a:lnTo>
                  <a:cubicBezTo>
                    <a:pt x="9651" y="27482"/>
                    <a:pt x="0" y="736"/>
                    <a:pt x="1308" y="368"/>
                  </a:cubicBezTo>
                  <a:cubicBezTo>
                    <a:pt x="2603" y="0"/>
                    <a:pt x="14414" y="25755"/>
                    <a:pt x="27673" y="58254"/>
                  </a:cubicBezTo>
                  <a:cubicBezTo>
                    <a:pt x="30860" y="66267"/>
                    <a:pt x="33921" y="73900"/>
                    <a:pt x="36816" y="81228"/>
                  </a:cubicBezTo>
                  <a:cubicBezTo>
                    <a:pt x="38074" y="84631"/>
                    <a:pt x="40106" y="88467"/>
                    <a:pt x="38696" y="93039"/>
                  </a:cubicBezTo>
                  <a:cubicBezTo>
                    <a:pt x="37870" y="95223"/>
                    <a:pt x="36080" y="96912"/>
                    <a:pt x="33832" y="97611"/>
                  </a:cubicBezTo>
                  <a:cubicBezTo>
                    <a:pt x="32168" y="98093"/>
                    <a:pt x="30441" y="98373"/>
                    <a:pt x="28701" y="98436"/>
                  </a:cubicBezTo>
                  <a:cubicBezTo>
                    <a:pt x="16713" y="99147"/>
                    <a:pt x="9258" y="99363"/>
                    <a:pt x="9194" y="9871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0" name="Free Form 3526">
              <a:extLst>
                <a:ext uri="{FF2B5EF4-FFF2-40B4-BE49-F238E27FC236}">
                  <a16:creationId xmlns:a16="http://schemas.microsoft.com/office/drawing/2014/main" id="{6CF40509-F135-6876-90EE-D53F6D756435}"/>
                </a:ext>
              </a:extLst>
            </p:cNvPr>
            <p:cNvSpPr/>
            <p:nvPr/>
          </p:nvSpPr>
          <p:spPr>
            <a:xfrm>
              <a:off x="25114282" y="30288962"/>
              <a:ext cx="115747" cy="59359"/>
            </a:xfrm>
            <a:custGeom>
              <a:avLst/>
              <a:gdLst/>
              <a:ahLst/>
              <a:cxnLst/>
              <a:rect l="0" t="0" r="0" b="0"/>
              <a:pathLst>
                <a:path w="115746" h="59359">
                  <a:moveTo>
                    <a:pt x="115746" y="27761"/>
                  </a:moveTo>
                  <a:cubicBezTo>
                    <a:pt x="75335" y="29400"/>
                    <a:pt x="35267" y="19799"/>
                    <a:pt x="0" y="0"/>
                  </a:cubicBezTo>
                  <a:cubicBezTo>
                    <a:pt x="0" y="0"/>
                    <a:pt x="29920" y="59359"/>
                    <a:pt x="115657" y="49173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1" name="Free Form 3527">
              <a:extLst>
                <a:ext uri="{FF2B5EF4-FFF2-40B4-BE49-F238E27FC236}">
                  <a16:creationId xmlns:a16="http://schemas.microsoft.com/office/drawing/2014/main" id="{E0837300-4752-ED19-CD52-2D740281A78D}"/>
                </a:ext>
              </a:extLst>
            </p:cNvPr>
            <p:cNvSpPr/>
            <p:nvPr/>
          </p:nvSpPr>
          <p:spPr>
            <a:xfrm>
              <a:off x="25176307" y="30189956"/>
              <a:ext cx="43840" cy="38265"/>
            </a:xfrm>
            <a:custGeom>
              <a:avLst/>
              <a:gdLst/>
              <a:ahLst/>
              <a:cxnLst/>
              <a:rect l="0" t="0" r="0" b="0"/>
              <a:pathLst>
                <a:path w="43839" h="38264">
                  <a:moveTo>
                    <a:pt x="3441" y="9855"/>
                  </a:moveTo>
                  <a:cubicBezTo>
                    <a:pt x="6807" y="4419"/>
                    <a:pt x="12674" y="1041"/>
                    <a:pt x="19062" y="850"/>
                  </a:cubicBezTo>
                  <a:cubicBezTo>
                    <a:pt x="27990" y="0"/>
                    <a:pt x="36689" y="4051"/>
                    <a:pt x="41769" y="11442"/>
                  </a:cubicBezTo>
                  <a:cubicBezTo>
                    <a:pt x="43839" y="13830"/>
                    <a:pt x="43839" y="20637"/>
                    <a:pt x="43052" y="22542"/>
                  </a:cubicBezTo>
                  <a:cubicBezTo>
                    <a:pt x="42252" y="24447"/>
                    <a:pt x="43052" y="23507"/>
                    <a:pt x="41452" y="24840"/>
                  </a:cubicBezTo>
                  <a:cubicBezTo>
                    <a:pt x="36296" y="29641"/>
                    <a:pt x="30809" y="34467"/>
                    <a:pt x="24028" y="36207"/>
                  </a:cubicBezTo>
                  <a:cubicBezTo>
                    <a:pt x="16649" y="38264"/>
                    <a:pt x="8762" y="35597"/>
                    <a:pt x="4152" y="29476"/>
                  </a:cubicBezTo>
                  <a:cubicBezTo>
                    <a:pt x="279" y="23570"/>
                    <a:pt x="0" y="16014"/>
                    <a:pt x="3441" y="9855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2" name="Free Form 3528">
              <a:extLst>
                <a:ext uri="{FF2B5EF4-FFF2-40B4-BE49-F238E27FC236}">
                  <a16:creationId xmlns:a16="http://schemas.microsoft.com/office/drawing/2014/main" id="{54D312D6-6F5F-2786-3D09-7039F8487BD5}"/>
                </a:ext>
              </a:extLst>
            </p:cNvPr>
            <p:cNvSpPr/>
            <p:nvPr/>
          </p:nvSpPr>
          <p:spPr>
            <a:xfrm>
              <a:off x="25179328" y="30186103"/>
              <a:ext cx="41135" cy="33579"/>
            </a:xfrm>
            <a:custGeom>
              <a:avLst/>
              <a:gdLst/>
              <a:ahLst/>
              <a:cxnLst/>
              <a:rect l="0" t="0" r="0" b="0"/>
              <a:pathLst>
                <a:path w="41134" h="33578">
                  <a:moveTo>
                    <a:pt x="2209" y="165"/>
                  </a:moveTo>
                  <a:cubicBezTo>
                    <a:pt x="4140" y="0"/>
                    <a:pt x="4571" y="12852"/>
                    <a:pt x="15836" y="21653"/>
                  </a:cubicBezTo>
                  <a:cubicBezTo>
                    <a:pt x="27114" y="30454"/>
                    <a:pt x="40766" y="28587"/>
                    <a:pt x="40931" y="30403"/>
                  </a:cubicBezTo>
                  <a:cubicBezTo>
                    <a:pt x="41134" y="31190"/>
                    <a:pt x="38099" y="32981"/>
                    <a:pt x="32194" y="33235"/>
                  </a:cubicBezTo>
                  <a:cubicBezTo>
                    <a:pt x="24650" y="33578"/>
                    <a:pt x="17246" y="31254"/>
                    <a:pt x="11264" y="26657"/>
                  </a:cubicBezTo>
                  <a:cubicBezTo>
                    <a:pt x="5524" y="22250"/>
                    <a:pt x="1714" y="15785"/>
                    <a:pt x="647" y="8623"/>
                  </a:cubicBezTo>
                  <a:cubicBezTo>
                    <a:pt x="0" y="3340"/>
                    <a:pt x="1409" y="114"/>
                    <a:pt x="2209" y="165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3" name="Free Form 3529">
              <a:extLst>
                <a:ext uri="{FF2B5EF4-FFF2-40B4-BE49-F238E27FC236}">
                  <a16:creationId xmlns:a16="http://schemas.microsoft.com/office/drawing/2014/main" id="{D8782764-1956-AFAD-FD19-87369A7657DD}"/>
                </a:ext>
              </a:extLst>
            </p:cNvPr>
            <p:cNvSpPr/>
            <p:nvPr/>
          </p:nvSpPr>
          <p:spPr>
            <a:xfrm>
              <a:off x="25124221" y="30046828"/>
              <a:ext cx="54559" cy="22364"/>
            </a:xfrm>
            <a:custGeom>
              <a:avLst/>
              <a:gdLst/>
              <a:ahLst/>
              <a:cxnLst/>
              <a:rect l="0" t="0" r="0" b="0"/>
              <a:pathLst>
                <a:path w="54558" h="22364">
                  <a:moveTo>
                    <a:pt x="54164" y="9156"/>
                  </a:moveTo>
                  <a:cubicBezTo>
                    <a:pt x="53288" y="12471"/>
                    <a:pt x="41363" y="12001"/>
                    <a:pt x="27647" y="14833"/>
                  </a:cubicBezTo>
                  <a:cubicBezTo>
                    <a:pt x="13931" y="17678"/>
                    <a:pt x="3035" y="22364"/>
                    <a:pt x="927" y="19633"/>
                  </a:cubicBezTo>
                  <a:cubicBezTo>
                    <a:pt x="0" y="18325"/>
                    <a:pt x="1701" y="15112"/>
                    <a:pt x="5956" y="11658"/>
                  </a:cubicBezTo>
                  <a:cubicBezTo>
                    <a:pt x="17551" y="2920"/>
                    <a:pt x="32511" y="0"/>
                    <a:pt x="46532" y="3733"/>
                  </a:cubicBezTo>
                  <a:cubicBezTo>
                    <a:pt x="51777" y="5295"/>
                    <a:pt x="54558" y="7594"/>
                    <a:pt x="54164" y="9156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4" name="Free Form 3530">
              <a:extLst>
                <a:ext uri="{FF2B5EF4-FFF2-40B4-BE49-F238E27FC236}">
                  <a16:creationId xmlns:a16="http://schemas.microsoft.com/office/drawing/2014/main" id="{3505E62E-BE7D-6189-525A-6F31FAADFCF7}"/>
                </a:ext>
              </a:extLst>
            </p:cNvPr>
            <p:cNvSpPr/>
            <p:nvPr/>
          </p:nvSpPr>
          <p:spPr>
            <a:xfrm>
              <a:off x="25244514" y="30050902"/>
              <a:ext cx="45987" cy="19024"/>
            </a:xfrm>
            <a:custGeom>
              <a:avLst/>
              <a:gdLst/>
              <a:ahLst/>
              <a:cxnLst/>
              <a:rect l="0" t="0" r="0" b="0"/>
              <a:pathLst>
                <a:path w="45986" h="19024">
                  <a:moveTo>
                    <a:pt x="44767" y="16751"/>
                  </a:moveTo>
                  <a:cubicBezTo>
                    <a:pt x="41922" y="19024"/>
                    <a:pt x="33413" y="14846"/>
                    <a:pt x="22681" y="12979"/>
                  </a:cubicBezTo>
                  <a:cubicBezTo>
                    <a:pt x="11950" y="11099"/>
                    <a:pt x="2374" y="11582"/>
                    <a:pt x="711" y="8458"/>
                  </a:cubicBezTo>
                  <a:cubicBezTo>
                    <a:pt x="0" y="6984"/>
                    <a:pt x="1866" y="4546"/>
                    <a:pt x="6388" y="2781"/>
                  </a:cubicBezTo>
                  <a:cubicBezTo>
                    <a:pt x="12356" y="533"/>
                    <a:pt x="18833" y="0"/>
                    <a:pt x="25094" y="1282"/>
                  </a:cubicBezTo>
                  <a:cubicBezTo>
                    <a:pt x="31368" y="2336"/>
                    <a:pt x="37197" y="5168"/>
                    <a:pt x="41896" y="9448"/>
                  </a:cubicBezTo>
                  <a:cubicBezTo>
                    <a:pt x="45198" y="12661"/>
                    <a:pt x="45986" y="15620"/>
                    <a:pt x="44767" y="16751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5" name="Free Form 3531">
              <a:extLst>
                <a:ext uri="{FF2B5EF4-FFF2-40B4-BE49-F238E27FC236}">
                  <a16:creationId xmlns:a16="http://schemas.microsoft.com/office/drawing/2014/main" id="{20B71ECD-7B88-DCAC-007C-B65DF65CF6D3}"/>
                </a:ext>
              </a:extLst>
            </p:cNvPr>
            <p:cNvSpPr/>
            <p:nvPr/>
          </p:nvSpPr>
          <p:spPr>
            <a:xfrm>
              <a:off x="25210297" y="29931634"/>
              <a:ext cx="368" cy="1866"/>
            </a:xfrm>
            <a:custGeom>
              <a:avLst/>
              <a:gdLst/>
              <a:ahLst/>
              <a:cxnLst/>
              <a:rect l="0" t="0" r="0" b="0"/>
              <a:pathLst>
                <a:path w="368" h="1866">
                  <a:moveTo>
                    <a:pt x="0" y="0"/>
                  </a:moveTo>
                  <a:cubicBezTo>
                    <a:pt x="139" y="622"/>
                    <a:pt x="228" y="1244"/>
                    <a:pt x="368" y="1866"/>
                  </a:cubicBezTo>
                  <a:lnTo>
                    <a:pt x="63" y="1866"/>
                  </a:lnTo>
                  <a:cubicBezTo>
                    <a:pt x="63" y="1333"/>
                    <a:pt x="25" y="685"/>
                    <a:pt x="0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6" name="Free Form 3532">
              <a:extLst>
                <a:ext uri="{FF2B5EF4-FFF2-40B4-BE49-F238E27FC236}">
                  <a16:creationId xmlns:a16="http://schemas.microsoft.com/office/drawing/2014/main" id="{F6942C2C-4AF9-6435-F594-A7F3970E2226}"/>
                </a:ext>
              </a:extLst>
            </p:cNvPr>
            <p:cNvSpPr/>
            <p:nvPr/>
          </p:nvSpPr>
          <p:spPr>
            <a:xfrm>
              <a:off x="24924751" y="29913745"/>
              <a:ext cx="399766" cy="575049"/>
            </a:xfrm>
            <a:custGeom>
              <a:avLst/>
              <a:gdLst/>
              <a:ahLst/>
              <a:cxnLst/>
              <a:rect l="0" t="0" r="0" b="0"/>
              <a:pathLst>
                <a:path w="399766" h="575049">
                  <a:moveTo>
                    <a:pt x="118070" y="435173"/>
                  </a:moveTo>
                  <a:cubicBezTo>
                    <a:pt x="119518" y="435910"/>
                    <a:pt x="122642" y="523894"/>
                    <a:pt x="134059" y="561626"/>
                  </a:cubicBezTo>
                  <a:cubicBezTo>
                    <a:pt x="138111" y="575049"/>
                    <a:pt x="180896" y="574859"/>
                    <a:pt x="180896" y="574859"/>
                  </a:cubicBezTo>
                  <a:cubicBezTo>
                    <a:pt x="185926" y="574859"/>
                    <a:pt x="175905" y="406014"/>
                    <a:pt x="173657" y="368169"/>
                  </a:cubicBezTo>
                  <a:cubicBezTo>
                    <a:pt x="172210" y="344204"/>
                    <a:pt x="144930" y="309406"/>
                    <a:pt x="138911" y="286153"/>
                  </a:cubicBezTo>
                  <a:cubicBezTo>
                    <a:pt x="129310" y="248955"/>
                    <a:pt x="143597" y="225879"/>
                    <a:pt x="149248" y="187665"/>
                  </a:cubicBezTo>
                  <a:cubicBezTo>
                    <a:pt x="170762" y="185303"/>
                    <a:pt x="202308" y="170800"/>
                    <a:pt x="216837" y="154328"/>
                  </a:cubicBezTo>
                  <a:cubicBezTo>
                    <a:pt x="234325" y="134466"/>
                    <a:pt x="245094" y="109790"/>
                    <a:pt x="255597" y="85520"/>
                  </a:cubicBezTo>
                  <a:cubicBezTo>
                    <a:pt x="254594" y="109625"/>
                    <a:pt x="246097" y="132827"/>
                    <a:pt x="231289" y="151890"/>
                  </a:cubicBezTo>
                  <a:cubicBezTo>
                    <a:pt x="240776" y="154023"/>
                    <a:pt x="250911" y="150074"/>
                    <a:pt x="258150" y="143571"/>
                  </a:cubicBezTo>
                  <a:cubicBezTo>
                    <a:pt x="265135" y="136739"/>
                    <a:pt x="270596" y="128509"/>
                    <a:pt x="274190" y="119416"/>
                  </a:cubicBezTo>
                  <a:cubicBezTo>
                    <a:pt x="283791" y="97814"/>
                    <a:pt x="289290" y="74611"/>
                    <a:pt x="290369" y="50989"/>
                  </a:cubicBezTo>
                  <a:cubicBezTo>
                    <a:pt x="293112" y="84860"/>
                    <a:pt x="288807" y="118934"/>
                    <a:pt x="277746" y="151064"/>
                  </a:cubicBezTo>
                  <a:cubicBezTo>
                    <a:pt x="283791" y="149312"/>
                    <a:pt x="290179" y="151064"/>
                    <a:pt x="296389" y="152068"/>
                  </a:cubicBezTo>
                  <a:cubicBezTo>
                    <a:pt x="302612" y="153058"/>
                    <a:pt x="309736" y="152969"/>
                    <a:pt x="314194" y="148537"/>
                  </a:cubicBezTo>
                  <a:cubicBezTo>
                    <a:pt x="316912" y="145311"/>
                    <a:pt x="318652" y="141374"/>
                    <a:pt x="319223" y="137183"/>
                  </a:cubicBezTo>
                  <a:cubicBezTo>
                    <a:pt x="325548" y="108533"/>
                    <a:pt x="326945" y="79005"/>
                    <a:pt x="323338" y="49885"/>
                  </a:cubicBezTo>
                  <a:cubicBezTo>
                    <a:pt x="330742" y="65670"/>
                    <a:pt x="338133" y="81622"/>
                    <a:pt x="342324" y="98576"/>
                  </a:cubicBezTo>
                  <a:cubicBezTo>
                    <a:pt x="346528" y="115517"/>
                    <a:pt x="347404" y="133640"/>
                    <a:pt x="341956" y="150213"/>
                  </a:cubicBezTo>
                  <a:cubicBezTo>
                    <a:pt x="344369" y="153401"/>
                    <a:pt x="349627" y="153058"/>
                    <a:pt x="352611" y="150213"/>
                  </a:cubicBezTo>
                  <a:cubicBezTo>
                    <a:pt x="355354" y="147280"/>
                    <a:pt x="357056" y="143521"/>
                    <a:pt x="357437" y="139508"/>
                  </a:cubicBezTo>
                  <a:cubicBezTo>
                    <a:pt x="359901" y="125119"/>
                    <a:pt x="357437" y="110387"/>
                    <a:pt x="355215" y="95985"/>
                  </a:cubicBezTo>
                  <a:cubicBezTo>
                    <a:pt x="363597" y="111327"/>
                    <a:pt x="366175" y="129005"/>
                    <a:pt x="370696" y="145896"/>
                  </a:cubicBezTo>
                  <a:cubicBezTo>
                    <a:pt x="375204" y="162799"/>
                    <a:pt x="382507" y="180109"/>
                    <a:pt x="396985" y="189913"/>
                  </a:cubicBezTo>
                  <a:cubicBezTo>
                    <a:pt x="399766" y="167993"/>
                    <a:pt x="399359" y="145781"/>
                    <a:pt x="395791" y="123988"/>
                  </a:cubicBezTo>
                  <a:cubicBezTo>
                    <a:pt x="393149" y="105954"/>
                    <a:pt x="384856" y="87984"/>
                    <a:pt x="377224" y="71436"/>
                  </a:cubicBezTo>
                  <a:cubicBezTo>
                    <a:pt x="368702" y="52920"/>
                    <a:pt x="356637" y="34721"/>
                    <a:pt x="343150" y="22516"/>
                  </a:cubicBezTo>
                  <a:cubicBezTo>
                    <a:pt x="318195" y="0"/>
                    <a:pt x="307463" y="9397"/>
                    <a:pt x="291195" y="17602"/>
                  </a:cubicBezTo>
                  <a:lnTo>
                    <a:pt x="289290" y="18376"/>
                  </a:lnTo>
                  <a:lnTo>
                    <a:pt x="289290" y="17182"/>
                  </a:lnTo>
                  <a:lnTo>
                    <a:pt x="288617" y="13741"/>
                  </a:lnTo>
                  <a:cubicBezTo>
                    <a:pt x="246428" y="3657"/>
                    <a:pt x="202296" y="5092"/>
                    <a:pt x="160856" y="17894"/>
                  </a:cubicBezTo>
                  <a:cubicBezTo>
                    <a:pt x="130275" y="27368"/>
                    <a:pt x="92378" y="58152"/>
                    <a:pt x="76478" y="86028"/>
                  </a:cubicBezTo>
                  <a:cubicBezTo>
                    <a:pt x="76199" y="86536"/>
                    <a:pt x="75856" y="87044"/>
                    <a:pt x="75564" y="87616"/>
                  </a:cubicBezTo>
                  <a:cubicBezTo>
                    <a:pt x="41503" y="155408"/>
                    <a:pt x="0" y="321662"/>
                    <a:pt x="2692" y="456471"/>
                  </a:cubicBezTo>
                  <a:lnTo>
                    <a:pt x="43598" y="448914"/>
                  </a:ln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7" name="Free Form 3533">
              <a:extLst>
                <a:ext uri="{FF2B5EF4-FFF2-40B4-BE49-F238E27FC236}">
                  <a16:creationId xmlns:a16="http://schemas.microsoft.com/office/drawing/2014/main" id="{B13438B5-5404-8219-5E4B-96578F95CC52}"/>
                </a:ext>
              </a:extLst>
            </p:cNvPr>
            <p:cNvSpPr/>
            <p:nvPr/>
          </p:nvSpPr>
          <p:spPr>
            <a:xfrm>
              <a:off x="24925707" y="30060747"/>
              <a:ext cx="169899" cy="169899"/>
            </a:xfrm>
            <a:custGeom>
              <a:avLst/>
              <a:gdLst/>
              <a:ahLst/>
              <a:cxnLst/>
              <a:rect l="0" t="0" r="0" b="0"/>
              <a:pathLst>
                <a:path w="169898" h="169898">
                  <a:moveTo>
                    <a:pt x="30225" y="30225"/>
                  </a:moveTo>
                  <a:cubicBezTo>
                    <a:pt x="60451" y="0"/>
                    <a:pt x="109447" y="0"/>
                    <a:pt x="139673" y="30225"/>
                  </a:cubicBezTo>
                  <a:cubicBezTo>
                    <a:pt x="169898" y="60451"/>
                    <a:pt x="169898" y="109447"/>
                    <a:pt x="139673" y="139673"/>
                  </a:cubicBezTo>
                  <a:cubicBezTo>
                    <a:pt x="109447" y="169898"/>
                    <a:pt x="60451" y="169898"/>
                    <a:pt x="30225" y="139673"/>
                  </a:cubicBezTo>
                  <a:cubicBezTo>
                    <a:pt x="0" y="109447"/>
                    <a:pt x="0" y="60451"/>
                    <a:pt x="30225" y="30225"/>
                  </a:cubicBez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8" name="Free Form 3534">
              <a:extLst>
                <a:ext uri="{FF2B5EF4-FFF2-40B4-BE49-F238E27FC236}">
                  <a16:creationId xmlns:a16="http://schemas.microsoft.com/office/drawing/2014/main" id="{85550DC6-BC15-5CAB-DBBE-0BB8380F7DCC}"/>
                </a:ext>
              </a:extLst>
            </p:cNvPr>
            <p:cNvSpPr/>
            <p:nvPr/>
          </p:nvSpPr>
          <p:spPr>
            <a:xfrm>
              <a:off x="25009263" y="29882176"/>
              <a:ext cx="225359" cy="214514"/>
            </a:xfrm>
            <a:custGeom>
              <a:avLst/>
              <a:gdLst/>
              <a:ahLst/>
              <a:cxnLst/>
              <a:rect l="0" t="0" r="0" b="0"/>
              <a:pathLst>
                <a:path w="225359" h="214513">
                  <a:moveTo>
                    <a:pt x="0" y="186129"/>
                  </a:moveTo>
                  <a:cubicBezTo>
                    <a:pt x="0" y="186129"/>
                    <a:pt x="3809" y="26453"/>
                    <a:pt x="144308" y="5676"/>
                  </a:cubicBezTo>
                  <a:cubicBezTo>
                    <a:pt x="144308" y="5676"/>
                    <a:pt x="215656" y="0"/>
                    <a:pt x="225359" y="34073"/>
                  </a:cubicBezTo>
                  <a:cubicBezTo>
                    <a:pt x="225359" y="34073"/>
                    <a:pt x="188770" y="14198"/>
                    <a:pt x="152372" y="23736"/>
                  </a:cubicBezTo>
                  <a:cubicBezTo>
                    <a:pt x="128382" y="30009"/>
                    <a:pt x="40791" y="68909"/>
                    <a:pt x="36677" y="198930"/>
                  </a:cubicBezTo>
                  <a:lnTo>
                    <a:pt x="507" y="214513"/>
                  </a:lnTo>
                  <a:close/>
                </a:path>
              </a:pathLst>
            </a:custGeom>
            <a:solidFill>
              <a:srgbClr val="DA564A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79" name="Free Form 3535">
              <a:extLst>
                <a:ext uri="{FF2B5EF4-FFF2-40B4-BE49-F238E27FC236}">
                  <a16:creationId xmlns:a16="http://schemas.microsoft.com/office/drawing/2014/main" id="{792E009E-E37D-8C3A-20D1-D2DE380D59C0}"/>
                </a:ext>
              </a:extLst>
            </p:cNvPr>
            <p:cNvSpPr/>
            <p:nvPr/>
          </p:nvSpPr>
          <p:spPr>
            <a:xfrm>
              <a:off x="24950219" y="30087081"/>
              <a:ext cx="115328" cy="117436"/>
            </a:xfrm>
            <a:custGeom>
              <a:avLst/>
              <a:gdLst/>
              <a:ahLst/>
              <a:cxnLst/>
              <a:rect l="0" t="0" r="0" b="0"/>
              <a:pathLst>
                <a:path w="115327" h="117435">
                  <a:moveTo>
                    <a:pt x="115314" y="58190"/>
                  </a:moveTo>
                  <a:lnTo>
                    <a:pt x="115314" y="57276"/>
                  </a:lnTo>
                  <a:cubicBezTo>
                    <a:pt x="115314" y="56679"/>
                    <a:pt x="115314" y="55688"/>
                    <a:pt x="115111" y="54584"/>
                  </a:cubicBezTo>
                  <a:cubicBezTo>
                    <a:pt x="115060" y="53123"/>
                    <a:pt x="114882" y="51675"/>
                    <a:pt x="114603" y="50240"/>
                  </a:cubicBezTo>
                  <a:cubicBezTo>
                    <a:pt x="114324" y="48272"/>
                    <a:pt x="113917" y="46316"/>
                    <a:pt x="113384" y="44398"/>
                  </a:cubicBezTo>
                  <a:cubicBezTo>
                    <a:pt x="112038" y="39102"/>
                    <a:pt x="109891" y="34061"/>
                    <a:pt x="107047" y="29400"/>
                  </a:cubicBezTo>
                  <a:cubicBezTo>
                    <a:pt x="103326" y="23228"/>
                    <a:pt x="98449" y="17817"/>
                    <a:pt x="92683" y="13474"/>
                  </a:cubicBezTo>
                  <a:cubicBezTo>
                    <a:pt x="85736" y="8178"/>
                    <a:pt x="77634" y="4610"/>
                    <a:pt x="69036" y="3022"/>
                  </a:cubicBezTo>
                  <a:cubicBezTo>
                    <a:pt x="59155" y="1206"/>
                    <a:pt x="48983" y="2070"/>
                    <a:pt x="39534" y="5499"/>
                  </a:cubicBezTo>
                  <a:cubicBezTo>
                    <a:pt x="34442" y="7302"/>
                    <a:pt x="29654" y="9880"/>
                    <a:pt x="25348" y="13131"/>
                  </a:cubicBezTo>
                  <a:cubicBezTo>
                    <a:pt x="23113" y="14795"/>
                    <a:pt x="20980" y="16611"/>
                    <a:pt x="18986" y="18554"/>
                  </a:cubicBezTo>
                  <a:cubicBezTo>
                    <a:pt x="17005" y="20599"/>
                    <a:pt x="15163" y="22770"/>
                    <a:pt x="13474" y="25056"/>
                  </a:cubicBezTo>
                  <a:cubicBezTo>
                    <a:pt x="6426" y="34670"/>
                    <a:pt x="2616" y="46278"/>
                    <a:pt x="2578" y="58190"/>
                  </a:cubicBezTo>
                  <a:cubicBezTo>
                    <a:pt x="2641" y="64197"/>
                    <a:pt x="3594" y="70154"/>
                    <a:pt x="5410" y="75881"/>
                  </a:cubicBezTo>
                  <a:cubicBezTo>
                    <a:pt x="7238" y="81418"/>
                    <a:pt x="9943" y="86638"/>
                    <a:pt x="13423" y="91324"/>
                  </a:cubicBezTo>
                  <a:cubicBezTo>
                    <a:pt x="16700" y="95909"/>
                    <a:pt x="20713" y="99935"/>
                    <a:pt x="25285" y="103249"/>
                  </a:cubicBezTo>
                  <a:cubicBezTo>
                    <a:pt x="29603" y="106501"/>
                    <a:pt x="34391" y="109079"/>
                    <a:pt x="39483" y="110882"/>
                  </a:cubicBezTo>
                  <a:cubicBezTo>
                    <a:pt x="57403" y="117435"/>
                    <a:pt x="77418" y="114425"/>
                    <a:pt x="92632" y="102907"/>
                  </a:cubicBezTo>
                  <a:cubicBezTo>
                    <a:pt x="98411" y="98576"/>
                    <a:pt x="103287" y="93166"/>
                    <a:pt x="106996" y="86981"/>
                  </a:cubicBezTo>
                  <a:cubicBezTo>
                    <a:pt x="109815" y="82345"/>
                    <a:pt x="111923" y="77329"/>
                    <a:pt x="113270" y="72071"/>
                  </a:cubicBezTo>
                  <a:cubicBezTo>
                    <a:pt x="113803" y="70154"/>
                    <a:pt x="114222" y="68198"/>
                    <a:pt x="114489" y="66229"/>
                  </a:cubicBezTo>
                  <a:cubicBezTo>
                    <a:pt x="114768" y="64794"/>
                    <a:pt x="114946" y="63346"/>
                    <a:pt x="114997" y="61886"/>
                  </a:cubicBezTo>
                  <a:cubicBezTo>
                    <a:pt x="114997" y="60768"/>
                    <a:pt x="115149" y="59892"/>
                    <a:pt x="115200" y="59181"/>
                  </a:cubicBezTo>
                  <a:cubicBezTo>
                    <a:pt x="115251" y="58470"/>
                    <a:pt x="115200" y="58279"/>
                    <a:pt x="115200" y="58279"/>
                  </a:cubicBezTo>
                  <a:cubicBezTo>
                    <a:pt x="115251" y="58584"/>
                    <a:pt x="115251" y="58901"/>
                    <a:pt x="115200" y="59206"/>
                  </a:cubicBezTo>
                  <a:lnTo>
                    <a:pt x="115200" y="61911"/>
                  </a:lnTo>
                  <a:cubicBezTo>
                    <a:pt x="115213" y="63372"/>
                    <a:pt x="115086" y="64845"/>
                    <a:pt x="114832" y="66280"/>
                  </a:cubicBezTo>
                  <a:cubicBezTo>
                    <a:pt x="114628" y="68287"/>
                    <a:pt x="114260" y="70268"/>
                    <a:pt x="113752" y="72211"/>
                  </a:cubicBezTo>
                  <a:cubicBezTo>
                    <a:pt x="112495" y="77596"/>
                    <a:pt x="110412" y="82752"/>
                    <a:pt x="107567" y="87489"/>
                  </a:cubicBezTo>
                  <a:cubicBezTo>
                    <a:pt x="99236" y="101637"/>
                    <a:pt x="85254" y="111530"/>
                    <a:pt x="69150" y="114654"/>
                  </a:cubicBezTo>
                  <a:cubicBezTo>
                    <a:pt x="59054" y="116584"/>
                    <a:pt x="48627" y="115746"/>
                    <a:pt x="38975" y="112241"/>
                  </a:cubicBezTo>
                  <a:cubicBezTo>
                    <a:pt x="33756" y="110412"/>
                    <a:pt x="28841" y="107783"/>
                    <a:pt x="24409" y="104469"/>
                  </a:cubicBezTo>
                  <a:cubicBezTo>
                    <a:pt x="22110" y="102767"/>
                    <a:pt x="19938" y="100913"/>
                    <a:pt x="17881" y="98931"/>
                  </a:cubicBezTo>
                  <a:cubicBezTo>
                    <a:pt x="15836" y="96836"/>
                    <a:pt x="13944" y="94613"/>
                    <a:pt x="12204" y="92264"/>
                  </a:cubicBezTo>
                  <a:cubicBezTo>
                    <a:pt x="8610" y="87463"/>
                    <a:pt x="5841" y="82104"/>
                    <a:pt x="3962" y="76415"/>
                  </a:cubicBezTo>
                  <a:cubicBezTo>
                    <a:pt x="0" y="64655"/>
                    <a:pt x="0" y="51904"/>
                    <a:pt x="3962" y="40131"/>
                  </a:cubicBezTo>
                  <a:cubicBezTo>
                    <a:pt x="5841" y="34442"/>
                    <a:pt x="8610" y="29095"/>
                    <a:pt x="12204" y="24294"/>
                  </a:cubicBezTo>
                  <a:cubicBezTo>
                    <a:pt x="13944" y="21945"/>
                    <a:pt x="15836" y="19722"/>
                    <a:pt x="17881" y="17614"/>
                  </a:cubicBezTo>
                  <a:cubicBezTo>
                    <a:pt x="19938" y="15633"/>
                    <a:pt x="22110" y="13792"/>
                    <a:pt x="24409" y="12090"/>
                  </a:cubicBezTo>
                  <a:cubicBezTo>
                    <a:pt x="28841" y="8775"/>
                    <a:pt x="33756" y="6146"/>
                    <a:pt x="38975" y="4305"/>
                  </a:cubicBezTo>
                  <a:cubicBezTo>
                    <a:pt x="48627" y="838"/>
                    <a:pt x="59041" y="0"/>
                    <a:pt x="69125" y="1892"/>
                  </a:cubicBezTo>
                  <a:cubicBezTo>
                    <a:pt x="77900" y="3555"/>
                    <a:pt x="86155" y="7277"/>
                    <a:pt x="93229" y="12737"/>
                  </a:cubicBezTo>
                  <a:cubicBezTo>
                    <a:pt x="99058" y="17182"/>
                    <a:pt x="103961" y="22732"/>
                    <a:pt x="107644" y="29057"/>
                  </a:cubicBezTo>
                  <a:cubicBezTo>
                    <a:pt x="110488" y="33807"/>
                    <a:pt x="112584" y="38950"/>
                    <a:pt x="113841" y="44335"/>
                  </a:cubicBezTo>
                  <a:cubicBezTo>
                    <a:pt x="114349" y="46278"/>
                    <a:pt x="114717" y="48272"/>
                    <a:pt x="114921" y="50266"/>
                  </a:cubicBezTo>
                  <a:cubicBezTo>
                    <a:pt x="115175" y="51713"/>
                    <a:pt x="115302" y="53174"/>
                    <a:pt x="115289" y="54647"/>
                  </a:cubicBezTo>
                  <a:lnTo>
                    <a:pt x="115289" y="57479"/>
                  </a:lnTo>
                  <a:cubicBezTo>
                    <a:pt x="115327" y="57720"/>
                    <a:pt x="115327" y="57949"/>
                    <a:pt x="115314" y="5819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0" name="Free Form 3536">
              <a:extLst>
                <a:ext uri="{FF2B5EF4-FFF2-40B4-BE49-F238E27FC236}">
                  <a16:creationId xmlns:a16="http://schemas.microsoft.com/office/drawing/2014/main" id="{2FEA9272-8195-E95B-B228-7472C52B473B}"/>
                </a:ext>
              </a:extLst>
            </p:cNvPr>
            <p:cNvSpPr/>
            <p:nvPr/>
          </p:nvSpPr>
          <p:spPr>
            <a:xfrm>
              <a:off x="24980364" y="30121685"/>
              <a:ext cx="46951" cy="46862"/>
            </a:xfrm>
            <a:custGeom>
              <a:avLst/>
              <a:gdLst/>
              <a:ahLst/>
              <a:cxnLst/>
              <a:rect l="0" t="0" r="0" b="0"/>
              <a:pathLst>
                <a:path w="46951" h="46862">
                  <a:moveTo>
                    <a:pt x="46672" y="279"/>
                  </a:moveTo>
                  <a:cubicBezTo>
                    <a:pt x="46951" y="558"/>
                    <a:pt x="36816" y="11150"/>
                    <a:pt x="23964" y="23951"/>
                  </a:cubicBezTo>
                  <a:cubicBezTo>
                    <a:pt x="11099" y="36766"/>
                    <a:pt x="571" y="46862"/>
                    <a:pt x="279" y="46672"/>
                  </a:cubicBezTo>
                  <a:cubicBezTo>
                    <a:pt x="0" y="46468"/>
                    <a:pt x="10109" y="35762"/>
                    <a:pt x="22999" y="22986"/>
                  </a:cubicBezTo>
                  <a:cubicBezTo>
                    <a:pt x="35889" y="10210"/>
                    <a:pt x="46392" y="0"/>
                    <a:pt x="46672" y="27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1" name="Free Form 3537">
              <a:extLst>
                <a:ext uri="{FF2B5EF4-FFF2-40B4-BE49-F238E27FC236}">
                  <a16:creationId xmlns:a16="http://schemas.microsoft.com/office/drawing/2014/main" id="{4B4C81A3-6D36-985F-5BA1-C25CD098ABA7}"/>
                </a:ext>
              </a:extLst>
            </p:cNvPr>
            <p:cNvSpPr/>
            <p:nvPr/>
          </p:nvSpPr>
          <p:spPr>
            <a:xfrm>
              <a:off x="25000037" y="30142121"/>
              <a:ext cx="18084" cy="17691"/>
            </a:xfrm>
            <a:custGeom>
              <a:avLst/>
              <a:gdLst/>
              <a:ahLst/>
              <a:cxnLst/>
              <a:rect l="0" t="0" r="0" b="0"/>
              <a:pathLst>
                <a:path w="18084" h="17690">
                  <a:moveTo>
                    <a:pt x="18084" y="0"/>
                  </a:moveTo>
                  <a:cubicBezTo>
                    <a:pt x="15620" y="3441"/>
                    <a:pt x="12763" y="6591"/>
                    <a:pt x="9562" y="9372"/>
                  </a:cubicBezTo>
                  <a:cubicBezTo>
                    <a:pt x="6705" y="12496"/>
                    <a:pt x="3492" y="15290"/>
                    <a:pt x="0" y="17690"/>
                  </a:cubicBezTo>
                  <a:cubicBezTo>
                    <a:pt x="5321" y="11112"/>
                    <a:pt x="11379" y="5181"/>
                    <a:pt x="18059" y="0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2" name="Free Form 3538">
              <a:extLst>
                <a:ext uri="{FF2B5EF4-FFF2-40B4-BE49-F238E27FC236}">
                  <a16:creationId xmlns:a16="http://schemas.microsoft.com/office/drawing/2014/main" id="{97F4E81B-55DF-A340-E788-EB4F1065A80F}"/>
                </a:ext>
              </a:extLst>
            </p:cNvPr>
            <p:cNvSpPr/>
            <p:nvPr/>
          </p:nvSpPr>
          <p:spPr>
            <a:xfrm>
              <a:off x="25101716" y="30063781"/>
              <a:ext cx="103593" cy="104329"/>
            </a:xfrm>
            <a:custGeom>
              <a:avLst/>
              <a:gdLst/>
              <a:ahLst/>
              <a:cxnLst/>
              <a:rect l="0" t="0" r="0" b="0"/>
              <a:pathLst>
                <a:path w="103592" h="104329">
                  <a:moveTo>
                    <a:pt x="103529" y="53187"/>
                  </a:moveTo>
                  <a:cubicBezTo>
                    <a:pt x="103237" y="49110"/>
                    <a:pt x="102627" y="45071"/>
                    <a:pt x="101713" y="41096"/>
                  </a:cubicBezTo>
                  <a:cubicBezTo>
                    <a:pt x="100481" y="36461"/>
                    <a:pt x="98576" y="32041"/>
                    <a:pt x="96036" y="27977"/>
                  </a:cubicBezTo>
                  <a:cubicBezTo>
                    <a:pt x="92772" y="22554"/>
                    <a:pt x="88492" y="17817"/>
                    <a:pt x="83425" y="14007"/>
                  </a:cubicBezTo>
                  <a:cubicBezTo>
                    <a:pt x="77329" y="9372"/>
                    <a:pt x="70230" y="6248"/>
                    <a:pt x="62699" y="4864"/>
                  </a:cubicBezTo>
                  <a:cubicBezTo>
                    <a:pt x="54063" y="3289"/>
                    <a:pt x="45148" y="4051"/>
                    <a:pt x="36893" y="7048"/>
                  </a:cubicBezTo>
                  <a:cubicBezTo>
                    <a:pt x="32422" y="8623"/>
                    <a:pt x="28231" y="10883"/>
                    <a:pt x="24459" y="13753"/>
                  </a:cubicBezTo>
                  <a:cubicBezTo>
                    <a:pt x="20459" y="16636"/>
                    <a:pt x="16954" y="20154"/>
                    <a:pt x="14096" y="24167"/>
                  </a:cubicBezTo>
                  <a:cubicBezTo>
                    <a:pt x="1371" y="41426"/>
                    <a:pt x="1371" y="64947"/>
                    <a:pt x="14096" y="82206"/>
                  </a:cubicBezTo>
                  <a:cubicBezTo>
                    <a:pt x="16954" y="86219"/>
                    <a:pt x="20459" y="89737"/>
                    <a:pt x="24459" y="92620"/>
                  </a:cubicBezTo>
                  <a:cubicBezTo>
                    <a:pt x="28231" y="95490"/>
                    <a:pt x="32422" y="97750"/>
                    <a:pt x="36893" y="99325"/>
                  </a:cubicBezTo>
                  <a:cubicBezTo>
                    <a:pt x="45148" y="102322"/>
                    <a:pt x="54063" y="103084"/>
                    <a:pt x="62699" y="101510"/>
                  </a:cubicBezTo>
                  <a:cubicBezTo>
                    <a:pt x="70230" y="100125"/>
                    <a:pt x="77329" y="97001"/>
                    <a:pt x="83425" y="92366"/>
                  </a:cubicBezTo>
                  <a:cubicBezTo>
                    <a:pt x="88505" y="88543"/>
                    <a:pt x="92797" y="83781"/>
                    <a:pt x="96061" y="78345"/>
                  </a:cubicBezTo>
                  <a:cubicBezTo>
                    <a:pt x="98601" y="74281"/>
                    <a:pt x="100519" y="69849"/>
                    <a:pt x="101738" y="65226"/>
                  </a:cubicBezTo>
                  <a:cubicBezTo>
                    <a:pt x="102653" y="61251"/>
                    <a:pt x="103262" y="57200"/>
                    <a:pt x="103554" y="53123"/>
                  </a:cubicBezTo>
                  <a:cubicBezTo>
                    <a:pt x="103592" y="53390"/>
                    <a:pt x="103592" y="53656"/>
                    <a:pt x="103554" y="53923"/>
                  </a:cubicBezTo>
                  <a:lnTo>
                    <a:pt x="103554" y="56311"/>
                  </a:lnTo>
                  <a:cubicBezTo>
                    <a:pt x="103567" y="57606"/>
                    <a:pt x="103453" y="58889"/>
                    <a:pt x="103249" y="60171"/>
                  </a:cubicBezTo>
                  <a:cubicBezTo>
                    <a:pt x="103046" y="61924"/>
                    <a:pt x="102729" y="63664"/>
                    <a:pt x="102284" y="65366"/>
                  </a:cubicBezTo>
                  <a:cubicBezTo>
                    <a:pt x="101179" y="70077"/>
                    <a:pt x="99351" y="74599"/>
                    <a:pt x="96887" y="78764"/>
                  </a:cubicBezTo>
                  <a:cubicBezTo>
                    <a:pt x="89584" y="91223"/>
                    <a:pt x="77253" y="99935"/>
                    <a:pt x="63067" y="102640"/>
                  </a:cubicBezTo>
                  <a:cubicBezTo>
                    <a:pt x="54203" y="104329"/>
                    <a:pt x="45046" y="103605"/>
                    <a:pt x="36550" y="100544"/>
                  </a:cubicBezTo>
                  <a:cubicBezTo>
                    <a:pt x="31965" y="98931"/>
                    <a:pt x="27660" y="96620"/>
                    <a:pt x="23774" y="93699"/>
                  </a:cubicBezTo>
                  <a:cubicBezTo>
                    <a:pt x="19633" y="90765"/>
                    <a:pt x="16014" y="87146"/>
                    <a:pt x="13080" y="82993"/>
                  </a:cubicBezTo>
                  <a:cubicBezTo>
                    <a:pt x="0" y="65277"/>
                    <a:pt x="0" y="41096"/>
                    <a:pt x="13080" y="23380"/>
                  </a:cubicBezTo>
                  <a:cubicBezTo>
                    <a:pt x="14592" y="21323"/>
                    <a:pt x="16243" y="19367"/>
                    <a:pt x="18021" y="17525"/>
                  </a:cubicBezTo>
                  <a:cubicBezTo>
                    <a:pt x="19799" y="15785"/>
                    <a:pt x="21691" y="14160"/>
                    <a:pt x="23697" y="12674"/>
                  </a:cubicBezTo>
                  <a:cubicBezTo>
                    <a:pt x="27571" y="9740"/>
                    <a:pt x="31876" y="7429"/>
                    <a:pt x="36474" y="5829"/>
                  </a:cubicBezTo>
                  <a:cubicBezTo>
                    <a:pt x="52577" y="0"/>
                    <a:pt x="70560" y="2793"/>
                    <a:pt x="84136" y="13245"/>
                  </a:cubicBezTo>
                  <a:cubicBezTo>
                    <a:pt x="89254" y="17157"/>
                    <a:pt x="93559" y="22034"/>
                    <a:pt x="96798" y="27609"/>
                  </a:cubicBezTo>
                  <a:cubicBezTo>
                    <a:pt x="99274" y="31775"/>
                    <a:pt x="101090" y="36283"/>
                    <a:pt x="102195" y="41007"/>
                  </a:cubicBezTo>
                  <a:cubicBezTo>
                    <a:pt x="102640" y="42709"/>
                    <a:pt x="102970" y="44449"/>
                    <a:pt x="103160" y="46202"/>
                  </a:cubicBezTo>
                  <a:cubicBezTo>
                    <a:pt x="103376" y="47484"/>
                    <a:pt x="103478" y="48767"/>
                    <a:pt x="103465" y="50062"/>
                  </a:cubicBezTo>
                  <a:lnTo>
                    <a:pt x="103465" y="52425"/>
                  </a:lnTo>
                  <a:cubicBezTo>
                    <a:pt x="103529" y="52666"/>
                    <a:pt x="103541" y="52933"/>
                    <a:pt x="103529" y="53187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3" name="Free Form 3539">
              <a:extLst>
                <a:ext uri="{FF2B5EF4-FFF2-40B4-BE49-F238E27FC236}">
                  <a16:creationId xmlns:a16="http://schemas.microsoft.com/office/drawing/2014/main" id="{0375E74D-2AF5-F90C-6653-23554101A8B0}"/>
                </a:ext>
              </a:extLst>
            </p:cNvPr>
            <p:cNvSpPr/>
            <p:nvPr/>
          </p:nvSpPr>
          <p:spPr>
            <a:xfrm>
              <a:off x="25230664" y="30065876"/>
              <a:ext cx="103529" cy="106730"/>
            </a:xfrm>
            <a:custGeom>
              <a:avLst/>
              <a:gdLst/>
              <a:ahLst/>
              <a:cxnLst/>
              <a:rect l="0" t="0" r="0" b="0"/>
              <a:pathLst>
                <a:path w="103529" h="106729">
                  <a:moveTo>
                    <a:pt x="103389" y="51091"/>
                  </a:moveTo>
                  <a:cubicBezTo>
                    <a:pt x="103072" y="47014"/>
                    <a:pt x="102462" y="42976"/>
                    <a:pt x="101548" y="39001"/>
                  </a:cubicBezTo>
                  <a:cubicBezTo>
                    <a:pt x="100316" y="34365"/>
                    <a:pt x="98398" y="29946"/>
                    <a:pt x="95871" y="25882"/>
                  </a:cubicBezTo>
                  <a:cubicBezTo>
                    <a:pt x="92607" y="20472"/>
                    <a:pt x="88327" y="15722"/>
                    <a:pt x="83285" y="11912"/>
                  </a:cubicBezTo>
                  <a:cubicBezTo>
                    <a:pt x="77177" y="7289"/>
                    <a:pt x="70077" y="4152"/>
                    <a:pt x="62534" y="2768"/>
                  </a:cubicBezTo>
                  <a:cubicBezTo>
                    <a:pt x="53885" y="1193"/>
                    <a:pt x="44982" y="1955"/>
                    <a:pt x="36728" y="4952"/>
                  </a:cubicBezTo>
                  <a:cubicBezTo>
                    <a:pt x="32257" y="6527"/>
                    <a:pt x="28066" y="8788"/>
                    <a:pt x="24294" y="11658"/>
                  </a:cubicBezTo>
                  <a:cubicBezTo>
                    <a:pt x="20294" y="14541"/>
                    <a:pt x="16789" y="18059"/>
                    <a:pt x="13931" y="22072"/>
                  </a:cubicBezTo>
                  <a:cubicBezTo>
                    <a:pt x="1206" y="39331"/>
                    <a:pt x="1206" y="62851"/>
                    <a:pt x="13931" y="80110"/>
                  </a:cubicBezTo>
                  <a:cubicBezTo>
                    <a:pt x="15404" y="82104"/>
                    <a:pt x="17005" y="84009"/>
                    <a:pt x="18732" y="85787"/>
                  </a:cubicBezTo>
                  <a:cubicBezTo>
                    <a:pt x="20522" y="87489"/>
                    <a:pt x="22415" y="89064"/>
                    <a:pt x="24409" y="90524"/>
                  </a:cubicBezTo>
                  <a:cubicBezTo>
                    <a:pt x="28180" y="93394"/>
                    <a:pt x="32371" y="95655"/>
                    <a:pt x="36842" y="97230"/>
                  </a:cubicBezTo>
                  <a:cubicBezTo>
                    <a:pt x="45097" y="100227"/>
                    <a:pt x="53999" y="100989"/>
                    <a:pt x="62648" y="99414"/>
                  </a:cubicBezTo>
                  <a:cubicBezTo>
                    <a:pt x="70179" y="98030"/>
                    <a:pt x="77291" y="94893"/>
                    <a:pt x="83400" y="90270"/>
                  </a:cubicBezTo>
                  <a:cubicBezTo>
                    <a:pt x="88441" y="86460"/>
                    <a:pt x="92721" y="81710"/>
                    <a:pt x="95985" y="76300"/>
                  </a:cubicBezTo>
                  <a:cubicBezTo>
                    <a:pt x="98512" y="72236"/>
                    <a:pt x="100430" y="67817"/>
                    <a:pt x="101662" y="63181"/>
                  </a:cubicBezTo>
                  <a:cubicBezTo>
                    <a:pt x="102576" y="59206"/>
                    <a:pt x="103186" y="55168"/>
                    <a:pt x="103503" y="51091"/>
                  </a:cubicBezTo>
                  <a:cubicBezTo>
                    <a:pt x="103529" y="51358"/>
                    <a:pt x="103529" y="51624"/>
                    <a:pt x="103503" y="51891"/>
                  </a:cubicBezTo>
                  <a:lnTo>
                    <a:pt x="103503" y="54266"/>
                  </a:lnTo>
                  <a:cubicBezTo>
                    <a:pt x="103503" y="55561"/>
                    <a:pt x="103402" y="56857"/>
                    <a:pt x="103186" y="58127"/>
                  </a:cubicBezTo>
                  <a:cubicBezTo>
                    <a:pt x="103008" y="59879"/>
                    <a:pt x="102691" y="61619"/>
                    <a:pt x="102259" y="63334"/>
                  </a:cubicBezTo>
                  <a:cubicBezTo>
                    <a:pt x="101154" y="68045"/>
                    <a:pt x="99325" y="72567"/>
                    <a:pt x="96836" y="76732"/>
                  </a:cubicBezTo>
                  <a:cubicBezTo>
                    <a:pt x="84606" y="97573"/>
                    <a:pt x="59257" y="106729"/>
                    <a:pt x="36524" y="98500"/>
                  </a:cubicBezTo>
                  <a:cubicBezTo>
                    <a:pt x="31940" y="96899"/>
                    <a:pt x="27622" y="94588"/>
                    <a:pt x="23723" y="91654"/>
                  </a:cubicBezTo>
                  <a:cubicBezTo>
                    <a:pt x="21716" y="90181"/>
                    <a:pt x="19824" y="88556"/>
                    <a:pt x="18046" y="86803"/>
                  </a:cubicBezTo>
                  <a:cubicBezTo>
                    <a:pt x="16268" y="84962"/>
                    <a:pt x="14604" y="83019"/>
                    <a:pt x="13080" y="80961"/>
                  </a:cubicBezTo>
                  <a:cubicBezTo>
                    <a:pt x="0" y="63232"/>
                    <a:pt x="0" y="39052"/>
                    <a:pt x="13080" y="21335"/>
                  </a:cubicBezTo>
                  <a:cubicBezTo>
                    <a:pt x="14604" y="19278"/>
                    <a:pt x="16268" y="17322"/>
                    <a:pt x="18046" y="15493"/>
                  </a:cubicBezTo>
                  <a:cubicBezTo>
                    <a:pt x="19824" y="13741"/>
                    <a:pt x="21716" y="12115"/>
                    <a:pt x="23723" y="10629"/>
                  </a:cubicBezTo>
                  <a:cubicBezTo>
                    <a:pt x="27609" y="7696"/>
                    <a:pt x="31927" y="5384"/>
                    <a:pt x="36524" y="3797"/>
                  </a:cubicBezTo>
                  <a:cubicBezTo>
                    <a:pt x="45008" y="736"/>
                    <a:pt x="54164" y="0"/>
                    <a:pt x="63016" y="1689"/>
                  </a:cubicBezTo>
                  <a:cubicBezTo>
                    <a:pt x="77202" y="4406"/>
                    <a:pt x="89534" y="13106"/>
                    <a:pt x="96836" y="25564"/>
                  </a:cubicBezTo>
                  <a:cubicBezTo>
                    <a:pt x="99325" y="29730"/>
                    <a:pt x="101154" y="34251"/>
                    <a:pt x="102259" y="38963"/>
                  </a:cubicBezTo>
                  <a:cubicBezTo>
                    <a:pt x="102691" y="40677"/>
                    <a:pt x="103008" y="42417"/>
                    <a:pt x="103186" y="44157"/>
                  </a:cubicBezTo>
                  <a:cubicBezTo>
                    <a:pt x="103351" y="45389"/>
                    <a:pt x="103427" y="46621"/>
                    <a:pt x="103389" y="47853"/>
                  </a:cubicBezTo>
                  <a:lnTo>
                    <a:pt x="103389" y="50215"/>
                  </a:lnTo>
                  <a:cubicBezTo>
                    <a:pt x="103427" y="50507"/>
                    <a:pt x="103427" y="50799"/>
                    <a:pt x="103389" y="51091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4" name="Free Form 3540">
              <a:extLst>
                <a:ext uri="{FF2B5EF4-FFF2-40B4-BE49-F238E27FC236}">
                  <a16:creationId xmlns:a16="http://schemas.microsoft.com/office/drawing/2014/main" id="{B624C1C2-CBC1-31A1-F74B-13AA53794854}"/>
                </a:ext>
              </a:extLst>
            </p:cNvPr>
            <p:cNvSpPr/>
            <p:nvPr/>
          </p:nvSpPr>
          <p:spPr>
            <a:xfrm>
              <a:off x="25203115" y="30096455"/>
              <a:ext cx="33871" cy="9499"/>
            </a:xfrm>
            <a:custGeom>
              <a:avLst/>
              <a:gdLst/>
              <a:ahLst/>
              <a:cxnLst/>
              <a:rect l="0" t="0" r="0" b="0"/>
              <a:pathLst>
                <a:path w="33870" h="9499">
                  <a:moveTo>
                    <a:pt x="33870" y="5435"/>
                  </a:moveTo>
                  <a:cubicBezTo>
                    <a:pt x="32156" y="4978"/>
                    <a:pt x="30466" y="4444"/>
                    <a:pt x="28815" y="3822"/>
                  </a:cubicBezTo>
                  <a:cubicBezTo>
                    <a:pt x="20662" y="1511"/>
                    <a:pt x="11925" y="2527"/>
                    <a:pt x="4508" y="6654"/>
                  </a:cubicBezTo>
                  <a:cubicBezTo>
                    <a:pt x="1676" y="8216"/>
                    <a:pt x="165" y="9499"/>
                    <a:pt x="0" y="9499"/>
                  </a:cubicBezTo>
                  <a:cubicBezTo>
                    <a:pt x="1028" y="7988"/>
                    <a:pt x="2387" y="6756"/>
                    <a:pt x="3975" y="5867"/>
                  </a:cubicBezTo>
                  <a:cubicBezTo>
                    <a:pt x="11467" y="1054"/>
                    <a:pt x="20776" y="0"/>
                    <a:pt x="29158" y="3022"/>
                  </a:cubicBezTo>
                  <a:cubicBezTo>
                    <a:pt x="30886" y="3467"/>
                    <a:pt x="32498" y="4292"/>
                    <a:pt x="33870" y="5435"/>
                  </a:cubicBezTo>
                  <a:close/>
                </a:path>
              </a:pathLst>
            </a:custGeom>
            <a:solidFill>
              <a:srgbClr val="32434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5" name="Free Form 3541">
              <a:extLst>
                <a:ext uri="{FF2B5EF4-FFF2-40B4-BE49-F238E27FC236}">
                  <a16:creationId xmlns:a16="http://schemas.microsoft.com/office/drawing/2014/main" id="{0E958E6F-D734-1A31-1028-C1F93945F28E}"/>
                </a:ext>
              </a:extLst>
            </p:cNvPr>
            <p:cNvSpPr/>
            <p:nvPr/>
          </p:nvSpPr>
          <p:spPr>
            <a:xfrm>
              <a:off x="25006198" y="30068628"/>
              <a:ext cx="41109" cy="9500"/>
            </a:xfrm>
            <a:custGeom>
              <a:avLst/>
              <a:gdLst/>
              <a:ahLst/>
              <a:cxnLst/>
              <a:rect l="0" t="0" r="0" b="0"/>
              <a:pathLst>
                <a:path w="41109" h="9499">
                  <a:moveTo>
                    <a:pt x="41109" y="9499"/>
                  </a:moveTo>
                  <a:cubicBezTo>
                    <a:pt x="34569" y="6896"/>
                    <a:pt x="27850" y="4737"/>
                    <a:pt x="21005" y="3060"/>
                  </a:cubicBezTo>
                  <a:cubicBezTo>
                    <a:pt x="14058" y="1866"/>
                    <a:pt x="7048" y="1155"/>
                    <a:pt x="0" y="927"/>
                  </a:cubicBezTo>
                  <a:cubicBezTo>
                    <a:pt x="2031" y="342"/>
                    <a:pt x="4140" y="88"/>
                    <a:pt x="6248" y="190"/>
                  </a:cubicBezTo>
                  <a:cubicBezTo>
                    <a:pt x="16395" y="0"/>
                    <a:pt x="26466" y="2108"/>
                    <a:pt x="35686" y="6349"/>
                  </a:cubicBezTo>
                  <a:cubicBezTo>
                    <a:pt x="37655" y="7099"/>
                    <a:pt x="39483" y="8166"/>
                    <a:pt x="41109" y="9499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6" name="Free Form 3542">
              <a:extLst>
                <a:ext uri="{FF2B5EF4-FFF2-40B4-BE49-F238E27FC236}">
                  <a16:creationId xmlns:a16="http://schemas.microsoft.com/office/drawing/2014/main" id="{684A9F79-9B5A-E626-5556-138B13582AB5}"/>
                </a:ext>
              </a:extLst>
            </p:cNvPr>
            <p:cNvSpPr/>
            <p:nvPr/>
          </p:nvSpPr>
          <p:spPr>
            <a:xfrm>
              <a:off x="25031174" y="29895477"/>
              <a:ext cx="200417" cy="173569"/>
            </a:xfrm>
            <a:custGeom>
              <a:avLst/>
              <a:gdLst/>
              <a:ahLst/>
              <a:cxnLst/>
              <a:rect l="0" t="0" r="0" b="0"/>
              <a:pathLst>
                <a:path w="200416" h="173569">
                  <a:moveTo>
                    <a:pt x="200416" y="19887"/>
                  </a:moveTo>
                  <a:cubicBezTo>
                    <a:pt x="198600" y="16319"/>
                    <a:pt x="196111" y="13144"/>
                    <a:pt x="193088" y="10515"/>
                  </a:cubicBezTo>
                  <a:cubicBezTo>
                    <a:pt x="189507" y="7518"/>
                    <a:pt x="185379" y="5219"/>
                    <a:pt x="180934" y="3733"/>
                  </a:cubicBezTo>
                  <a:cubicBezTo>
                    <a:pt x="175029" y="1866"/>
                    <a:pt x="168844" y="1054"/>
                    <a:pt x="162659" y="1320"/>
                  </a:cubicBezTo>
                  <a:cubicBezTo>
                    <a:pt x="155128" y="1612"/>
                    <a:pt x="147648" y="2565"/>
                    <a:pt x="140282" y="4165"/>
                  </a:cubicBezTo>
                  <a:cubicBezTo>
                    <a:pt x="131862" y="5778"/>
                    <a:pt x="123569" y="8077"/>
                    <a:pt x="115505" y="10998"/>
                  </a:cubicBezTo>
                  <a:cubicBezTo>
                    <a:pt x="96836" y="17754"/>
                    <a:pt x="79450" y="27609"/>
                    <a:pt x="64058" y="40131"/>
                  </a:cubicBezTo>
                  <a:cubicBezTo>
                    <a:pt x="48615" y="52653"/>
                    <a:pt x="35470" y="67779"/>
                    <a:pt x="25221" y="84822"/>
                  </a:cubicBezTo>
                  <a:cubicBezTo>
                    <a:pt x="16941" y="98741"/>
                    <a:pt x="10578" y="113714"/>
                    <a:pt x="6286" y="129335"/>
                  </a:cubicBezTo>
                  <a:cubicBezTo>
                    <a:pt x="3416" y="139876"/>
                    <a:pt x="1511" y="150671"/>
                    <a:pt x="609" y="161554"/>
                  </a:cubicBezTo>
                  <a:cubicBezTo>
                    <a:pt x="241" y="165415"/>
                    <a:pt x="152" y="168400"/>
                    <a:pt x="38" y="170444"/>
                  </a:cubicBezTo>
                  <a:lnTo>
                    <a:pt x="38" y="172768"/>
                  </a:lnTo>
                  <a:cubicBezTo>
                    <a:pt x="50" y="173035"/>
                    <a:pt x="50" y="173302"/>
                    <a:pt x="38" y="173569"/>
                  </a:cubicBezTo>
                  <a:cubicBezTo>
                    <a:pt x="0" y="173302"/>
                    <a:pt x="0" y="173035"/>
                    <a:pt x="38" y="172768"/>
                  </a:cubicBezTo>
                  <a:lnTo>
                    <a:pt x="38" y="170444"/>
                  </a:lnTo>
                  <a:cubicBezTo>
                    <a:pt x="38" y="168400"/>
                    <a:pt x="38" y="165390"/>
                    <a:pt x="317" y="161504"/>
                  </a:cubicBezTo>
                  <a:cubicBezTo>
                    <a:pt x="990" y="150544"/>
                    <a:pt x="2743" y="139685"/>
                    <a:pt x="5549" y="129081"/>
                  </a:cubicBezTo>
                  <a:cubicBezTo>
                    <a:pt x="9702" y="113295"/>
                    <a:pt x="16014" y="98169"/>
                    <a:pt x="24307" y="84111"/>
                  </a:cubicBezTo>
                  <a:cubicBezTo>
                    <a:pt x="34530" y="66902"/>
                    <a:pt x="47713" y="51624"/>
                    <a:pt x="63232" y="39001"/>
                  </a:cubicBezTo>
                  <a:cubicBezTo>
                    <a:pt x="78764" y="26390"/>
                    <a:pt x="96303" y="16509"/>
                    <a:pt x="115136" y="9753"/>
                  </a:cubicBezTo>
                  <a:cubicBezTo>
                    <a:pt x="123328" y="6781"/>
                    <a:pt x="131748" y="4470"/>
                    <a:pt x="140308" y="2857"/>
                  </a:cubicBezTo>
                  <a:cubicBezTo>
                    <a:pt x="147750" y="1320"/>
                    <a:pt x="155293" y="444"/>
                    <a:pt x="162888" y="215"/>
                  </a:cubicBezTo>
                  <a:cubicBezTo>
                    <a:pt x="169200" y="0"/>
                    <a:pt x="175486" y="914"/>
                    <a:pt x="181481" y="2908"/>
                  </a:cubicBezTo>
                  <a:cubicBezTo>
                    <a:pt x="185989" y="4457"/>
                    <a:pt x="190142" y="6883"/>
                    <a:pt x="193711" y="10032"/>
                  </a:cubicBezTo>
                  <a:cubicBezTo>
                    <a:pt x="195984" y="12026"/>
                    <a:pt x="197901" y="14376"/>
                    <a:pt x="199400" y="16992"/>
                  </a:cubicBezTo>
                  <a:cubicBezTo>
                    <a:pt x="199845" y="17919"/>
                    <a:pt x="200187" y="18884"/>
                    <a:pt x="200416" y="19887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7" name="Free Form 3543">
              <a:extLst>
                <a:ext uri="{FF2B5EF4-FFF2-40B4-BE49-F238E27FC236}">
                  <a16:creationId xmlns:a16="http://schemas.microsoft.com/office/drawing/2014/main" id="{F14CC1F6-D0BF-CF8E-9F48-5B686F8DE7EC}"/>
                </a:ext>
              </a:extLst>
            </p:cNvPr>
            <p:cNvSpPr/>
            <p:nvPr/>
          </p:nvSpPr>
          <p:spPr>
            <a:xfrm>
              <a:off x="25186818" y="30313770"/>
              <a:ext cx="269008" cy="109930"/>
            </a:xfrm>
            <a:custGeom>
              <a:avLst/>
              <a:gdLst/>
              <a:ahLst/>
              <a:cxnLst/>
              <a:rect l="0" t="0" r="0" b="0"/>
              <a:pathLst>
                <a:path w="269008" h="109930">
                  <a:moveTo>
                    <a:pt x="124039" y="0"/>
                  </a:moveTo>
                  <a:lnTo>
                    <a:pt x="27507" y="5194"/>
                  </a:lnTo>
                  <a:lnTo>
                    <a:pt x="1422" y="53060"/>
                  </a:lnTo>
                  <a:cubicBezTo>
                    <a:pt x="0" y="55625"/>
                    <a:pt x="914" y="58863"/>
                    <a:pt x="3479" y="60286"/>
                  </a:cubicBezTo>
                  <a:cubicBezTo>
                    <a:pt x="4254" y="60718"/>
                    <a:pt x="5130" y="60946"/>
                    <a:pt x="6019" y="60959"/>
                  </a:cubicBezTo>
                  <a:cubicBezTo>
                    <a:pt x="10642" y="60959"/>
                    <a:pt x="16039" y="60298"/>
                    <a:pt x="19024" y="57631"/>
                  </a:cubicBezTo>
                  <a:cubicBezTo>
                    <a:pt x="24955" y="52298"/>
                    <a:pt x="36232" y="36258"/>
                    <a:pt x="36232" y="36258"/>
                  </a:cubicBezTo>
                  <a:lnTo>
                    <a:pt x="30289" y="71881"/>
                  </a:lnTo>
                  <a:lnTo>
                    <a:pt x="57631" y="101586"/>
                  </a:lnTo>
                  <a:lnTo>
                    <a:pt x="63600" y="107567"/>
                  </a:lnTo>
                  <a:cubicBezTo>
                    <a:pt x="65963" y="109930"/>
                    <a:pt x="69785" y="109930"/>
                    <a:pt x="72147" y="107580"/>
                  </a:cubicBezTo>
                  <a:cubicBezTo>
                    <a:pt x="72325" y="107402"/>
                    <a:pt x="72490" y="107212"/>
                    <a:pt x="72655" y="107009"/>
                  </a:cubicBezTo>
                  <a:cubicBezTo>
                    <a:pt x="75627" y="103110"/>
                    <a:pt x="79005" y="98055"/>
                    <a:pt x="79005" y="95045"/>
                  </a:cubicBezTo>
                  <a:cubicBezTo>
                    <a:pt x="79005" y="95045"/>
                    <a:pt x="92074" y="91477"/>
                    <a:pt x="92670" y="83158"/>
                  </a:cubicBezTo>
                  <a:cubicBezTo>
                    <a:pt x="92836" y="75805"/>
                    <a:pt x="92442" y="68464"/>
                    <a:pt x="91477" y="61187"/>
                  </a:cubicBezTo>
                  <a:cubicBezTo>
                    <a:pt x="91477" y="61187"/>
                    <a:pt x="100392" y="55841"/>
                    <a:pt x="101586" y="50507"/>
                  </a:cubicBezTo>
                  <a:lnTo>
                    <a:pt x="115771" y="65353"/>
                  </a:lnTo>
                  <a:lnTo>
                    <a:pt x="179461" y="88073"/>
                  </a:lnTo>
                  <a:lnTo>
                    <a:pt x="217269" y="76707"/>
                  </a:lnTo>
                  <a:lnTo>
                    <a:pt x="269008" y="57746"/>
                  </a:lnTo>
                  <a:cubicBezTo>
                    <a:pt x="269008" y="57746"/>
                    <a:pt x="237550" y="30327"/>
                    <a:pt x="230985" y="25577"/>
                  </a:cubicBezTo>
                  <a:cubicBezTo>
                    <a:pt x="224432" y="20840"/>
                    <a:pt x="124039" y="0"/>
                    <a:pt x="124039" y="0"/>
                  </a:cubicBezTo>
                  <a:close/>
                </a:path>
              </a:pathLst>
            </a:custGeom>
            <a:solidFill>
              <a:srgbClr val="EEAB87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8" name="Free Form 3544">
              <a:extLst>
                <a:ext uri="{FF2B5EF4-FFF2-40B4-BE49-F238E27FC236}">
                  <a16:creationId xmlns:a16="http://schemas.microsoft.com/office/drawing/2014/main" id="{49DC22DF-ADA1-5029-2C7A-A46E6F8949CE}"/>
                </a:ext>
              </a:extLst>
            </p:cNvPr>
            <p:cNvSpPr/>
            <p:nvPr/>
          </p:nvSpPr>
          <p:spPr>
            <a:xfrm>
              <a:off x="25186551" y="30313770"/>
              <a:ext cx="270380" cy="111086"/>
            </a:xfrm>
            <a:custGeom>
              <a:avLst/>
              <a:gdLst/>
              <a:ahLst/>
              <a:cxnLst/>
              <a:rect l="0" t="0" r="0" b="0"/>
              <a:pathLst>
                <a:path w="270380" h="111085">
                  <a:moveTo>
                    <a:pt x="124306" y="0"/>
                  </a:moveTo>
                  <a:cubicBezTo>
                    <a:pt x="124306" y="0"/>
                    <a:pt x="125271" y="139"/>
                    <a:pt x="127151" y="507"/>
                  </a:cubicBezTo>
                  <a:lnTo>
                    <a:pt x="135469" y="2184"/>
                  </a:lnTo>
                  <a:cubicBezTo>
                    <a:pt x="142759" y="3657"/>
                    <a:pt x="153465" y="5880"/>
                    <a:pt x="167092" y="8826"/>
                  </a:cubicBezTo>
                  <a:cubicBezTo>
                    <a:pt x="180719" y="11785"/>
                    <a:pt x="197292" y="15354"/>
                    <a:pt x="216202" y="20180"/>
                  </a:cubicBezTo>
                  <a:cubicBezTo>
                    <a:pt x="221155" y="21348"/>
                    <a:pt x="226019" y="22859"/>
                    <a:pt x="230743" y="24726"/>
                  </a:cubicBezTo>
                  <a:cubicBezTo>
                    <a:pt x="232966" y="26174"/>
                    <a:pt x="235087" y="27774"/>
                    <a:pt x="237068" y="29527"/>
                  </a:cubicBezTo>
                  <a:lnTo>
                    <a:pt x="243316" y="34721"/>
                  </a:lnTo>
                  <a:cubicBezTo>
                    <a:pt x="251838" y="41795"/>
                    <a:pt x="260359" y="49338"/>
                    <a:pt x="269580" y="57238"/>
                  </a:cubicBezTo>
                  <a:lnTo>
                    <a:pt x="270380" y="57911"/>
                  </a:lnTo>
                  <a:lnTo>
                    <a:pt x="269580" y="58317"/>
                  </a:lnTo>
                  <a:lnTo>
                    <a:pt x="226997" y="73925"/>
                  </a:lnTo>
                  <a:cubicBezTo>
                    <a:pt x="223276" y="75233"/>
                    <a:pt x="219555" y="76770"/>
                    <a:pt x="215643" y="77964"/>
                  </a:cubicBezTo>
                  <a:lnTo>
                    <a:pt x="203947" y="81507"/>
                  </a:lnTo>
                  <a:lnTo>
                    <a:pt x="179893" y="88835"/>
                  </a:lnTo>
                  <a:lnTo>
                    <a:pt x="179664" y="88835"/>
                  </a:lnTo>
                  <a:lnTo>
                    <a:pt x="179436" y="88835"/>
                  </a:lnTo>
                  <a:lnTo>
                    <a:pt x="115733" y="66128"/>
                  </a:lnTo>
                  <a:lnTo>
                    <a:pt x="115568" y="66128"/>
                  </a:lnTo>
                  <a:lnTo>
                    <a:pt x="101370" y="51269"/>
                  </a:lnTo>
                  <a:lnTo>
                    <a:pt x="102614" y="50901"/>
                  </a:lnTo>
                  <a:cubicBezTo>
                    <a:pt x="101967" y="53072"/>
                    <a:pt x="100748" y="55041"/>
                    <a:pt x="99097" y="56577"/>
                  </a:cubicBezTo>
                  <a:cubicBezTo>
                    <a:pt x="97522" y="58190"/>
                    <a:pt x="95807" y="59651"/>
                    <a:pt x="93953" y="60921"/>
                  </a:cubicBezTo>
                  <a:lnTo>
                    <a:pt x="92162" y="62089"/>
                  </a:lnTo>
                  <a:lnTo>
                    <a:pt x="92543" y="61353"/>
                  </a:lnTo>
                  <a:cubicBezTo>
                    <a:pt x="93471" y="68261"/>
                    <a:pt x="93890" y="75221"/>
                    <a:pt x="93788" y="82193"/>
                  </a:cubicBezTo>
                  <a:cubicBezTo>
                    <a:pt x="93813" y="84035"/>
                    <a:pt x="93356" y="85838"/>
                    <a:pt x="92455" y="87438"/>
                  </a:cubicBezTo>
                  <a:cubicBezTo>
                    <a:pt x="91515" y="88987"/>
                    <a:pt x="90296" y="90334"/>
                    <a:pt x="88848" y="91413"/>
                  </a:cubicBezTo>
                  <a:cubicBezTo>
                    <a:pt x="86028" y="93483"/>
                    <a:pt x="82866" y="95045"/>
                    <a:pt x="79501" y="96023"/>
                  </a:cubicBezTo>
                  <a:lnTo>
                    <a:pt x="80072" y="95312"/>
                  </a:lnTo>
                  <a:cubicBezTo>
                    <a:pt x="79920" y="97001"/>
                    <a:pt x="79399" y="98627"/>
                    <a:pt x="78574" y="100100"/>
                  </a:cubicBezTo>
                  <a:cubicBezTo>
                    <a:pt x="77824" y="101510"/>
                    <a:pt x="76999" y="102881"/>
                    <a:pt x="76097" y="104189"/>
                  </a:cubicBezTo>
                  <a:cubicBezTo>
                    <a:pt x="75195" y="105497"/>
                    <a:pt x="74306" y="106755"/>
                    <a:pt x="73265" y="108025"/>
                  </a:cubicBezTo>
                  <a:cubicBezTo>
                    <a:pt x="70839" y="110768"/>
                    <a:pt x="66686" y="111085"/>
                    <a:pt x="63867" y="108761"/>
                  </a:cubicBezTo>
                  <a:cubicBezTo>
                    <a:pt x="62648" y="107631"/>
                    <a:pt x="61645" y="106577"/>
                    <a:pt x="60540" y="105472"/>
                  </a:cubicBezTo>
                  <a:cubicBezTo>
                    <a:pt x="58330" y="103338"/>
                    <a:pt x="56222" y="101129"/>
                    <a:pt x="54215" y="98855"/>
                  </a:cubicBezTo>
                  <a:lnTo>
                    <a:pt x="30073" y="72630"/>
                  </a:lnTo>
                  <a:lnTo>
                    <a:pt x="29857" y="72363"/>
                  </a:lnTo>
                  <a:lnTo>
                    <a:pt x="29857" y="72033"/>
                  </a:lnTo>
                  <a:lnTo>
                    <a:pt x="35813" y="36397"/>
                  </a:lnTo>
                  <a:lnTo>
                    <a:pt x="37032" y="36880"/>
                  </a:lnTo>
                  <a:cubicBezTo>
                    <a:pt x="34086" y="41020"/>
                    <a:pt x="31076" y="45046"/>
                    <a:pt x="28003" y="48945"/>
                  </a:cubicBezTo>
                  <a:cubicBezTo>
                    <a:pt x="26479" y="50875"/>
                    <a:pt x="24904" y="52780"/>
                    <a:pt x="23291" y="54622"/>
                  </a:cubicBezTo>
                  <a:cubicBezTo>
                    <a:pt x="21754" y="56577"/>
                    <a:pt x="19913" y="58279"/>
                    <a:pt x="17843" y="59651"/>
                  </a:cubicBezTo>
                  <a:cubicBezTo>
                    <a:pt x="15646" y="60756"/>
                    <a:pt x="13258" y="61441"/>
                    <a:pt x="10794" y="61632"/>
                  </a:cubicBezTo>
                  <a:cubicBezTo>
                    <a:pt x="9613" y="61784"/>
                    <a:pt x="8420" y="61835"/>
                    <a:pt x="7251" y="61861"/>
                  </a:cubicBezTo>
                  <a:cubicBezTo>
                    <a:pt x="5981" y="61988"/>
                    <a:pt x="4698" y="61746"/>
                    <a:pt x="3555" y="61187"/>
                  </a:cubicBezTo>
                  <a:cubicBezTo>
                    <a:pt x="1231" y="59943"/>
                    <a:pt x="0" y="57327"/>
                    <a:pt x="520" y="54736"/>
                  </a:cubicBezTo>
                  <a:cubicBezTo>
                    <a:pt x="838" y="53593"/>
                    <a:pt x="1320" y="52501"/>
                    <a:pt x="1968" y="51497"/>
                  </a:cubicBezTo>
                  <a:lnTo>
                    <a:pt x="3594" y="48665"/>
                  </a:lnTo>
                  <a:lnTo>
                    <a:pt x="27292" y="5333"/>
                  </a:lnTo>
                  <a:lnTo>
                    <a:pt x="27431" y="5079"/>
                  </a:lnTo>
                  <a:lnTo>
                    <a:pt x="27723" y="5079"/>
                  </a:lnTo>
                  <a:lnTo>
                    <a:pt x="98703" y="1511"/>
                  </a:lnTo>
                  <a:lnTo>
                    <a:pt x="117803" y="622"/>
                  </a:lnTo>
                  <a:lnTo>
                    <a:pt x="122769" y="431"/>
                  </a:lnTo>
                  <a:lnTo>
                    <a:pt x="124445" y="431"/>
                  </a:lnTo>
                  <a:lnTo>
                    <a:pt x="122744" y="596"/>
                  </a:lnTo>
                  <a:lnTo>
                    <a:pt x="117803" y="939"/>
                  </a:lnTo>
                  <a:lnTo>
                    <a:pt x="98665" y="2095"/>
                  </a:lnTo>
                  <a:lnTo>
                    <a:pt x="27838" y="6134"/>
                  </a:lnTo>
                  <a:lnTo>
                    <a:pt x="28231" y="5854"/>
                  </a:lnTo>
                  <a:lnTo>
                    <a:pt x="4698" y="49262"/>
                  </a:lnTo>
                  <a:lnTo>
                    <a:pt x="3111" y="52094"/>
                  </a:lnTo>
                  <a:cubicBezTo>
                    <a:pt x="2514" y="52971"/>
                    <a:pt x="2070" y="53923"/>
                    <a:pt x="1777" y="54939"/>
                  </a:cubicBezTo>
                  <a:cubicBezTo>
                    <a:pt x="1346" y="56996"/>
                    <a:pt x="2324" y="59092"/>
                    <a:pt x="4190" y="60070"/>
                  </a:cubicBezTo>
                  <a:cubicBezTo>
                    <a:pt x="5143" y="60527"/>
                    <a:pt x="6222" y="60705"/>
                    <a:pt x="7277" y="60591"/>
                  </a:cubicBezTo>
                  <a:cubicBezTo>
                    <a:pt x="8420" y="60591"/>
                    <a:pt x="9575" y="60591"/>
                    <a:pt x="10718" y="60362"/>
                  </a:cubicBezTo>
                  <a:cubicBezTo>
                    <a:pt x="13004" y="60171"/>
                    <a:pt x="15239" y="59536"/>
                    <a:pt x="17297" y="58508"/>
                  </a:cubicBezTo>
                  <a:cubicBezTo>
                    <a:pt x="19227" y="57187"/>
                    <a:pt x="20942" y="55587"/>
                    <a:pt x="22389" y="53745"/>
                  </a:cubicBezTo>
                  <a:cubicBezTo>
                    <a:pt x="23977" y="51955"/>
                    <a:pt x="25501" y="50050"/>
                    <a:pt x="27038" y="48068"/>
                  </a:cubicBezTo>
                  <a:cubicBezTo>
                    <a:pt x="30073" y="44208"/>
                    <a:pt x="33057" y="40169"/>
                    <a:pt x="35978" y="36054"/>
                  </a:cubicBezTo>
                  <a:lnTo>
                    <a:pt x="37655" y="33705"/>
                  </a:lnTo>
                  <a:lnTo>
                    <a:pt x="37197" y="36537"/>
                  </a:lnTo>
                  <a:cubicBezTo>
                    <a:pt x="35305" y="48068"/>
                    <a:pt x="33337" y="59943"/>
                    <a:pt x="31267" y="72173"/>
                  </a:cubicBezTo>
                  <a:lnTo>
                    <a:pt x="31101" y="71576"/>
                  </a:lnTo>
                  <a:lnTo>
                    <a:pt x="55231" y="97776"/>
                  </a:lnTo>
                  <a:cubicBezTo>
                    <a:pt x="57276" y="100049"/>
                    <a:pt x="59371" y="102259"/>
                    <a:pt x="61568" y="104392"/>
                  </a:cubicBezTo>
                  <a:cubicBezTo>
                    <a:pt x="62648" y="105446"/>
                    <a:pt x="63778" y="106602"/>
                    <a:pt x="64794" y="107567"/>
                  </a:cubicBezTo>
                  <a:cubicBezTo>
                    <a:pt x="65861" y="108444"/>
                    <a:pt x="67207" y="108863"/>
                    <a:pt x="68579" y="108761"/>
                  </a:cubicBezTo>
                  <a:cubicBezTo>
                    <a:pt x="69963" y="108672"/>
                    <a:pt x="71246" y="108025"/>
                    <a:pt x="72147" y="106970"/>
                  </a:cubicBezTo>
                  <a:cubicBezTo>
                    <a:pt x="73062" y="105866"/>
                    <a:pt x="74002" y="104532"/>
                    <a:pt x="74992" y="103287"/>
                  </a:cubicBezTo>
                  <a:cubicBezTo>
                    <a:pt x="75868" y="102018"/>
                    <a:pt x="76669" y="100697"/>
                    <a:pt x="77380" y="99338"/>
                  </a:cubicBezTo>
                  <a:cubicBezTo>
                    <a:pt x="78116" y="98081"/>
                    <a:pt x="78561" y="96671"/>
                    <a:pt x="78713" y="95223"/>
                  </a:cubicBezTo>
                  <a:lnTo>
                    <a:pt x="78713" y="94677"/>
                  </a:lnTo>
                  <a:lnTo>
                    <a:pt x="79247" y="94512"/>
                  </a:lnTo>
                  <a:cubicBezTo>
                    <a:pt x="82422" y="93585"/>
                    <a:pt x="85406" y="92112"/>
                    <a:pt x="88073" y="90169"/>
                  </a:cubicBezTo>
                  <a:cubicBezTo>
                    <a:pt x="90778" y="88340"/>
                    <a:pt x="92404" y="85292"/>
                    <a:pt x="92429" y="82015"/>
                  </a:cubicBezTo>
                  <a:cubicBezTo>
                    <a:pt x="92531" y="75145"/>
                    <a:pt x="92112" y="68274"/>
                    <a:pt x="91172" y="61467"/>
                  </a:cubicBezTo>
                  <a:lnTo>
                    <a:pt x="91172" y="60984"/>
                  </a:lnTo>
                  <a:lnTo>
                    <a:pt x="91604" y="60730"/>
                  </a:lnTo>
                  <a:lnTo>
                    <a:pt x="93280" y="59625"/>
                  </a:lnTo>
                  <a:cubicBezTo>
                    <a:pt x="95058" y="58406"/>
                    <a:pt x="96709" y="57022"/>
                    <a:pt x="98220" y="55473"/>
                  </a:cubicBezTo>
                  <a:cubicBezTo>
                    <a:pt x="99668" y="54114"/>
                    <a:pt x="100735" y="52399"/>
                    <a:pt x="101344" y="50507"/>
                  </a:cubicBezTo>
                  <a:lnTo>
                    <a:pt x="101675" y="49199"/>
                  </a:lnTo>
                  <a:lnTo>
                    <a:pt x="102589" y="50164"/>
                  </a:lnTo>
                  <a:cubicBezTo>
                    <a:pt x="107504" y="55244"/>
                    <a:pt x="112355" y="60298"/>
                    <a:pt x="116787" y="65010"/>
                  </a:cubicBezTo>
                  <a:lnTo>
                    <a:pt x="116521" y="64820"/>
                  </a:lnTo>
                  <a:lnTo>
                    <a:pt x="180211" y="87527"/>
                  </a:lnTo>
                  <a:lnTo>
                    <a:pt x="179753" y="87527"/>
                  </a:lnTo>
                  <a:lnTo>
                    <a:pt x="203794" y="80263"/>
                  </a:lnTo>
                  <a:lnTo>
                    <a:pt x="215491" y="76707"/>
                  </a:lnTo>
                  <a:cubicBezTo>
                    <a:pt x="219352" y="75576"/>
                    <a:pt x="223047" y="74014"/>
                    <a:pt x="226857" y="72732"/>
                  </a:cubicBezTo>
                  <a:lnTo>
                    <a:pt x="269440" y="57212"/>
                  </a:lnTo>
                  <a:lnTo>
                    <a:pt x="269237" y="58254"/>
                  </a:lnTo>
                  <a:cubicBezTo>
                    <a:pt x="260156" y="50342"/>
                    <a:pt x="251406" y="42760"/>
                    <a:pt x="243062" y="35546"/>
                  </a:cubicBezTo>
                  <a:lnTo>
                    <a:pt x="236852" y="30352"/>
                  </a:lnTo>
                  <a:cubicBezTo>
                    <a:pt x="234896" y="28612"/>
                    <a:pt x="232826" y="27025"/>
                    <a:pt x="230629" y="25602"/>
                  </a:cubicBezTo>
                  <a:cubicBezTo>
                    <a:pt x="226006" y="23774"/>
                    <a:pt x="221269" y="22275"/>
                    <a:pt x="216431" y="21119"/>
                  </a:cubicBezTo>
                  <a:cubicBezTo>
                    <a:pt x="197584" y="16179"/>
                    <a:pt x="180998" y="12610"/>
                    <a:pt x="167409" y="9461"/>
                  </a:cubicBezTo>
                  <a:lnTo>
                    <a:pt x="135863" y="2476"/>
                  </a:lnTo>
                  <a:lnTo>
                    <a:pt x="127570" y="660"/>
                  </a:lnTo>
                  <a:cubicBezTo>
                    <a:pt x="125246" y="279"/>
                    <a:pt x="124306" y="0"/>
                    <a:pt x="124306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89" name="Free Form 3545">
              <a:extLst>
                <a:ext uri="{FF2B5EF4-FFF2-40B4-BE49-F238E27FC236}">
                  <a16:creationId xmlns:a16="http://schemas.microsoft.com/office/drawing/2014/main" id="{A96DF7B4-CAAD-C8CD-97CB-62FFE5444528}"/>
                </a:ext>
              </a:extLst>
            </p:cNvPr>
            <p:cNvSpPr/>
            <p:nvPr/>
          </p:nvSpPr>
          <p:spPr>
            <a:xfrm>
              <a:off x="25236602" y="30324872"/>
              <a:ext cx="53645" cy="101180"/>
            </a:xfrm>
            <a:custGeom>
              <a:avLst/>
              <a:gdLst/>
              <a:ahLst/>
              <a:cxnLst/>
              <a:rect l="0" t="0" r="0" b="0"/>
              <a:pathLst>
                <a:path w="53644" h="101179">
                  <a:moveTo>
                    <a:pt x="53644" y="0"/>
                  </a:moveTo>
                  <a:cubicBezTo>
                    <a:pt x="53237" y="241"/>
                    <a:pt x="52793" y="431"/>
                    <a:pt x="52336" y="571"/>
                  </a:cubicBezTo>
                  <a:lnTo>
                    <a:pt x="48564" y="1955"/>
                  </a:lnTo>
                  <a:lnTo>
                    <a:pt x="34505" y="6730"/>
                  </a:lnTo>
                  <a:lnTo>
                    <a:pt x="13665" y="13690"/>
                  </a:lnTo>
                  <a:cubicBezTo>
                    <a:pt x="11760" y="14300"/>
                    <a:pt x="10045" y="15417"/>
                    <a:pt x="8699" y="16916"/>
                  </a:cubicBezTo>
                  <a:cubicBezTo>
                    <a:pt x="7416" y="18605"/>
                    <a:pt x="6502" y="20535"/>
                    <a:pt x="6032" y="22593"/>
                  </a:cubicBezTo>
                  <a:cubicBezTo>
                    <a:pt x="4838" y="27063"/>
                    <a:pt x="3898" y="31584"/>
                    <a:pt x="3187" y="36143"/>
                  </a:cubicBezTo>
                  <a:cubicBezTo>
                    <a:pt x="1714" y="44944"/>
                    <a:pt x="1447" y="53898"/>
                    <a:pt x="2425" y="62775"/>
                  </a:cubicBezTo>
                  <a:cubicBezTo>
                    <a:pt x="3517" y="69976"/>
                    <a:pt x="5562" y="76999"/>
                    <a:pt x="8508" y="83666"/>
                  </a:cubicBezTo>
                  <a:cubicBezTo>
                    <a:pt x="10426" y="88200"/>
                    <a:pt x="12737" y="92556"/>
                    <a:pt x="15404" y="96696"/>
                  </a:cubicBezTo>
                  <a:cubicBezTo>
                    <a:pt x="17335" y="99541"/>
                    <a:pt x="18579" y="101103"/>
                    <a:pt x="18465" y="101179"/>
                  </a:cubicBezTo>
                  <a:cubicBezTo>
                    <a:pt x="18097" y="100887"/>
                    <a:pt x="17767" y="100544"/>
                    <a:pt x="17475" y="100163"/>
                  </a:cubicBezTo>
                  <a:cubicBezTo>
                    <a:pt x="16560" y="99173"/>
                    <a:pt x="15709" y="98119"/>
                    <a:pt x="14947" y="97014"/>
                  </a:cubicBezTo>
                  <a:cubicBezTo>
                    <a:pt x="12052" y="92963"/>
                    <a:pt x="9575" y="88632"/>
                    <a:pt x="7569" y="84098"/>
                  </a:cubicBezTo>
                  <a:cubicBezTo>
                    <a:pt x="4419" y="77392"/>
                    <a:pt x="2235" y="70281"/>
                    <a:pt x="1092" y="62965"/>
                  </a:cubicBezTo>
                  <a:cubicBezTo>
                    <a:pt x="0" y="53974"/>
                    <a:pt x="215" y="44855"/>
                    <a:pt x="1714" y="35915"/>
                  </a:cubicBezTo>
                  <a:cubicBezTo>
                    <a:pt x="2451" y="31292"/>
                    <a:pt x="3454" y="26720"/>
                    <a:pt x="4698" y="22199"/>
                  </a:cubicBezTo>
                  <a:cubicBezTo>
                    <a:pt x="5232" y="19951"/>
                    <a:pt x="6248" y="17830"/>
                    <a:pt x="7683" y="16014"/>
                  </a:cubicBezTo>
                  <a:cubicBezTo>
                    <a:pt x="9207" y="14325"/>
                    <a:pt x="11175" y="13080"/>
                    <a:pt x="13360" y="12407"/>
                  </a:cubicBezTo>
                  <a:cubicBezTo>
                    <a:pt x="21272" y="9816"/>
                    <a:pt x="28371" y="7632"/>
                    <a:pt x="34365" y="5740"/>
                  </a:cubicBezTo>
                  <a:lnTo>
                    <a:pt x="48564" y="1384"/>
                  </a:lnTo>
                  <a:lnTo>
                    <a:pt x="52450" y="279"/>
                  </a:lnTo>
                  <a:cubicBezTo>
                    <a:pt x="52831" y="139"/>
                    <a:pt x="53237" y="38"/>
                    <a:pt x="53644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0" name="Free Form 3546">
              <a:extLst>
                <a:ext uri="{FF2B5EF4-FFF2-40B4-BE49-F238E27FC236}">
                  <a16:creationId xmlns:a16="http://schemas.microsoft.com/office/drawing/2014/main" id="{C2A0FDB0-B52B-1F98-316D-BA510EF94E01}"/>
                </a:ext>
              </a:extLst>
            </p:cNvPr>
            <p:cNvSpPr/>
            <p:nvPr/>
          </p:nvSpPr>
          <p:spPr>
            <a:xfrm>
              <a:off x="25256462" y="30333758"/>
              <a:ext cx="59080" cy="75463"/>
            </a:xfrm>
            <a:custGeom>
              <a:avLst/>
              <a:gdLst/>
              <a:ahLst/>
              <a:cxnLst/>
              <a:rect l="0" t="0" r="0" b="0"/>
              <a:pathLst>
                <a:path w="59079" h="75462">
                  <a:moveTo>
                    <a:pt x="59079" y="0"/>
                  </a:moveTo>
                  <a:cubicBezTo>
                    <a:pt x="57771" y="660"/>
                    <a:pt x="56412" y="1206"/>
                    <a:pt x="55015" y="1650"/>
                  </a:cubicBezTo>
                  <a:lnTo>
                    <a:pt x="43662" y="5626"/>
                  </a:lnTo>
                  <a:lnTo>
                    <a:pt x="26885" y="11302"/>
                  </a:lnTo>
                  <a:cubicBezTo>
                    <a:pt x="23570" y="12255"/>
                    <a:pt x="20332" y="13461"/>
                    <a:pt x="17208" y="14909"/>
                  </a:cubicBezTo>
                  <a:cubicBezTo>
                    <a:pt x="14084" y="16751"/>
                    <a:pt x="11645" y="19545"/>
                    <a:pt x="10223" y="22885"/>
                  </a:cubicBezTo>
                  <a:cubicBezTo>
                    <a:pt x="7086" y="29349"/>
                    <a:pt x="4648" y="36118"/>
                    <a:pt x="2920" y="43090"/>
                  </a:cubicBezTo>
                  <a:cubicBezTo>
                    <a:pt x="1549" y="48780"/>
                    <a:pt x="1244" y="54672"/>
                    <a:pt x="2019" y="60476"/>
                  </a:cubicBezTo>
                  <a:cubicBezTo>
                    <a:pt x="2806" y="65823"/>
                    <a:pt x="4749" y="70928"/>
                    <a:pt x="7696" y="75462"/>
                  </a:cubicBezTo>
                  <a:cubicBezTo>
                    <a:pt x="7696" y="75462"/>
                    <a:pt x="7378" y="75208"/>
                    <a:pt x="6896" y="74637"/>
                  </a:cubicBezTo>
                  <a:cubicBezTo>
                    <a:pt x="6210" y="73798"/>
                    <a:pt x="5575" y="72909"/>
                    <a:pt x="5029" y="71970"/>
                  </a:cubicBezTo>
                  <a:cubicBezTo>
                    <a:pt x="2971" y="68464"/>
                    <a:pt x="1600" y="64616"/>
                    <a:pt x="965" y="60616"/>
                  </a:cubicBezTo>
                  <a:cubicBezTo>
                    <a:pt x="0" y="54685"/>
                    <a:pt x="203" y="48627"/>
                    <a:pt x="1562" y="42785"/>
                  </a:cubicBezTo>
                  <a:cubicBezTo>
                    <a:pt x="3225" y="35673"/>
                    <a:pt x="5676" y="28777"/>
                    <a:pt x="8851" y="22199"/>
                  </a:cubicBezTo>
                  <a:cubicBezTo>
                    <a:pt x="10426" y="18618"/>
                    <a:pt x="13106" y="15633"/>
                    <a:pt x="16497" y="13690"/>
                  </a:cubicBezTo>
                  <a:cubicBezTo>
                    <a:pt x="19722" y="12191"/>
                    <a:pt x="23062" y="10947"/>
                    <a:pt x="26491" y="9931"/>
                  </a:cubicBezTo>
                  <a:lnTo>
                    <a:pt x="43344" y="4546"/>
                  </a:lnTo>
                  <a:lnTo>
                    <a:pt x="54711" y="990"/>
                  </a:lnTo>
                  <a:cubicBezTo>
                    <a:pt x="56133" y="520"/>
                    <a:pt x="57593" y="190"/>
                    <a:pt x="59079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1" name="Free Form 3547">
              <a:extLst>
                <a:ext uri="{FF2B5EF4-FFF2-40B4-BE49-F238E27FC236}">
                  <a16:creationId xmlns:a16="http://schemas.microsoft.com/office/drawing/2014/main" id="{331638C3-43DC-2A58-F51E-6B6B3D860B99}"/>
                </a:ext>
              </a:extLst>
            </p:cNvPr>
            <p:cNvSpPr/>
            <p:nvPr/>
          </p:nvSpPr>
          <p:spPr>
            <a:xfrm>
              <a:off x="25288002" y="30354426"/>
              <a:ext cx="24105" cy="10071"/>
            </a:xfrm>
            <a:custGeom>
              <a:avLst/>
              <a:gdLst/>
              <a:ahLst/>
              <a:cxnLst/>
              <a:rect l="0" t="0" r="0" b="0"/>
              <a:pathLst>
                <a:path w="24104" h="10070">
                  <a:moveTo>
                    <a:pt x="24104" y="0"/>
                  </a:moveTo>
                  <a:cubicBezTo>
                    <a:pt x="21373" y="3644"/>
                    <a:pt x="17576" y="6349"/>
                    <a:pt x="13233" y="7721"/>
                  </a:cubicBezTo>
                  <a:cubicBezTo>
                    <a:pt x="9080" y="9562"/>
                    <a:pt x="4457" y="10070"/>
                    <a:pt x="0" y="9194"/>
                  </a:cubicBezTo>
                  <a:cubicBezTo>
                    <a:pt x="4317" y="8610"/>
                    <a:pt x="8572" y="7670"/>
                    <a:pt x="12725" y="6362"/>
                  </a:cubicBezTo>
                  <a:cubicBezTo>
                    <a:pt x="16687" y="4571"/>
                    <a:pt x="20497" y="2438"/>
                    <a:pt x="24104" y="0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2" name="Free Form 3548">
              <a:extLst>
                <a:ext uri="{FF2B5EF4-FFF2-40B4-BE49-F238E27FC236}">
                  <a16:creationId xmlns:a16="http://schemas.microsoft.com/office/drawing/2014/main" id="{4402EA8B-124F-C929-F7BB-0D7B9E03330B}"/>
                </a:ext>
              </a:extLst>
            </p:cNvPr>
            <p:cNvSpPr/>
            <p:nvPr/>
          </p:nvSpPr>
          <p:spPr>
            <a:xfrm>
              <a:off x="25330280" y="30374038"/>
              <a:ext cx="42951" cy="18657"/>
            </a:xfrm>
            <a:custGeom>
              <a:avLst/>
              <a:gdLst/>
              <a:ahLst/>
              <a:cxnLst/>
              <a:rect l="0" t="0" r="0" b="0"/>
              <a:pathLst>
                <a:path w="42950" h="18656">
                  <a:moveTo>
                    <a:pt x="42950" y="17551"/>
                  </a:moveTo>
                  <a:cubicBezTo>
                    <a:pt x="40664" y="18313"/>
                    <a:pt x="38264" y="18656"/>
                    <a:pt x="35851" y="18567"/>
                  </a:cubicBezTo>
                  <a:cubicBezTo>
                    <a:pt x="30022" y="18630"/>
                    <a:pt x="24231" y="17538"/>
                    <a:pt x="18821" y="15341"/>
                  </a:cubicBezTo>
                  <a:cubicBezTo>
                    <a:pt x="13411" y="13169"/>
                    <a:pt x="8496" y="9931"/>
                    <a:pt x="4368" y="5829"/>
                  </a:cubicBezTo>
                  <a:cubicBezTo>
                    <a:pt x="2590" y="4203"/>
                    <a:pt x="1117" y="2273"/>
                    <a:pt x="0" y="152"/>
                  </a:cubicBezTo>
                  <a:cubicBezTo>
                    <a:pt x="190" y="0"/>
                    <a:pt x="1866" y="2133"/>
                    <a:pt x="5105" y="5054"/>
                  </a:cubicBezTo>
                  <a:cubicBezTo>
                    <a:pt x="13576" y="12674"/>
                    <a:pt x="24447" y="17081"/>
                    <a:pt x="35826" y="17525"/>
                  </a:cubicBezTo>
                  <a:cubicBezTo>
                    <a:pt x="40195" y="17665"/>
                    <a:pt x="42900" y="17297"/>
                    <a:pt x="42950" y="17551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3" name="Free Form 3549">
              <a:extLst>
                <a:ext uri="{FF2B5EF4-FFF2-40B4-BE49-F238E27FC236}">
                  <a16:creationId xmlns:a16="http://schemas.microsoft.com/office/drawing/2014/main" id="{1F75A447-6AC3-9E34-F748-C97B7445B87C}"/>
                </a:ext>
              </a:extLst>
            </p:cNvPr>
            <p:cNvSpPr/>
            <p:nvPr/>
          </p:nvSpPr>
          <p:spPr>
            <a:xfrm>
              <a:off x="25222516" y="30319468"/>
              <a:ext cx="41439" cy="31382"/>
            </a:xfrm>
            <a:custGeom>
              <a:avLst/>
              <a:gdLst/>
              <a:ahLst/>
              <a:cxnLst/>
              <a:rect l="0" t="0" r="0" b="0"/>
              <a:pathLst>
                <a:path w="41439" h="31381">
                  <a:moveTo>
                    <a:pt x="41439" y="292"/>
                  </a:moveTo>
                  <a:cubicBezTo>
                    <a:pt x="41439" y="457"/>
                    <a:pt x="38175" y="723"/>
                    <a:pt x="32918" y="1739"/>
                  </a:cubicBezTo>
                  <a:cubicBezTo>
                    <a:pt x="30314" y="2222"/>
                    <a:pt x="27241" y="2844"/>
                    <a:pt x="23786" y="3619"/>
                  </a:cubicBezTo>
                  <a:cubicBezTo>
                    <a:pt x="20078" y="4216"/>
                    <a:pt x="16471" y="5346"/>
                    <a:pt x="13080" y="6959"/>
                  </a:cubicBezTo>
                  <a:cubicBezTo>
                    <a:pt x="9753" y="8610"/>
                    <a:pt x="6972" y="11163"/>
                    <a:pt x="5067" y="14350"/>
                  </a:cubicBezTo>
                  <a:cubicBezTo>
                    <a:pt x="3555" y="16992"/>
                    <a:pt x="2476" y="19875"/>
                    <a:pt x="1866" y="22859"/>
                  </a:cubicBezTo>
                  <a:cubicBezTo>
                    <a:pt x="723" y="28003"/>
                    <a:pt x="380" y="31381"/>
                    <a:pt x="126" y="31381"/>
                  </a:cubicBezTo>
                  <a:cubicBezTo>
                    <a:pt x="0" y="30606"/>
                    <a:pt x="0" y="29819"/>
                    <a:pt x="126" y="29057"/>
                  </a:cubicBezTo>
                  <a:cubicBezTo>
                    <a:pt x="241" y="26936"/>
                    <a:pt x="482" y="24828"/>
                    <a:pt x="838" y="22745"/>
                  </a:cubicBezTo>
                  <a:cubicBezTo>
                    <a:pt x="1358" y="19595"/>
                    <a:pt x="2412" y="16560"/>
                    <a:pt x="3936" y="13753"/>
                  </a:cubicBezTo>
                  <a:cubicBezTo>
                    <a:pt x="5918" y="10286"/>
                    <a:pt x="8877" y="7492"/>
                    <a:pt x="12458" y="5714"/>
                  </a:cubicBezTo>
                  <a:cubicBezTo>
                    <a:pt x="15976" y="4063"/>
                    <a:pt x="19710" y="2933"/>
                    <a:pt x="23558" y="2362"/>
                  </a:cubicBezTo>
                  <a:cubicBezTo>
                    <a:pt x="27012" y="1689"/>
                    <a:pt x="30174" y="1142"/>
                    <a:pt x="32803" y="800"/>
                  </a:cubicBezTo>
                  <a:cubicBezTo>
                    <a:pt x="35635" y="177"/>
                    <a:pt x="38556" y="0"/>
                    <a:pt x="41439" y="292"/>
                  </a:cubicBezTo>
                  <a:close/>
                </a:path>
              </a:pathLst>
            </a:custGeom>
            <a:solidFill>
              <a:srgbClr val="D88159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  <p:sp>
          <p:nvSpPr>
            <p:cNvPr id="1594" name="Free Form 3550">
              <a:extLst>
                <a:ext uri="{FF2B5EF4-FFF2-40B4-BE49-F238E27FC236}">
                  <a16:creationId xmlns:a16="http://schemas.microsoft.com/office/drawing/2014/main" id="{B141CE6C-D48D-4355-4F3D-61D2648EA4F1}"/>
                </a:ext>
              </a:extLst>
            </p:cNvPr>
            <p:cNvSpPr/>
            <p:nvPr/>
          </p:nvSpPr>
          <p:spPr>
            <a:xfrm>
              <a:off x="24862819" y="30579988"/>
              <a:ext cx="82625" cy="119722"/>
            </a:xfrm>
            <a:custGeom>
              <a:avLst/>
              <a:gdLst/>
              <a:ahLst/>
              <a:cxnLst/>
              <a:rect l="0" t="0" r="0" b="0"/>
              <a:pathLst>
                <a:path w="82625" h="119721">
                  <a:moveTo>
                    <a:pt x="82282" y="228"/>
                  </a:moveTo>
                  <a:cubicBezTo>
                    <a:pt x="82625" y="457"/>
                    <a:pt x="64540" y="27368"/>
                    <a:pt x="41934" y="60273"/>
                  </a:cubicBezTo>
                  <a:cubicBezTo>
                    <a:pt x="19341" y="93178"/>
                    <a:pt x="685" y="119721"/>
                    <a:pt x="342" y="119493"/>
                  </a:cubicBezTo>
                  <a:cubicBezTo>
                    <a:pt x="0" y="119277"/>
                    <a:pt x="18097" y="92378"/>
                    <a:pt x="40715" y="59448"/>
                  </a:cubicBezTo>
                  <a:cubicBezTo>
                    <a:pt x="63346" y="26517"/>
                    <a:pt x="81888" y="0"/>
                    <a:pt x="82282" y="228"/>
                  </a:cubicBezTo>
                  <a:close/>
                </a:path>
              </a:pathLst>
            </a:custGeom>
            <a:solidFill>
              <a:srgbClr val="1B2224">
                <a:alpha val="100000"/>
              </a:srgbClr>
            </a:solidFill>
            <a:ln w="0" cap="flat" cmpd="sng">
              <a:noFill/>
              <a:prstDash val="solid"/>
              <a:miter lim="800000"/>
            </a:ln>
          </p:spPr>
          <p:txBody>
            <a:bodyPr anchor="ctr">
              <a:spAutoFit/>
            </a:bodyPr>
            <a:lstStyle/>
            <a:p>
              <a:pPr algn="ctr"/>
              <a:endParaRPr lang="en-US" sz="765"/>
            </a:p>
          </p:txBody>
        </p:sp>
      </p:grpSp>
      <p:sp>
        <p:nvSpPr>
          <p:cNvPr id="1595" name="Rounded Rectangle 1594">
            <a:extLst>
              <a:ext uri="{FF2B5EF4-FFF2-40B4-BE49-F238E27FC236}">
                <a16:creationId xmlns:a16="http://schemas.microsoft.com/office/drawing/2014/main" id="{D5B0EF73-A89B-939E-A040-E79601D5FF22}"/>
              </a:ext>
            </a:extLst>
          </p:cNvPr>
          <p:cNvSpPr/>
          <p:nvPr/>
        </p:nvSpPr>
        <p:spPr>
          <a:xfrm>
            <a:off x="2814693" y="868154"/>
            <a:ext cx="4770106" cy="1189301"/>
          </a:xfrm>
          <a:prstGeom prst="roundRect">
            <a:avLst>
              <a:gd name="adj" fmla="val 0"/>
            </a:avLst>
          </a:prstGeom>
          <a:solidFill>
            <a:srgbClr val="93CB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0000"/>
              </a:lnSpc>
            </a:pPr>
            <a:endParaRPr lang="en-CH" sz="1819">
              <a:solidFill>
                <a:srgbClr val="202934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596" name="Rounded Rectangle 1595">
            <a:extLst>
              <a:ext uri="{FF2B5EF4-FFF2-40B4-BE49-F238E27FC236}">
                <a16:creationId xmlns:a16="http://schemas.microsoft.com/office/drawing/2014/main" id="{8050EE77-BA1A-A8A1-BBFC-634D671C585F}"/>
              </a:ext>
            </a:extLst>
          </p:cNvPr>
          <p:cNvSpPr/>
          <p:nvPr/>
        </p:nvSpPr>
        <p:spPr>
          <a:xfrm>
            <a:off x="3896178" y="3215009"/>
            <a:ext cx="2607133" cy="1206303"/>
          </a:xfrm>
          <a:prstGeom prst="roundRect">
            <a:avLst>
              <a:gd name="adj" fmla="val 0"/>
            </a:avLst>
          </a:prstGeom>
          <a:solidFill>
            <a:srgbClr val="4EA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0000"/>
              </a:lnSpc>
            </a:pPr>
            <a:endParaRPr lang="en-CH" sz="1819">
              <a:solidFill>
                <a:srgbClr val="202934"/>
              </a:solidFill>
              <a:latin typeface="Avenir Next LT Pro" panose="020B0504020202020204" pitchFamily="34" charset="77"/>
            </a:endParaRPr>
          </a:p>
        </p:txBody>
      </p:sp>
      <p:sp>
        <p:nvSpPr>
          <p:cNvPr id="1597" name="Rounded Rectangle 1596">
            <a:extLst>
              <a:ext uri="{FF2B5EF4-FFF2-40B4-BE49-F238E27FC236}">
                <a16:creationId xmlns:a16="http://schemas.microsoft.com/office/drawing/2014/main" id="{414497AE-32DD-4310-8E14-00DEE44B9F02}"/>
              </a:ext>
            </a:extLst>
          </p:cNvPr>
          <p:cNvSpPr/>
          <p:nvPr/>
        </p:nvSpPr>
        <p:spPr>
          <a:xfrm>
            <a:off x="3084362" y="1049595"/>
            <a:ext cx="4230764" cy="963248"/>
          </a:xfrm>
          <a:prstGeom prst="roundRect">
            <a:avLst>
              <a:gd name="adj" fmla="val 706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en-CH" sz="1819" b="1" dirty="0">
                <a:solidFill>
                  <a:schemeClr val="bg1"/>
                </a:solidFill>
                <a:latin typeface="Avenir Next LT Pro" panose="020B0504020202020204" pitchFamily="34" charset="77"/>
              </a:rPr>
              <a:t>Free self-paced courses</a:t>
            </a:r>
          </a:p>
          <a:p>
            <a:pPr algn="ctr">
              <a:lnSpc>
                <a:spcPct val="90000"/>
              </a:lnSpc>
            </a:pPr>
            <a:r>
              <a:rPr lang="en-CH" sz="1559" b="1" dirty="0">
                <a:solidFill>
                  <a:srgbClr val="202934"/>
                </a:solidFill>
                <a:latin typeface="Avenir Next LT Pro" panose="020B0504020202020204" pitchFamily="34" charset="77"/>
              </a:rPr>
              <a:t>O</a:t>
            </a:r>
            <a:r>
              <a:rPr lang="en-GB" sz="1559" b="1" dirty="0">
                <a:solidFill>
                  <a:srgbClr val="202934"/>
                </a:solidFill>
                <a:latin typeface="Avenir Next LT Pro" panose="020B0504020202020204" pitchFamily="34" charset="77"/>
              </a:rPr>
              <a:t>p</a:t>
            </a:r>
            <a:r>
              <a:rPr lang="en-CH" sz="1559" b="1" dirty="0">
                <a:solidFill>
                  <a:srgbClr val="202934"/>
                </a:solidFill>
                <a:latin typeface="Avenir Next LT Pro" panose="020B0504020202020204" pitchFamily="34" charset="77"/>
              </a:rPr>
              <a:t>en enrollment</a:t>
            </a:r>
          </a:p>
        </p:txBody>
      </p:sp>
      <p:grpSp>
        <p:nvGrpSpPr>
          <p:cNvPr id="1598" name="Group 1597">
            <a:extLst>
              <a:ext uri="{FF2B5EF4-FFF2-40B4-BE49-F238E27FC236}">
                <a16:creationId xmlns:a16="http://schemas.microsoft.com/office/drawing/2014/main" id="{76BA1C62-AA3E-1D9E-E79C-98FE2241FDCB}"/>
              </a:ext>
            </a:extLst>
          </p:cNvPr>
          <p:cNvGrpSpPr/>
          <p:nvPr/>
        </p:nvGrpSpPr>
        <p:grpSpPr>
          <a:xfrm>
            <a:off x="2342674" y="2057455"/>
            <a:ext cx="4750126" cy="1172342"/>
            <a:chOff x="4171367" y="2606732"/>
            <a:chExt cx="7312280" cy="1804687"/>
          </a:xfrm>
        </p:grpSpPr>
        <p:pic>
          <p:nvPicPr>
            <p:cNvPr id="1599" name="Picture 1598">
              <a:extLst>
                <a:ext uri="{FF2B5EF4-FFF2-40B4-BE49-F238E27FC236}">
                  <a16:creationId xmlns:a16="http://schemas.microsoft.com/office/drawing/2014/main" id="{66E8AED6-4CCB-5451-2E99-7A1191845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71367" y="2923559"/>
              <a:ext cx="1465753" cy="958174"/>
            </a:xfrm>
            <a:prstGeom prst="rect">
              <a:avLst/>
            </a:prstGeom>
          </p:spPr>
        </p:pic>
        <p:sp>
          <p:nvSpPr>
            <p:cNvPr id="1600" name="Rounded Rectangle 1599">
              <a:extLst>
                <a:ext uri="{FF2B5EF4-FFF2-40B4-BE49-F238E27FC236}">
                  <a16:creationId xmlns:a16="http://schemas.microsoft.com/office/drawing/2014/main" id="{58606EDB-2E14-B5CF-4DFE-18BBDC8BF7DD}"/>
                </a:ext>
              </a:extLst>
            </p:cNvPr>
            <p:cNvSpPr/>
            <p:nvPr/>
          </p:nvSpPr>
          <p:spPr>
            <a:xfrm>
              <a:off x="5655362" y="2606732"/>
              <a:ext cx="5828285" cy="1781923"/>
            </a:xfrm>
            <a:prstGeom prst="roundRect">
              <a:avLst>
                <a:gd name="adj" fmla="val 0"/>
              </a:avLst>
            </a:prstGeom>
            <a:solidFill>
              <a:srgbClr val="72B6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80000"/>
                </a:lnSpc>
              </a:pPr>
              <a:endParaRPr lang="en-CH" sz="1819" b="1">
                <a:solidFill>
                  <a:srgbClr val="202934"/>
                </a:solidFill>
                <a:latin typeface="Avenir Next LT Pro" panose="020B0504020202020204" pitchFamily="34" charset="77"/>
              </a:endParaRPr>
            </a:p>
          </p:txBody>
        </p:sp>
        <p:sp>
          <p:nvSpPr>
            <p:cNvPr id="1601" name="Rounded Rectangle 1600">
              <a:extLst>
                <a:ext uri="{FF2B5EF4-FFF2-40B4-BE49-F238E27FC236}">
                  <a16:creationId xmlns:a16="http://schemas.microsoft.com/office/drawing/2014/main" id="{8AB7AA0E-BAA9-C76B-169A-5603DAEF9F2C}"/>
                </a:ext>
              </a:extLst>
            </p:cNvPr>
            <p:cNvSpPr/>
            <p:nvPr/>
          </p:nvSpPr>
          <p:spPr>
            <a:xfrm>
              <a:off x="6306496" y="2926280"/>
              <a:ext cx="4526013" cy="1485139"/>
            </a:xfrm>
            <a:prstGeom prst="roundRect">
              <a:avLst>
                <a:gd name="adj" fmla="val 7066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80000"/>
                </a:lnSpc>
              </a:pPr>
              <a:r>
                <a:rPr lang="en-CH" sz="1819" b="1" dirty="0">
                  <a:solidFill>
                    <a:schemeClr val="bg1"/>
                  </a:solidFill>
                  <a:latin typeface="Avenir Next LT Pro" panose="020B0504020202020204" pitchFamily="34" charset="77"/>
                </a:rPr>
                <a:t>Guided</a:t>
              </a:r>
              <a:r>
                <a:rPr lang="en-GB" sz="1819" b="1" dirty="0">
                  <a:solidFill>
                    <a:schemeClr val="bg1"/>
                  </a:solidFill>
                  <a:latin typeface="Avenir Next LT Pro" panose="020B0504020202020204" pitchFamily="34" charset="77"/>
                </a:rPr>
                <a:t> live</a:t>
              </a:r>
              <a:r>
                <a:rPr lang="en-CH" sz="1819" b="1" dirty="0">
                  <a:solidFill>
                    <a:schemeClr val="bg1"/>
                  </a:solidFill>
                  <a:latin typeface="Avenir Next LT Pro" panose="020B0504020202020204" pitchFamily="34" charset="77"/>
                </a:rPr>
                <a:t> cohorts</a:t>
              </a:r>
            </a:p>
            <a:p>
              <a:pPr algn="ctr">
                <a:lnSpc>
                  <a:spcPct val="80000"/>
                </a:lnSpc>
              </a:pPr>
              <a:r>
                <a:rPr lang="en-CH" sz="1559" b="1" dirty="0">
                  <a:solidFill>
                    <a:srgbClr val="202934"/>
                  </a:solidFill>
                  <a:latin typeface="Avenir Next LT Pro" panose="020B0504020202020204" pitchFamily="34" charset="77"/>
                </a:rPr>
                <a:t>30-40 per cohort</a:t>
              </a:r>
            </a:p>
            <a:p>
              <a:pPr algn="ctr">
                <a:lnSpc>
                  <a:spcPct val="80000"/>
                </a:lnSpc>
              </a:pPr>
              <a:endParaRPr lang="en-CH" sz="1819" b="1" dirty="0">
                <a:solidFill>
                  <a:srgbClr val="202934"/>
                </a:solidFill>
                <a:latin typeface="Avenir Next LT Pro" panose="020B0504020202020204" pitchFamily="34" charset="77"/>
              </a:endParaRPr>
            </a:p>
          </p:txBody>
        </p:sp>
      </p:grpSp>
      <p:sp>
        <p:nvSpPr>
          <p:cNvPr id="1602" name="Rounded Rectangle 1601">
            <a:extLst>
              <a:ext uri="{FF2B5EF4-FFF2-40B4-BE49-F238E27FC236}">
                <a16:creationId xmlns:a16="http://schemas.microsoft.com/office/drawing/2014/main" id="{52F2749C-139B-8D7A-02EC-28D834E5BA96}"/>
              </a:ext>
            </a:extLst>
          </p:cNvPr>
          <p:cNvSpPr/>
          <p:nvPr/>
        </p:nvSpPr>
        <p:spPr>
          <a:xfrm>
            <a:off x="3896178" y="3402965"/>
            <a:ext cx="2607133" cy="1305758"/>
          </a:xfrm>
          <a:prstGeom prst="roundRect">
            <a:avLst>
              <a:gd name="adj" fmla="val 706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0000"/>
              </a:lnSpc>
            </a:pPr>
            <a:r>
              <a:rPr lang="en-CH" sz="1689" b="1">
                <a:solidFill>
                  <a:schemeClr val="bg1"/>
                </a:solidFill>
                <a:latin typeface="Avenir Next LT Pro" panose="020B0504020202020204" pitchFamily="34" charset="77"/>
              </a:rPr>
              <a:t>Custom group training</a:t>
            </a:r>
          </a:p>
          <a:p>
            <a:pPr algn="ctr">
              <a:lnSpc>
                <a:spcPct val="90000"/>
              </a:lnSpc>
            </a:pPr>
            <a:r>
              <a:rPr lang="en-CH" sz="1559" b="1">
                <a:solidFill>
                  <a:srgbClr val="202934"/>
                </a:solidFill>
                <a:latin typeface="Avenir Next LT Pro" panose="020B0504020202020204" pitchFamily="34" charset="77"/>
              </a:rPr>
              <a:t>Bespoke, long-term </a:t>
            </a:r>
          </a:p>
          <a:p>
            <a:pPr algn="ctr">
              <a:lnSpc>
                <a:spcPct val="90000"/>
              </a:lnSpc>
            </a:pPr>
            <a:r>
              <a:rPr lang="en-CH" sz="1559" b="1">
                <a:solidFill>
                  <a:srgbClr val="202934"/>
                </a:solidFill>
                <a:latin typeface="Avenir Next LT Pro" panose="020B0504020202020204" pitchFamily="34" charset="77"/>
              </a:rPr>
              <a:t>For govt, companies &amp; NGOs</a:t>
            </a:r>
          </a:p>
        </p:txBody>
      </p:sp>
      <p:sp>
        <p:nvSpPr>
          <p:cNvPr id="1603" name="TextBox 1602">
            <a:extLst>
              <a:ext uri="{FF2B5EF4-FFF2-40B4-BE49-F238E27FC236}">
                <a16:creationId xmlns:a16="http://schemas.microsoft.com/office/drawing/2014/main" id="{546368CE-4DE4-F877-3CA2-C7E1FA7EC140}"/>
              </a:ext>
            </a:extLst>
          </p:cNvPr>
          <p:cNvSpPr txBox="1"/>
          <p:nvPr/>
        </p:nvSpPr>
        <p:spPr>
          <a:xfrm>
            <a:off x="2284802" y="2829687"/>
            <a:ext cx="5934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2000" b="1" dirty="0"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870514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5" grpId="0" animBg="1"/>
      <p:bldP spid="1596" grpId="0" animBg="1"/>
      <p:bldP spid="1597" grpId="0"/>
      <p:bldP spid="1602" grpId="0"/>
      <p:bldP spid="160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2316660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Delivery mode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510069-7706-FEEB-0B57-B4379A74900F}"/>
              </a:ext>
            </a:extLst>
          </p:cNvPr>
          <p:cNvSpPr txBox="1"/>
          <p:nvPr/>
        </p:nvSpPr>
        <p:spPr>
          <a:xfrm>
            <a:off x="4273725" y="685951"/>
            <a:ext cx="39308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2000" b="1" dirty="0">
                <a:solidFill>
                  <a:srgbClr val="489AD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ided Cohorts (R for Busy People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CE8662-3A2C-0CBA-A5E5-300E6FE8107F}"/>
              </a:ext>
            </a:extLst>
          </p:cNvPr>
          <p:cNvSpPr txBox="1"/>
          <p:nvPr/>
        </p:nvSpPr>
        <p:spPr>
          <a:xfrm>
            <a:off x="1659354" y="674516"/>
            <a:ext cx="21948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200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f-paced Cours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B22DC3-4D81-718F-0FB9-C236D3757B7D}"/>
              </a:ext>
            </a:extLst>
          </p:cNvPr>
          <p:cNvSpPr txBox="1"/>
          <p:nvPr/>
        </p:nvSpPr>
        <p:spPr>
          <a:xfrm>
            <a:off x="-76254" y="1486192"/>
            <a:ext cx="15103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2000" b="1" dirty="0">
                <a:latin typeface="Calibri" panose="020F0502020204030204" pitchFamily="34" charset="0"/>
                <a:cs typeface="Calibri" panose="020F0502020204030204" pitchFamily="34" charset="0"/>
              </a:rPr>
              <a:t>Learning </a:t>
            </a:r>
          </a:p>
          <a:p>
            <a:pPr algn="r"/>
            <a:r>
              <a:rPr lang="en-CH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mponen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3F71D2-973F-052B-4B29-71A84B69640C}"/>
              </a:ext>
            </a:extLst>
          </p:cNvPr>
          <p:cNvSpPr txBox="1"/>
          <p:nvPr/>
        </p:nvSpPr>
        <p:spPr>
          <a:xfrm>
            <a:off x="-94145" y="2956091"/>
            <a:ext cx="15103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2000" b="1" dirty="0">
                <a:latin typeface="Calibri" panose="020F0502020204030204" pitchFamily="34" charset="0"/>
                <a:cs typeface="Calibri" panose="020F0502020204030204" pitchFamily="34" charset="0"/>
              </a:rPr>
              <a:t>How you get suppor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C13991B-2C72-6076-507F-AF2BB1045C46}"/>
              </a:ext>
            </a:extLst>
          </p:cNvPr>
          <p:cNvSpPr txBox="1"/>
          <p:nvPr/>
        </p:nvSpPr>
        <p:spPr>
          <a:xfrm>
            <a:off x="275457" y="4170176"/>
            <a:ext cx="9988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H" sz="2000" b="1" dirty="0">
                <a:latin typeface="Calibri" panose="020F0502020204030204" pitchFamily="34" charset="0"/>
                <a:cs typeface="Calibri" panose="020F0502020204030204" pitchFamily="34" charset="0"/>
              </a:rPr>
              <a:t>Ideal profi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828D94-92DF-9051-3CA2-7341B3B01907}"/>
              </a:ext>
            </a:extLst>
          </p:cNvPr>
          <p:cNvSpPr txBox="1"/>
          <p:nvPr/>
        </p:nvSpPr>
        <p:spPr>
          <a:xfrm>
            <a:off x="1341409" y="4246347"/>
            <a:ext cx="2956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H" sz="1600" dirty="0">
                <a:latin typeface="Calibri" panose="020F0502020204030204" pitchFamily="34" charset="0"/>
                <a:cs typeface="Calibri" panose="020F0502020204030204" pitchFamily="34" charset="0"/>
              </a:rPr>
              <a:t>Can’t commit to weekly meetings</a:t>
            </a:r>
          </a:p>
          <a:p>
            <a:pPr algn="l"/>
            <a:r>
              <a:rPr lang="en-CH" sz="1600" dirty="0">
                <a:latin typeface="Calibri" panose="020F0502020204030204" pitchFamily="34" charset="0"/>
                <a:cs typeface="Calibri" panose="020F0502020204030204" pitchFamily="34" charset="0"/>
              </a:rPr>
              <a:t>Good at self-paced learning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A287B54-451D-63DD-9E86-FFF083A327B5}"/>
              </a:ext>
            </a:extLst>
          </p:cNvPr>
          <p:cNvGrpSpPr/>
          <p:nvPr/>
        </p:nvGrpSpPr>
        <p:grpSpPr>
          <a:xfrm>
            <a:off x="1581842" y="1388635"/>
            <a:ext cx="1821955" cy="369332"/>
            <a:chOff x="2107164" y="1285768"/>
            <a:chExt cx="1821955" cy="36933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81EB034-EE49-9FA6-84E4-4FD5BA1616CC}"/>
                </a:ext>
              </a:extLst>
            </p:cNvPr>
            <p:cNvSpPr txBox="1"/>
            <p:nvPr/>
          </p:nvSpPr>
          <p:spPr>
            <a:xfrm>
              <a:off x="2518155" y="1296598"/>
              <a:ext cx="14109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Video tutorials</a:t>
              </a:r>
            </a:p>
          </p:txBody>
        </p:sp>
        <p:pic>
          <p:nvPicPr>
            <p:cNvPr id="25" name="Picture 24" descr="Icon&#10;&#10;Description automatically generated">
              <a:extLst>
                <a:ext uri="{FF2B5EF4-FFF2-40B4-BE49-F238E27FC236}">
                  <a16:creationId xmlns:a16="http://schemas.microsoft.com/office/drawing/2014/main" id="{ED7B83CA-4849-2B4D-8B05-FCF5F223A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107164" y="1285768"/>
              <a:ext cx="369332" cy="369332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EA6AA0E-0A3D-BE4B-D855-AA2416A0046F}"/>
              </a:ext>
            </a:extLst>
          </p:cNvPr>
          <p:cNvGrpSpPr/>
          <p:nvPr/>
        </p:nvGrpSpPr>
        <p:grpSpPr>
          <a:xfrm>
            <a:off x="1581842" y="1829482"/>
            <a:ext cx="1779087" cy="393759"/>
            <a:chOff x="2100812" y="1726615"/>
            <a:chExt cx="1779087" cy="39375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1E65510-3120-C877-EC5B-6757A8F98174}"/>
                </a:ext>
              </a:extLst>
            </p:cNvPr>
            <p:cNvSpPr txBox="1"/>
            <p:nvPr/>
          </p:nvSpPr>
          <p:spPr>
            <a:xfrm>
              <a:off x="2494583" y="1757159"/>
              <a:ext cx="13853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H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Online quizzes</a:t>
              </a:r>
            </a:p>
          </p:txBody>
        </p:sp>
        <p:pic>
          <p:nvPicPr>
            <p:cNvPr id="33" name="Picture 32" descr="Icon&#10;&#10;Description automatically generated">
              <a:extLst>
                <a:ext uri="{FF2B5EF4-FFF2-40B4-BE49-F238E27FC236}">
                  <a16:creationId xmlns:a16="http://schemas.microsoft.com/office/drawing/2014/main" id="{5FB48820-DF32-7165-0C05-E9C6D9DB99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 l="20527" t="13027" r="15866" b="25170"/>
            <a:stretch/>
          </p:blipFill>
          <p:spPr>
            <a:xfrm>
              <a:off x="2100812" y="1726615"/>
              <a:ext cx="375683" cy="393759"/>
            </a:xfrm>
            <a:prstGeom prst="rect">
              <a:avLst/>
            </a:prstGeom>
          </p:spPr>
        </p:pic>
      </p:grpSp>
      <p:grpSp>
        <p:nvGrpSpPr>
          <p:cNvPr id="1623" name="Group 1622">
            <a:extLst>
              <a:ext uri="{FF2B5EF4-FFF2-40B4-BE49-F238E27FC236}">
                <a16:creationId xmlns:a16="http://schemas.microsoft.com/office/drawing/2014/main" id="{9444BDF6-C3F4-2D6B-6733-2452C2293657}"/>
              </a:ext>
            </a:extLst>
          </p:cNvPr>
          <p:cNvGrpSpPr/>
          <p:nvPr/>
        </p:nvGrpSpPr>
        <p:grpSpPr>
          <a:xfrm>
            <a:off x="4358918" y="2260553"/>
            <a:ext cx="4840278" cy="486028"/>
            <a:chOff x="4358918" y="2260553"/>
            <a:chExt cx="4840278" cy="48602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0621A49-AEF2-F106-C010-86C831B5A82D}"/>
                </a:ext>
              </a:extLst>
            </p:cNvPr>
            <p:cNvSpPr txBox="1"/>
            <p:nvPr/>
          </p:nvSpPr>
          <p:spPr>
            <a:xfrm>
              <a:off x="4822677" y="2296478"/>
              <a:ext cx="43765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+ Weekly whole-class workshop &amp; group projects</a:t>
              </a:r>
            </a:p>
          </p:txBody>
        </p:sp>
        <p:pic>
          <p:nvPicPr>
            <p:cNvPr id="37" name="Picture 36" descr="Icon&#10;&#10;Description automatically generated">
              <a:extLst>
                <a:ext uri="{FF2B5EF4-FFF2-40B4-BE49-F238E27FC236}">
                  <a16:creationId xmlns:a16="http://schemas.microsoft.com/office/drawing/2014/main" id="{71B6811A-D158-B332-0A55-3B8B803C90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358918" y="2260553"/>
              <a:ext cx="486028" cy="486028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0EBFBAC-7737-BF00-80A9-4B90EF55AC30}"/>
              </a:ext>
            </a:extLst>
          </p:cNvPr>
          <p:cNvGrpSpPr/>
          <p:nvPr/>
        </p:nvGrpSpPr>
        <p:grpSpPr>
          <a:xfrm>
            <a:off x="1581842" y="2990523"/>
            <a:ext cx="1700453" cy="384540"/>
            <a:chOff x="2110043" y="2780080"/>
            <a:chExt cx="1700453" cy="38454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B2E6D23-21E1-6CD8-4094-D67A4D5BC565}"/>
                </a:ext>
              </a:extLst>
            </p:cNvPr>
            <p:cNvSpPr txBox="1"/>
            <p:nvPr/>
          </p:nvSpPr>
          <p:spPr>
            <a:xfrm>
              <a:off x="2518155" y="2821381"/>
              <a:ext cx="129234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Online forum</a:t>
              </a:r>
            </a:p>
          </p:txBody>
        </p:sp>
        <p:pic>
          <p:nvPicPr>
            <p:cNvPr id="39" name="Picture 38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4CCCC478-F00E-4F2C-6222-1D8CAE5AE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110043" y="2780080"/>
              <a:ext cx="384540" cy="384540"/>
            </a:xfrm>
            <a:prstGeom prst="rect">
              <a:avLst/>
            </a:prstGeom>
          </p:spPr>
        </p:pic>
      </p:grpSp>
      <p:grpSp>
        <p:nvGrpSpPr>
          <p:cNvPr id="1624" name="Group 1623">
            <a:extLst>
              <a:ext uri="{FF2B5EF4-FFF2-40B4-BE49-F238E27FC236}">
                <a16:creationId xmlns:a16="http://schemas.microsoft.com/office/drawing/2014/main" id="{B2B452AC-0ED4-6996-3190-1796EB9765FD}"/>
              </a:ext>
            </a:extLst>
          </p:cNvPr>
          <p:cNvGrpSpPr/>
          <p:nvPr/>
        </p:nvGrpSpPr>
        <p:grpSpPr>
          <a:xfrm>
            <a:off x="4358918" y="3509071"/>
            <a:ext cx="4320585" cy="458630"/>
            <a:chOff x="4358918" y="3579688"/>
            <a:chExt cx="4320585" cy="458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9B422C4-8D4F-E718-8294-B8390C8556A1}"/>
                </a:ext>
              </a:extLst>
            </p:cNvPr>
            <p:cNvSpPr txBox="1"/>
            <p:nvPr/>
          </p:nvSpPr>
          <p:spPr>
            <a:xfrm>
              <a:off x="4817548" y="3627242"/>
              <a:ext cx="386195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+ Live help during group study hall sessions</a:t>
              </a:r>
            </a:p>
          </p:txBody>
        </p:sp>
        <p:pic>
          <p:nvPicPr>
            <p:cNvPr id="41" name="Picture 40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04F90129-A7AD-2811-668B-CA4421D1E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358918" y="3579688"/>
              <a:ext cx="458630" cy="458630"/>
            </a:xfrm>
            <a:prstGeom prst="rect">
              <a:avLst/>
            </a:prstGeom>
          </p:spPr>
        </p:pic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20FF6F14-D400-855D-6BFA-A0F219B21465}"/>
              </a:ext>
            </a:extLst>
          </p:cNvPr>
          <p:cNvSpPr txBox="1"/>
          <p:nvPr/>
        </p:nvSpPr>
        <p:spPr>
          <a:xfrm>
            <a:off x="4307311" y="4263521"/>
            <a:ext cx="32815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H" sz="1600" dirty="0">
                <a:latin typeface="Calibri" panose="020F0502020204030204" pitchFamily="34" charset="0"/>
                <a:cs typeface="Calibri" panose="020F0502020204030204" pitchFamily="34" charset="0"/>
              </a:rPr>
              <a:t>Can commit to weekly meetings</a:t>
            </a:r>
          </a:p>
          <a:p>
            <a:pPr algn="l"/>
            <a:r>
              <a:rPr lang="en-CH" sz="1600" dirty="0">
                <a:latin typeface="Calibri" panose="020F0502020204030204" pitchFamily="34" charset="0"/>
                <a:cs typeface="Calibri" panose="020F0502020204030204" pitchFamily="34" charset="0"/>
              </a:rPr>
              <a:t>Want to learn as part of a group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7C1864F-7C43-EFA7-5A06-7D68ED4D95C9}"/>
              </a:ext>
            </a:extLst>
          </p:cNvPr>
          <p:cNvGrpSpPr/>
          <p:nvPr/>
        </p:nvGrpSpPr>
        <p:grpSpPr>
          <a:xfrm>
            <a:off x="4389558" y="1383383"/>
            <a:ext cx="1821955" cy="369332"/>
            <a:chOff x="2107164" y="1285768"/>
            <a:chExt cx="1821955" cy="369332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284908F-2708-1CD7-FFC8-F46E8AF72EBC}"/>
                </a:ext>
              </a:extLst>
            </p:cNvPr>
            <p:cNvSpPr txBox="1"/>
            <p:nvPr/>
          </p:nvSpPr>
          <p:spPr>
            <a:xfrm>
              <a:off x="2518155" y="1296598"/>
              <a:ext cx="141096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Video tutorials</a:t>
              </a:r>
            </a:p>
          </p:txBody>
        </p:sp>
        <p:pic>
          <p:nvPicPr>
            <p:cNvPr id="63" name="Picture 62" descr="Icon&#10;&#10;Description automatically generated">
              <a:extLst>
                <a:ext uri="{FF2B5EF4-FFF2-40B4-BE49-F238E27FC236}">
                  <a16:creationId xmlns:a16="http://schemas.microsoft.com/office/drawing/2014/main" id="{8F304757-5103-5C98-8A2E-A179D4F3F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107164" y="1285768"/>
              <a:ext cx="369332" cy="369332"/>
            </a:xfrm>
            <a:prstGeom prst="rect">
              <a:avLst/>
            </a:prstGeom>
          </p:spPr>
        </p:pic>
      </p:grpSp>
      <p:grpSp>
        <p:nvGrpSpPr>
          <p:cNvPr id="1088" name="Group 1087">
            <a:extLst>
              <a:ext uri="{FF2B5EF4-FFF2-40B4-BE49-F238E27FC236}">
                <a16:creationId xmlns:a16="http://schemas.microsoft.com/office/drawing/2014/main" id="{E957ECFF-34BF-FA00-06A3-012011F10C13}"/>
              </a:ext>
            </a:extLst>
          </p:cNvPr>
          <p:cNvGrpSpPr/>
          <p:nvPr/>
        </p:nvGrpSpPr>
        <p:grpSpPr>
          <a:xfrm>
            <a:off x="4389558" y="1824230"/>
            <a:ext cx="1779087" cy="393759"/>
            <a:chOff x="2100812" y="1726615"/>
            <a:chExt cx="1779087" cy="393759"/>
          </a:xfrm>
        </p:grpSpPr>
        <p:sp>
          <p:nvSpPr>
            <p:cNvPr id="1089" name="TextBox 1088">
              <a:extLst>
                <a:ext uri="{FF2B5EF4-FFF2-40B4-BE49-F238E27FC236}">
                  <a16:creationId xmlns:a16="http://schemas.microsoft.com/office/drawing/2014/main" id="{0D02E74A-B284-133D-1F44-8F27D08D44D1}"/>
                </a:ext>
              </a:extLst>
            </p:cNvPr>
            <p:cNvSpPr txBox="1"/>
            <p:nvPr/>
          </p:nvSpPr>
          <p:spPr>
            <a:xfrm>
              <a:off x="2494583" y="1757159"/>
              <a:ext cx="13853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H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Online quizzes</a:t>
              </a:r>
            </a:p>
          </p:txBody>
        </p:sp>
        <p:pic>
          <p:nvPicPr>
            <p:cNvPr id="1604" name="Picture 1603" descr="Icon&#10;&#10;Description automatically generated">
              <a:extLst>
                <a:ext uri="{FF2B5EF4-FFF2-40B4-BE49-F238E27FC236}">
                  <a16:creationId xmlns:a16="http://schemas.microsoft.com/office/drawing/2014/main" id="{A8C332E5-74FA-96F3-A2E3-C97BA7C884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 l="20527" t="13027" r="15866" b="25170"/>
            <a:stretch/>
          </p:blipFill>
          <p:spPr>
            <a:xfrm>
              <a:off x="2100812" y="1726615"/>
              <a:ext cx="375683" cy="393759"/>
            </a:xfrm>
            <a:prstGeom prst="rect">
              <a:avLst/>
            </a:prstGeom>
          </p:spPr>
        </p:pic>
      </p:grpSp>
      <p:grpSp>
        <p:nvGrpSpPr>
          <p:cNvPr id="1605" name="Group 1604">
            <a:extLst>
              <a:ext uri="{FF2B5EF4-FFF2-40B4-BE49-F238E27FC236}">
                <a16:creationId xmlns:a16="http://schemas.microsoft.com/office/drawing/2014/main" id="{6C5FF590-5AFB-C22C-D2AD-3D10B9DA19FD}"/>
              </a:ext>
            </a:extLst>
          </p:cNvPr>
          <p:cNvGrpSpPr/>
          <p:nvPr/>
        </p:nvGrpSpPr>
        <p:grpSpPr>
          <a:xfrm>
            <a:off x="4389558" y="3015097"/>
            <a:ext cx="1700453" cy="384540"/>
            <a:chOff x="2110043" y="2780080"/>
            <a:chExt cx="1700453" cy="384540"/>
          </a:xfrm>
        </p:grpSpPr>
        <p:sp>
          <p:nvSpPr>
            <p:cNvPr id="1606" name="TextBox 1605">
              <a:extLst>
                <a:ext uri="{FF2B5EF4-FFF2-40B4-BE49-F238E27FC236}">
                  <a16:creationId xmlns:a16="http://schemas.microsoft.com/office/drawing/2014/main" id="{16237CAA-E3C7-1FB9-AC56-15251F11AEFD}"/>
                </a:ext>
              </a:extLst>
            </p:cNvPr>
            <p:cNvSpPr txBox="1"/>
            <p:nvPr/>
          </p:nvSpPr>
          <p:spPr>
            <a:xfrm>
              <a:off x="2518155" y="2821381"/>
              <a:ext cx="129234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Online forum</a:t>
              </a:r>
            </a:p>
          </p:txBody>
        </p:sp>
        <p:pic>
          <p:nvPicPr>
            <p:cNvPr id="1607" name="Picture 1606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B1D0052C-3668-A617-994B-F3CE1E19F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110043" y="2780080"/>
              <a:ext cx="384540" cy="384540"/>
            </a:xfrm>
            <a:prstGeom prst="rect">
              <a:avLst/>
            </a:prstGeom>
          </p:spPr>
        </p:pic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A103687-7B90-F2F2-6F14-69F27B3AF8E0}"/>
              </a:ext>
            </a:extLst>
          </p:cNvPr>
          <p:cNvCxnSpPr>
            <a:cxnSpLocks/>
          </p:cNvCxnSpPr>
          <p:nvPr/>
        </p:nvCxnSpPr>
        <p:spPr>
          <a:xfrm>
            <a:off x="1390684" y="2890017"/>
            <a:ext cx="7678750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A564781-ED85-497D-FFC1-05F5418B459B}"/>
              </a:ext>
            </a:extLst>
          </p:cNvPr>
          <p:cNvCxnSpPr>
            <a:cxnSpLocks/>
          </p:cNvCxnSpPr>
          <p:nvPr/>
        </p:nvCxnSpPr>
        <p:spPr>
          <a:xfrm>
            <a:off x="1390684" y="4081821"/>
            <a:ext cx="7678750" cy="12923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FFA6D90-E23E-2484-8226-844E913A3012}"/>
              </a:ext>
            </a:extLst>
          </p:cNvPr>
          <p:cNvCxnSpPr>
            <a:cxnSpLocks/>
          </p:cNvCxnSpPr>
          <p:nvPr/>
        </p:nvCxnSpPr>
        <p:spPr>
          <a:xfrm>
            <a:off x="1390684" y="5024263"/>
            <a:ext cx="7678750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4" name="Straight Connector 1613">
            <a:extLst>
              <a:ext uri="{FF2B5EF4-FFF2-40B4-BE49-F238E27FC236}">
                <a16:creationId xmlns:a16="http://schemas.microsoft.com/office/drawing/2014/main" id="{55C23FA0-E0ED-608A-C0DA-2D7D1822CFE9}"/>
              </a:ext>
            </a:extLst>
          </p:cNvPr>
          <p:cNvCxnSpPr>
            <a:cxnSpLocks/>
          </p:cNvCxnSpPr>
          <p:nvPr/>
        </p:nvCxnSpPr>
        <p:spPr>
          <a:xfrm>
            <a:off x="1371600" y="1304267"/>
            <a:ext cx="7772399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037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20" grpId="0"/>
      <p:bldP spid="21" grpId="0"/>
      <p:bldP spid="4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728906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Benefits of cohort learn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2ADC4E-8CE2-1A8E-87FA-1D3E1A3FE3C7}"/>
              </a:ext>
            </a:extLst>
          </p:cNvPr>
          <p:cNvSpPr txBox="1"/>
          <p:nvPr/>
        </p:nvSpPr>
        <p:spPr>
          <a:xfrm>
            <a:off x="359564" y="592332"/>
            <a:ext cx="79072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Closer guida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Account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Social connections &amp; collaboration</a:t>
            </a:r>
          </a:p>
        </p:txBody>
      </p:sp>
    </p:spTree>
    <p:extLst>
      <p:ext uri="{BB962C8B-B14F-4D97-AF65-F5344CB8AC3E}">
        <p14:creationId xmlns:p14="http://schemas.microsoft.com/office/powerpoint/2010/main" val="3293816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5251759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R for Busy People, Objective &amp; Forma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45B0C2-3181-F6C6-FF23-F512941CE866}"/>
              </a:ext>
            </a:extLst>
          </p:cNvPr>
          <p:cNvSpPr txBox="1"/>
          <p:nvPr/>
        </p:nvSpPr>
        <p:spPr>
          <a:xfrm>
            <a:off x="266608" y="612484"/>
            <a:ext cx="863580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H" sz="1800" b="1" dirty="0">
                <a:latin typeface="Calibri" panose="020F0502020204030204" pitchFamily="34" charset="0"/>
                <a:cs typeface="Calibri" panose="020F0502020204030204" pitchFamily="34" charset="0"/>
              </a:rPr>
              <a:t>Objective</a:t>
            </a:r>
          </a:p>
          <a:p>
            <a:pPr algn="l"/>
            <a:r>
              <a:rPr lang="en-CH" sz="1800" dirty="0">
                <a:latin typeface="Calibri" panose="020F0502020204030204" pitchFamily="34" charset="0"/>
                <a:cs typeface="Calibri" panose="020F0502020204030204" pitchFamily="34" charset="0"/>
              </a:rPr>
              <a:t>Primary: You can carry out all your basic 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data analysis and report-creation tasks with R</a:t>
            </a:r>
          </a:p>
          <a:p>
            <a:pPr algn="l"/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Health-focused examples, but broadly applicable skills)</a:t>
            </a:r>
          </a:p>
          <a:p>
            <a:pPr algn="l"/>
            <a:endParaRPr lang="en-GB" sz="18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ondary: You are equipped to continue to self-learn R, and can (if of interest) confidently apply for data analyst roles after 3-6 months of additional study and portfolio-building.</a:t>
            </a:r>
          </a:p>
          <a:p>
            <a:pPr algn="l"/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sz="1800" b="1" dirty="0">
                <a:latin typeface="Calibri" panose="020F0502020204030204" pitchFamily="34" charset="0"/>
                <a:cs typeface="Calibri" panose="020F0502020204030204" pitchFamily="34" charset="0"/>
              </a:rPr>
              <a:t>Forma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CH" sz="1800" dirty="0">
                <a:latin typeface="Calibri" panose="020F0502020204030204" pitchFamily="34" charset="0"/>
                <a:cs typeface="Calibri" panose="020F0502020204030204" pitchFamily="34" charset="0"/>
              </a:rPr>
              <a:t>Flipped classroom </a:t>
            </a:r>
            <a:r>
              <a:rPr lang="en-CH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Videos &amp; quizzes at home, practice during the ~ 3 hours of self-work per week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CH" sz="1800" b="1" dirty="0">
                <a:latin typeface="Calibri" panose="020F0502020204030204" pitchFamily="34" charset="0"/>
                <a:cs typeface="Calibri" panose="020F0502020204030204" pitchFamily="34" charset="0"/>
              </a:rPr>
              <a:t>Mandatory workshops once a week, Tuesdays 6 to 8pm UTC+2, starting October 11</a:t>
            </a:r>
            <a:endParaRPr lang="en-CH" sz="18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CH" sz="1800" b="1" dirty="0">
                <a:latin typeface="Calibri" panose="020F0502020204030204" pitchFamily="34" charset="0"/>
                <a:cs typeface="Calibri" panose="020F0502020204030204" pitchFamily="34" charset="0"/>
              </a:rPr>
              <a:t>Optional study hall sessions twice a week </a:t>
            </a:r>
            <a:r>
              <a:rPr lang="en-CH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for Q&amp;A &amp; co-work; time to be confirme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1800" dirty="0">
                <a:latin typeface="Calibri" panose="020F0502020204030204" pitchFamily="34" charset="0"/>
                <a:cs typeface="Calibri" panose="020F0502020204030204" pitchFamily="34" charset="0"/>
              </a:rPr>
              <a:t>Forum for discu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1800" dirty="0">
                <a:latin typeface="Calibri" panose="020F0502020204030204" pitchFamily="34" charset="0"/>
                <a:cs typeface="Calibri" panose="020F0502020204030204" pitchFamily="34" charset="0"/>
              </a:rPr>
              <a:t>Final project &amp; ex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sz="1800" dirty="0">
                <a:latin typeface="Calibri" panose="020F0502020204030204" pitchFamily="34" charset="0"/>
                <a:cs typeface="Calibri" panose="020F0502020204030204" pitchFamily="34" charset="0"/>
              </a:rPr>
              <a:t>Certificate of completion </a:t>
            </a:r>
            <a:r>
              <a:rPr lang="en-CH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based on attendance, quiz completion, and final project &amp; exam) </a:t>
            </a:r>
            <a:endParaRPr lang="en-CH" sz="18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718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2FCBCD72-B3AD-B682-4F98-D2FF5986BD1A}"/>
              </a:ext>
            </a:extLst>
          </p:cNvPr>
          <p:cNvGrpSpPr/>
          <p:nvPr/>
        </p:nvGrpSpPr>
        <p:grpSpPr>
          <a:xfrm>
            <a:off x="4377814" y="1888490"/>
            <a:ext cx="4171986" cy="1780449"/>
            <a:chOff x="572235" y="1606512"/>
            <a:chExt cx="1782501" cy="1359711"/>
          </a:xfrm>
          <a:solidFill>
            <a:srgbClr val="E2F0FD"/>
          </a:solidFill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4AF89544-13F5-CDA8-335D-7FDC8D227456}"/>
                </a:ext>
              </a:extLst>
            </p:cNvPr>
            <p:cNvSpPr/>
            <p:nvPr/>
          </p:nvSpPr>
          <p:spPr>
            <a:xfrm>
              <a:off x="572235" y="1606512"/>
              <a:ext cx="1782499" cy="239942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latin typeface="Lato" panose="020F0502020204030203" pitchFamily="34" charset="77"/>
              </a:endParaRP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6B9BDDCD-2E79-F391-31B5-02660C9E4249}"/>
                </a:ext>
              </a:extLst>
            </p:cNvPr>
            <p:cNvSpPr/>
            <p:nvPr/>
          </p:nvSpPr>
          <p:spPr>
            <a:xfrm>
              <a:off x="572236" y="1715494"/>
              <a:ext cx="1782500" cy="1250729"/>
            </a:xfrm>
            <a:prstGeom prst="roundRect">
              <a:avLst>
                <a:gd name="adj" fmla="val 1155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latin typeface="Lato" panose="020F0502020204030203" pitchFamily="34" charset="77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62087EB-6A24-B385-F7E8-7F66E2F626F3}"/>
              </a:ext>
            </a:extLst>
          </p:cNvPr>
          <p:cNvGrpSpPr/>
          <p:nvPr/>
        </p:nvGrpSpPr>
        <p:grpSpPr>
          <a:xfrm>
            <a:off x="2489642" y="1888247"/>
            <a:ext cx="1914848" cy="1780449"/>
            <a:chOff x="572235" y="1606512"/>
            <a:chExt cx="1782501" cy="1359711"/>
          </a:xfrm>
          <a:solidFill>
            <a:srgbClr val="F6E4C6"/>
          </a:solidFill>
        </p:grpSpPr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44848718-AAA5-0946-07FC-9946F80F5BD1}"/>
                </a:ext>
              </a:extLst>
            </p:cNvPr>
            <p:cNvSpPr/>
            <p:nvPr/>
          </p:nvSpPr>
          <p:spPr>
            <a:xfrm>
              <a:off x="572235" y="1606512"/>
              <a:ext cx="1782499" cy="239942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latin typeface="Lato" panose="020F0502020204030203" pitchFamily="34" charset="77"/>
              </a:endParaRP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774E1A0B-4640-9995-3C4F-3B11C6E26117}"/>
                </a:ext>
              </a:extLst>
            </p:cNvPr>
            <p:cNvSpPr/>
            <p:nvPr/>
          </p:nvSpPr>
          <p:spPr>
            <a:xfrm>
              <a:off x="572236" y="1715494"/>
              <a:ext cx="1782500" cy="1250729"/>
            </a:xfrm>
            <a:prstGeom prst="roundRect">
              <a:avLst>
                <a:gd name="adj" fmla="val 1155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latin typeface="Lato" panose="020F0502020204030203" pitchFamily="34" charset="77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773DCB2-D9CB-DB54-6F71-A9871D49CF91}"/>
              </a:ext>
            </a:extLst>
          </p:cNvPr>
          <p:cNvGrpSpPr/>
          <p:nvPr/>
        </p:nvGrpSpPr>
        <p:grpSpPr>
          <a:xfrm>
            <a:off x="708869" y="1890292"/>
            <a:ext cx="1782501" cy="1786871"/>
            <a:chOff x="572235" y="1606512"/>
            <a:chExt cx="1782501" cy="1359711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387D5239-E787-BDA5-BA08-6A695A96CACD}"/>
                </a:ext>
              </a:extLst>
            </p:cNvPr>
            <p:cNvSpPr/>
            <p:nvPr/>
          </p:nvSpPr>
          <p:spPr>
            <a:xfrm>
              <a:off x="572235" y="1606512"/>
              <a:ext cx="1782499" cy="239942"/>
            </a:xfrm>
            <a:prstGeom prst="roundRect">
              <a:avLst>
                <a:gd name="adj" fmla="val 0"/>
              </a:avLst>
            </a:prstGeom>
            <a:solidFill>
              <a:srgbClr val="DAE5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latin typeface="Lato" panose="020F0502020204030203" pitchFamily="34" charset="77"/>
              </a:endParaRPr>
            </a:p>
          </p:txBody>
        </p: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E32F7090-E7BB-511B-1004-4AE15D4070D3}"/>
                </a:ext>
              </a:extLst>
            </p:cNvPr>
            <p:cNvSpPr/>
            <p:nvPr/>
          </p:nvSpPr>
          <p:spPr>
            <a:xfrm>
              <a:off x="572236" y="1715494"/>
              <a:ext cx="1782500" cy="1250729"/>
            </a:xfrm>
            <a:prstGeom prst="roundRect">
              <a:avLst>
                <a:gd name="adj" fmla="val 11559"/>
              </a:avLst>
            </a:prstGeom>
            <a:solidFill>
              <a:srgbClr val="D9E5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latin typeface="Lato" panose="020F0502020204030203" pitchFamily="34" charset="77"/>
              </a:endParaRPr>
            </a:p>
          </p:txBody>
        </p: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762568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R for Busy People, Timelin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75C7C6-740F-FA14-0998-96DF61F4C9BD}"/>
              </a:ext>
            </a:extLst>
          </p:cNvPr>
          <p:cNvSpPr/>
          <p:nvPr/>
        </p:nvSpPr>
        <p:spPr>
          <a:xfrm>
            <a:off x="708871" y="1682511"/>
            <a:ext cx="1782500" cy="207786"/>
          </a:xfrm>
          <a:prstGeom prst="rect">
            <a:avLst/>
          </a:prstGeom>
          <a:solidFill>
            <a:srgbClr val="9BC6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atin typeface="Lato" panose="020F0502020204030203" pitchFamily="34" charset="77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8BDFC1-3451-1ECE-F332-BB4740F55FB7}"/>
              </a:ext>
            </a:extLst>
          </p:cNvPr>
          <p:cNvSpPr/>
          <p:nvPr/>
        </p:nvSpPr>
        <p:spPr>
          <a:xfrm flipV="1">
            <a:off x="2491370" y="1683289"/>
            <a:ext cx="1916397" cy="207005"/>
          </a:xfrm>
          <a:prstGeom prst="rect">
            <a:avLst/>
          </a:prstGeom>
          <a:solidFill>
            <a:srgbClr val="F2A44B">
              <a:alpha val="4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6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981515-2BF2-4ED6-372D-0E72884D4D37}"/>
              </a:ext>
            </a:extLst>
          </p:cNvPr>
          <p:cNvSpPr txBox="1"/>
          <p:nvPr/>
        </p:nvSpPr>
        <p:spPr>
          <a:xfrm>
            <a:off x="930455" y="1973665"/>
            <a:ext cx="1199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1600" b="1" dirty="0">
                <a:latin typeface="Calibri" panose="020F0502020204030204" pitchFamily="34" charset="0"/>
                <a:cs typeface="Calibri" panose="020F0502020204030204" pitchFamily="34" charset="0"/>
              </a:rPr>
              <a:t>Onboard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02A361-2E07-A6DA-A85B-6D31A9D89853}"/>
              </a:ext>
            </a:extLst>
          </p:cNvPr>
          <p:cNvSpPr txBox="1"/>
          <p:nvPr/>
        </p:nvSpPr>
        <p:spPr>
          <a:xfrm>
            <a:off x="2571468" y="1973665"/>
            <a:ext cx="1672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 sz="1600" b="1" dirty="0">
                <a:latin typeface="Calibri" panose="020F0502020204030204" pitchFamily="34" charset="0"/>
                <a:cs typeface="Calibri" panose="020F0502020204030204" pitchFamily="34" charset="0"/>
              </a:rPr>
              <a:t>Opening week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1804CD-7463-BF18-4690-0591042A649B}"/>
              </a:ext>
            </a:extLst>
          </p:cNvPr>
          <p:cNvGrpSpPr/>
          <p:nvPr/>
        </p:nvGrpSpPr>
        <p:grpSpPr>
          <a:xfrm>
            <a:off x="829757" y="1178162"/>
            <a:ext cx="1549301" cy="508369"/>
            <a:chOff x="829757" y="1178162"/>
            <a:chExt cx="1549301" cy="50836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9566EEB-BE00-14F7-8341-B6A80BEBE00D}"/>
                </a:ext>
              </a:extLst>
            </p:cNvPr>
            <p:cNvSpPr txBox="1"/>
            <p:nvPr/>
          </p:nvSpPr>
          <p:spPr>
            <a:xfrm>
              <a:off x="829757" y="1409532"/>
              <a:ext cx="154930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CH" sz="120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ek starting Sep 26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1D69E87-1EEE-E603-217B-F5F91ADB9BAD}"/>
                </a:ext>
              </a:extLst>
            </p:cNvPr>
            <p:cNvSpPr txBox="1"/>
            <p:nvPr/>
          </p:nvSpPr>
          <p:spPr>
            <a:xfrm>
              <a:off x="1210982" y="1178162"/>
              <a:ext cx="82426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Week 1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B64FDCA-70AD-CCE6-74F4-277A10F65A2A}"/>
              </a:ext>
            </a:extLst>
          </p:cNvPr>
          <p:cNvGrpSpPr/>
          <p:nvPr/>
        </p:nvGrpSpPr>
        <p:grpSpPr>
          <a:xfrm>
            <a:off x="2654707" y="1163630"/>
            <a:ext cx="1433988" cy="512010"/>
            <a:chOff x="2654707" y="1163630"/>
            <a:chExt cx="1433988" cy="51201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9AA9AD4-7FC8-8670-8F02-A75FD51E551C}"/>
                </a:ext>
              </a:extLst>
            </p:cNvPr>
            <p:cNvSpPr txBox="1"/>
            <p:nvPr/>
          </p:nvSpPr>
          <p:spPr>
            <a:xfrm>
              <a:off x="2654707" y="1398641"/>
              <a:ext cx="14339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CH" sz="120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ek starting O</a:t>
              </a:r>
              <a:r>
                <a:rPr lang="en-GB" sz="120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</a:t>
              </a:r>
              <a:r>
                <a:rPr lang="en-CH" sz="120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 3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B2581EC-E1EE-FD4A-7956-71BE1A8EBC33}"/>
                </a:ext>
              </a:extLst>
            </p:cNvPr>
            <p:cNvSpPr txBox="1"/>
            <p:nvPr/>
          </p:nvSpPr>
          <p:spPr>
            <a:xfrm>
              <a:off x="2982612" y="1163630"/>
              <a:ext cx="82426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Week 2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18A58A6-BED4-38E1-8A58-DCC303DF3ECC}"/>
              </a:ext>
            </a:extLst>
          </p:cNvPr>
          <p:cNvSpPr/>
          <p:nvPr/>
        </p:nvSpPr>
        <p:spPr>
          <a:xfrm flipV="1">
            <a:off x="4407767" y="1679655"/>
            <a:ext cx="4142032" cy="210637"/>
          </a:xfrm>
          <a:prstGeom prst="rect">
            <a:avLst/>
          </a:prstGeom>
          <a:solidFill>
            <a:srgbClr val="9DC3E6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60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5F5B985-8ADF-8C10-EBDB-56ABEEEF29F6}"/>
              </a:ext>
            </a:extLst>
          </p:cNvPr>
          <p:cNvGrpSpPr/>
          <p:nvPr/>
        </p:nvGrpSpPr>
        <p:grpSpPr>
          <a:xfrm>
            <a:off x="4708155" y="1158351"/>
            <a:ext cx="3841644" cy="528180"/>
            <a:chOff x="4708155" y="1158351"/>
            <a:chExt cx="3841644" cy="52818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CC1B031-0056-40E1-4C38-556F3E818EB0}"/>
                </a:ext>
              </a:extLst>
            </p:cNvPr>
            <p:cNvSpPr txBox="1"/>
            <p:nvPr/>
          </p:nvSpPr>
          <p:spPr>
            <a:xfrm>
              <a:off x="5649688" y="1158351"/>
              <a:ext cx="13885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Weeks 3 to 1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85CD077-C646-50AD-6519-218521C940AB}"/>
                </a:ext>
              </a:extLst>
            </p:cNvPr>
            <p:cNvSpPr txBox="1"/>
            <p:nvPr/>
          </p:nvSpPr>
          <p:spPr>
            <a:xfrm>
              <a:off x="4708155" y="1409532"/>
              <a:ext cx="38416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CH" sz="1200" dirty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ek starting Oct 11 to week starting Dec 12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EDB1785-48D6-7C7D-89A8-0C456D889389}"/>
              </a:ext>
            </a:extLst>
          </p:cNvPr>
          <p:cNvSpPr txBox="1"/>
          <p:nvPr/>
        </p:nvSpPr>
        <p:spPr>
          <a:xfrm>
            <a:off x="5567085" y="1953614"/>
            <a:ext cx="19148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H" sz="1600" b="1" dirty="0">
                <a:latin typeface="Calibri" panose="020F0502020204030204" pitchFamily="34" charset="0"/>
                <a:cs typeface="Calibri" panose="020F0502020204030204" pitchFamily="34" charset="0"/>
              </a:rPr>
              <a:t>Regular pr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BFB582-CB99-64EA-B8C8-475977902518}"/>
              </a:ext>
            </a:extLst>
          </p:cNvPr>
          <p:cNvSpPr txBox="1"/>
          <p:nvPr/>
        </p:nvSpPr>
        <p:spPr>
          <a:xfrm>
            <a:off x="4479103" y="2292168"/>
            <a:ext cx="39884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CH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st live session Tuesday, Oct 1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CH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sons released a week before worksho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9518D-699F-203B-94E5-7C61F74CE5CD}"/>
              </a:ext>
            </a:extLst>
          </p:cNvPr>
          <p:cNvSpPr txBox="1"/>
          <p:nvPr/>
        </p:nvSpPr>
        <p:spPr>
          <a:xfrm>
            <a:off x="829757" y="2283097"/>
            <a:ext cx="1568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H" dirty="0">
                <a:latin typeface="Calibri" panose="020F0502020204030204" pitchFamily="34" charset="0"/>
                <a:cs typeface="Calibri" panose="020F0502020204030204" pitchFamily="34" charset="0"/>
              </a:rPr>
              <a:t>Get acquainted with too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7F18F9-356B-DC81-8D20-D5BC2B419ED3}"/>
              </a:ext>
            </a:extLst>
          </p:cNvPr>
          <p:cNvSpPr txBox="1"/>
          <p:nvPr/>
        </p:nvSpPr>
        <p:spPr>
          <a:xfrm>
            <a:off x="2571468" y="2312219"/>
            <a:ext cx="18494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CH" dirty="0">
                <a:latin typeface="Calibri" panose="020F0502020204030204" pitchFamily="34" charset="0"/>
                <a:cs typeface="Calibri" panose="020F0502020204030204" pitchFamily="34" charset="0"/>
              </a:rPr>
              <a:t>Open for enrollme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CH" dirty="0">
                <a:latin typeface="Calibri" panose="020F0502020204030204" pitchFamily="34" charset="0"/>
                <a:cs typeface="Calibri" panose="020F0502020204030204" pitchFamily="34" charset="0"/>
              </a:rPr>
              <a:t>One week to do some prerequisite less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68A32EF-6BB0-4086-C9FB-3BAD9059020C}"/>
              </a:ext>
            </a:extLst>
          </p:cNvPr>
          <p:cNvSpPr txBox="1"/>
          <p:nvPr/>
        </p:nvSpPr>
        <p:spPr>
          <a:xfrm>
            <a:off x="997781" y="3754647"/>
            <a:ext cx="11320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221489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9" grpId="0"/>
      <p:bldP spid="21" grpId="0" build="p"/>
      <p:bldP spid="22" grpId="0"/>
      <p:bldP spid="23" grpId="0" build="p"/>
      <p:bldP spid="3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834704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R for Busy People, Modu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8A58A6-BED4-38E1-8A58-DCC303DF3ECC}"/>
              </a:ext>
            </a:extLst>
          </p:cNvPr>
          <p:cNvSpPr/>
          <p:nvPr/>
        </p:nvSpPr>
        <p:spPr>
          <a:xfrm flipV="1">
            <a:off x="384442" y="1191030"/>
            <a:ext cx="2581783" cy="272702"/>
          </a:xfrm>
          <a:prstGeom prst="rect">
            <a:avLst/>
          </a:prstGeom>
          <a:solidFill>
            <a:srgbClr val="9DC3E6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C1B031-0056-40E1-4C38-556F3E818EB0}"/>
              </a:ext>
            </a:extLst>
          </p:cNvPr>
          <p:cNvSpPr txBox="1"/>
          <p:nvPr/>
        </p:nvSpPr>
        <p:spPr>
          <a:xfrm>
            <a:off x="3172763" y="604045"/>
            <a:ext cx="23295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H" sz="2800" b="1" dirty="0">
                <a:latin typeface="Calibri" panose="020F0502020204030204" pitchFamily="34" charset="0"/>
                <a:cs typeface="Calibri" panose="020F0502020204030204" pitchFamily="34" charset="0"/>
              </a:rPr>
              <a:t>Weeks 3 to 1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A9C2F9-24E9-B299-E2C3-67A20C32FBC5}"/>
              </a:ext>
            </a:extLst>
          </p:cNvPr>
          <p:cNvSpPr/>
          <p:nvPr/>
        </p:nvSpPr>
        <p:spPr>
          <a:xfrm flipV="1">
            <a:off x="2966225" y="1191030"/>
            <a:ext cx="2626386" cy="272702"/>
          </a:xfrm>
          <a:prstGeom prst="rect">
            <a:avLst/>
          </a:prstGeom>
          <a:solidFill>
            <a:srgbClr val="90B4D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8A120B-5FDA-0295-A13A-64097249607B}"/>
              </a:ext>
            </a:extLst>
          </p:cNvPr>
          <p:cNvSpPr/>
          <p:nvPr/>
        </p:nvSpPr>
        <p:spPr>
          <a:xfrm flipV="1">
            <a:off x="5592610" y="1191030"/>
            <a:ext cx="2915771" cy="272702"/>
          </a:xfrm>
          <a:prstGeom prst="rect">
            <a:avLst/>
          </a:prstGeom>
          <a:solidFill>
            <a:srgbClr val="88AAC9">
              <a:alpha val="8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B36A58C-6074-CB5F-2BAA-456A21D18CE6}"/>
              </a:ext>
            </a:extLst>
          </p:cNvPr>
          <p:cNvGrpSpPr/>
          <p:nvPr/>
        </p:nvGrpSpPr>
        <p:grpSpPr>
          <a:xfrm>
            <a:off x="476651" y="1658077"/>
            <a:ext cx="2219987" cy="1411914"/>
            <a:chOff x="688524" y="1564221"/>
            <a:chExt cx="2270173" cy="14119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B08927A-41FA-AC8B-704A-4FB379BE1823}"/>
                </a:ext>
              </a:extLst>
            </p:cNvPr>
            <p:cNvSpPr txBox="1"/>
            <p:nvPr/>
          </p:nvSpPr>
          <p:spPr>
            <a:xfrm>
              <a:off x="688524" y="1564221"/>
              <a:ext cx="227017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2800" b="1" dirty="0">
                  <a:solidFill>
                    <a:srgbClr val="88AAC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 foundation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2A7298C-ED0A-3694-F646-A3637497AFD9}"/>
                </a:ext>
              </a:extLst>
            </p:cNvPr>
            <p:cNvSpPr txBox="1"/>
            <p:nvPr/>
          </p:nvSpPr>
          <p:spPr>
            <a:xfrm>
              <a:off x="771263" y="2052805"/>
              <a:ext cx="218743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H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Get acquainted with R, R</a:t>
              </a:r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CH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tudio &amp; Rmarkdown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025EF7-1798-ECAB-DE00-0DBC1F311D3E}"/>
              </a:ext>
            </a:extLst>
          </p:cNvPr>
          <p:cNvGrpSpPr/>
          <p:nvPr/>
        </p:nvGrpSpPr>
        <p:grpSpPr>
          <a:xfrm>
            <a:off x="3082424" y="1644160"/>
            <a:ext cx="2510186" cy="1661994"/>
            <a:chOff x="3252932" y="1591140"/>
            <a:chExt cx="2566932" cy="166199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DFB1CF3-6BB7-BD3B-BDEC-B806A1AECAC3}"/>
                </a:ext>
              </a:extLst>
            </p:cNvPr>
            <p:cNvSpPr txBox="1"/>
            <p:nvPr/>
          </p:nvSpPr>
          <p:spPr>
            <a:xfrm>
              <a:off x="3252932" y="1591140"/>
              <a:ext cx="24481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2800" b="1" dirty="0">
                  <a:solidFill>
                    <a:srgbClr val="93AAB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ta wrangling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E7CC19-05DA-5692-80BE-23EB48A90765}"/>
                </a:ext>
              </a:extLst>
            </p:cNvPr>
            <p:cNvSpPr txBox="1"/>
            <p:nvPr/>
          </p:nvSpPr>
          <p:spPr>
            <a:xfrm>
              <a:off x="3252932" y="2052805"/>
              <a:ext cx="256693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Learn to clean, transform, filter and summarize data with </a:t>
              </a:r>
              <a:r>
                <a:rPr lang="en-GB" sz="1800" i="1" dirty="0">
                  <a:latin typeface="Calibri" panose="020F0502020204030204" pitchFamily="34" charset="0"/>
                  <a:cs typeface="Calibri" panose="020F0502020204030204" pitchFamily="34" charset="0"/>
                </a:rPr>
                <a:t>dplyr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30A5A2B-7395-9865-26AD-8D12BDEA511B}"/>
              </a:ext>
            </a:extLst>
          </p:cNvPr>
          <p:cNvGrpSpPr/>
          <p:nvPr/>
        </p:nvGrpSpPr>
        <p:grpSpPr>
          <a:xfrm>
            <a:off x="5736755" y="1677327"/>
            <a:ext cx="2637812" cy="1384995"/>
            <a:chOff x="5985281" y="1633009"/>
            <a:chExt cx="2697443" cy="138499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6D74F1A-9283-AB57-11D3-599B0CC7A5CD}"/>
                </a:ext>
              </a:extLst>
            </p:cNvPr>
            <p:cNvSpPr txBox="1"/>
            <p:nvPr/>
          </p:nvSpPr>
          <p:spPr>
            <a:xfrm>
              <a:off x="6605644" y="1633009"/>
              <a:ext cx="137409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2800" b="1" dirty="0">
                  <a:solidFill>
                    <a:srgbClr val="677B8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ta viz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A95993C-853D-A671-7954-60ECEFDD2B70}"/>
                </a:ext>
              </a:extLst>
            </p:cNvPr>
            <p:cNvSpPr txBox="1"/>
            <p:nvPr/>
          </p:nvSpPr>
          <p:spPr>
            <a:xfrm>
              <a:off x="5985281" y="2094674"/>
              <a:ext cx="269744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Learn to make complex, beautiful visualizations and reports with </a:t>
              </a:r>
              <a:r>
                <a:rPr lang="en-GB" sz="1800" i="1" dirty="0">
                  <a:latin typeface="Calibri" panose="020F0502020204030204" pitchFamily="34" charset="0"/>
                  <a:cs typeface="Calibri" panose="020F0502020204030204" pitchFamily="34" charset="0"/>
                </a:rPr>
                <a:t>ggplot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6656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ounded Rectangle 101">
            <a:extLst>
              <a:ext uri="{FF2B5EF4-FFF2-40B4-BE49-F238E27FC236}">
                <a16:creationId xmlns:a16="http://schemas.microsoft.com/office/drawing/2014/main" id="{E49BD4A8-7F54-CED1-C0E3-C39756C47918}"/>
              </a:ext>
            </a:extLst>
          </p:cNvPr>
          <p:cNvSpPr/>
          <p:nvPr/>
        </p:nvSpPr>
        <p:spPr>
          <a:xfrm>
            <a:off x="482306" y="646480"/>
            <a:ext cx="8179387" cy="4145020"/>
          </a:xfrm>
          <a:prstGeom prst="roundRect">
            <a:avLst>
              <a:gd name="adj" fmla="val 538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50C7ECC-383A-AD1F-987B-3E8EC3EDF321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9C99327D-77E8-D78E-9116-221C41726492}"/>
              </a:ext>
            </a:extLst>
          </p:cNvPr>
          <p:cNvSpPr txBox="1"/>
          <p:nvPr/>
        </p:nvSpPr>
        <p:spPr>
          <a:xfrm>
            <a:off x="266608" y="96736"/>
            <a:ext cx="5697394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R for Busy People, Instructors and coaches</a:t>
            </a:r>
          </a:p>
        </p:txBody>
      </p:sp>
      <p:pic>
        <p:nvPicPr>
          <p:cNvPr id="58" name="Picture 57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864F6A30-78E0-753B-9EC2-E376FACC8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3853" y="907299"/>
            <a:ext cx="1527314" cy="1459073"/>
          </a:xfrm>
          <a:prstGeom prst="rect">
            <a:avLst/>
          </a:prstGeom>
        </p:spPr>
      </p:pic>
      <p:pic>
        <p:nvPicPr>
          <p:cNvPr id="60" name="Picture 59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F97022CB-6269-1651-2E26-A170890392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069" y="907301"/>
            <a:ext cx="1461698" cy="1459073"/>
          </a:xfrm>
          <a:prstGeom prst="rect">
            <a:avLst/>
          </a:prstGeom>
        </p:spPr>
      </p:pic>
      <p:pic>
        <p:nvPicPr>
          <p:cNvPr id="62" name="Picture 61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37966B13-A6B5-139D-89A5-7A621B3F9B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1992" y="907301"/>
            <a:ext cx="1507636" cy="1459073"/>
          </a:xfrm>
          <a:prstGeom prst="rect">
            <a:avLst/>
          </a:prstGeom>
        </p:spPr>
      </p:pic>
      <p:pic>
        <p:nvPicPr>
          <p:cNvPr id="64" name="Picture 63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500244A1-FCE4-CDCE-49C8-827E5AF0A3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5392" y="907299"/>
            <a:ext cx="1461698" cy="1464581"/>
          </a:xfrm>
          <a:prstGeom prst="rect">
            <a:avLst/>
          </a:prstGeom>
        </p:spPr>
      </p:pic>
      <p:pic>
        <p:nvPicPr>
          <p:cNvPr id="66" name="Picture 65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B0F933FF-C0D3-B7E1-9CDF-FFE0AC7CEC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73013" y="2965810"/>
            <a:ext cx="1461698" cy="1436333"/>
          </a:xfrm>
          <a:prstGeom prst="rect">
            <a:avLst/>
          </a:prstGeom>
        </p:spPr>
      </p:pic>
      <p:pic>
        <p:nvPicPr>
          <p:cNvPr id="70" name="Picture 69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E1257AF4-3045-BDEB-EC7A-F358C115FB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1315" y="887642"/>
            <a:ext cx="1507636" cy="1498386"/>
          </a:xfrm>
          <a:prstGeom prst="rect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A8EBF560-BE81-28D2-9037-5A8A8F7F85C4}"/>
              </a:ext>
            </a:extLst>
          </p:cNvPr>
          <p:cNvGrpSpPr/>
          <p:nvPr/>
        </p:nvGrpSpPr>
        <p:grpSpPr>
          <a:xfrm>
            <a:off x="656069" y="2955516"/>
            <a:ext cx="1507636" cy="1459073"/>
            <a:chOff x="2316622" y="2482831"/>
            <a:chExt cx="1825887" cy="1701906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663B530B-7D10-DC72-E18C-A83E38E88049}"/>
                </a:ext>
              </a:extLst>
            </p:cNvPr>
            <p:cNvGrpSpPr/>
            <p:nvPr/>
          </p:nvGrpSpPr>
          <p:grpSpPr>
            <a:xfrm>
              <a:off x="2316622" y="2482831"/>
              <a:ext cx="1825887" cy="1687388"/>
              <a:chOff x="5575067" y="1062199"/>
              <a:chExt cx="5205099" cy="5143500"/>
            </a:xfrm>
          </p:grpSpPr>
          <p:pic>
            <p:nvPicPr>
              <p:cNvPr id="72" name="Picture 71" descr="Icon&#10;&#10;Description automatically generated with medium confidence">
                <a:extLst>
                  <a:ext uri="{FF2B5EF4-FFF2-40B4-BE49-F238E27FC236}">
                    <a16:creationId xmlns:a16="http://schemas.microsoft.com/office/drawing/2014/main" id="{A7835FDC-FA22-2057-B1E5-29B75391C7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75067" y="1062199"/>
                <a:ext cx="5205099" cy="5143500"/>
              </a:xfrm>
              <a:prstGeom prst="rect">
                <a:avLst/>
              </a:prstGeom>
            </p:spPr>
          </p:pic>
          <p:pic>
            <p:nvPicPr>
              <p:cNvPr id="68" name="Picture 67" descr="A picture containing person, wall, person, indoor&#10;&#10;Description automatically generated">
                <a:extLst>
                  <a:ext uri="{FF2B5EF4-FFF2-40B4-BE49-F238E27FC236}">
                    <a16:creationId xmlns:a16="http://schemas.microsoft.com/office/drawing/2014/main" id="{57311ABB-E814-8CBF-BBC0-0114E55E0C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712068" y="1269948"/>
                <a:ext cx="4847242" cy="4847242"/>
              </a:xfrm>
              <a:prstGeom prst="rect">
                <a:avLst/>
              </a:prstGeom>
            </p:spPr>
          </p:pic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63527F1F-84FF-E9C7-B0E2-613277CDCD8C}"/>
                </a:ext>
              </a:extLst>
            </p:cNvPr>
            <p:cNvGrpSpPr/>
            <p:nvPr/>
          </p:nvGrpSpPr>
          <p:grpSpPr>
            <a:xfrm>
              <a:off x="2589159" y="3956137"/>
              <a:ext cx="1251396" cy="228600"/>
              <a:chOff x="2482404" y="3346084"/>
              <a:chExt cx="1251396" cy="228600"/>
            </a:xfrm>
          </p:grpSpPr>
          <p:sp>
            <p:nvSpPr>
              <p:cNvPr id="76" name="Rounded Rectangle 75">
                <a:extLst>
                  <a:ext uri="{FF2B5EF4-FFF2-40B4-BE49-F238E27FC236}">
                    <a16:creationId xmlns:a16="http://schemas.microsoft.com/office/drawing/2014/main" id="{C85AD69D-917C-2C44-40D9-4D8814313A97}"/>
                  </a:ext>
                </a:extLst>
              </p:cNvPr>
              <p:cNvSpPr/>
              <p:nvPr/>
            </p:nvSpPr>
            <p:spPr>
              <a:xfrm>
                <a:off x="2482404" y="3346084"/>
                <a:ext cx="1251396" cy="2286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H"/>
              </a:p>
            </p:txBody>
          </p:sp>
          <p:pic>
            <p:nvPicPr>
              <p:cNvPr id="75" name="Picture 74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90FC787D-3888-6D9F-8E99-B79DCA9A1F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564067" y="3379950"/>
                <a:ext cx="1102476" cy="160867"/>
              </a:xfrm>
              <a:prstGeom prst="rect">
                <a:avLst/>
              </a:prstGeom>
            </p:spPr>
          </p:pic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122844F3-DD2E-BA3B-0F54-2430B91A7EA0}"/>
              </a:ext>
            </a:extLst>
          </p:cNvPr>
          <p:cNvGrpSpPr/>
          <p:nvPr/>
        </p:nvGrpSpPr>
        <p:grpSpPr>
          <a:xfrm>
            <a:off x="3858298" y="2966060"/>
            <a:ext cx="1507636" cy="1459073"/>
            <a:chOff x="2316622" y="2482831"/>
            <a:chExt cx="1825887" cy="1701906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D4E4E11D-1BBB-6DE7-8323-F89B237E6EF4}"/>
                </a:ext>
              </a:extLst>
            </p:cNvPr>
            <p:cNvGrpSpPr/>
            <p:nvPr/>
          </p:nvGrpSpPr>
          <p:grpSpPr>
            <a:xfrm>
              <a:off x="2316622" y="2482831"/>
              <a:ext cx="1825887" cy="1687388"/>
              <a:chOff x="5575067" y="1062199"/>
              <a:chExt cx="5205099" cy="5143500"/>
            </a:xfrm>
          </p:grpSpPr>
          <p:pic>
            <p:nvPicPr>
              <p:cNvPr id="84" name="Picture 83" descr="Icon&#10;&#10;Description automatically generated with medium confidence">
                <a:extLst>
                  <a:ext uri="{FF2B5EF4-FFF2-40B4-BE49-F238E27FC236}">
                    <a16:creationId xmlns:a16="http://schemas.microsoft.com/office/drawing/2014/main" id="{CBC670CC-675C-4875-E022-9BC31CB703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75067" y="1062199"/>
                <a:ext cx="5205099" cy="5143500"/>
              </a:xfrm>
              <a:prstGeom prst="rect">
                <a:avLst/>
              </a:prstGeom>
            </p:spPr>
          </p:pic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CC829D4C-CE50-C7FC-5333-32C0B256BE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rcRect/>
              <a:stretch/>
            </p:blipFill>
            <p:spPr>
              <a:xfrm>
                <a:off x="5782290" y="1269946"/>
                <a:ext cx="4706793" cy="4847243"/>
              </a:xfrm>
              <a:prstGeom prst="rect">
                <a:avLst/>
              </a:prstGeom>
            </p:spPr>
          </p:pic>
        </p:grpSp>
        <p:sp>
          <p:nvSpPr>
            <p:cNvPr id="82" name="Rounded Rectangle 81">
              <a:extLst>
                <a:ext uri="{FF2B5EF4-FFF2-40B4-BE49-F238E27FC236}">
                  <a16:creationId xmlns:a16="http://schemas.microsoft.com/office/drawing/2014/main" id="{B76B6FD7-E20F-4E83-D31E-EA9856AB3DEC}"/>
                </a:ext>
              </a:extLst>
            </p:cNvPr>
            <p:cNvSpPr/>
            <p:nvPr/>
          </p:nvSpPr>
          <p:spPr>
            <a:xfrm>
              <a:off x="2589160" y="3956137"/>
              <a:ext cx="1251396" cy="2286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CC1EFB08-57D0-292B-81A3-EE699F111C87}"/>
              </a:ext>
            </a:extLst>
          </p:cNvPr>
          <p:cNvSpPr txBox="1"/>
          <p:nvPr/>
        </p:nvSpPr>
        <p:spPr>
          <a:xfrm>
            <a:off x="4310116" y="4220458"/>
            <a:ext cx="603998" cy="2257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600" b="1" dirty="0">
                <a:solidFill>
                  <a:srgbClr val="172D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uling Lin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7EAA2D10-9E7A-AA5D-E53E-326416712015}"/>
              </a:ext>
            </a:extLst>
          </p:cNvPr>
          <p:cNvGrpSpPr/>
          <p:nvPr/>
        </p:nvGrpSpPr>
        <p:grpSpPr>
          <a:xfrm>
            <a:off x="5506657" y="2949669"/>
            <a:ext cx="1507636" cy="1459072"/>
            <a:chOff x="2316622" y="2482831"/>
            <a:chExt cx="1825887" cy="1701906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CAAD566F-84C4-851F-5A0F-D97329A1B5E6}"/>
                </a:ext>
              </a:extLst>
            </p:cNvPr>
            <p:cNvGrpSpPr/>
            <p:nvPr/>
          </p:nvGrpSpPr>
          <p:grpSpPr>
            <a:xfrm>
              <a:off x="2316622" y="2482831"/>
              <a:ext cx="1825887" cy="1687389"/>
              <a:chOff x="5575067" y="1062199"/>
              <a:chExt cx="5205099" cy="5143500"/>
            </a:xfrm>
          </p:grpSpPr>
          <p:pic>
            <p:nvPicPr>
              <p:cNvPr id="92" name="Picture 91" descr="Icon&#10;&#10;Description automatically generated with medium confidence">
                <a:extLst>
                  <a:ext uri="{FF2B5EF4-FFF2-40B4-BE49-F238E27FC236}">
                    <a16:creationId xmlns:a16="http://schemas.microsoft.com/office/drawing/2014/main" id="{1AF82BEB-D106-CD50-84CA-A2EF7C4BA1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575067" y="1062199"/>
                <a:ext cx="5205099" cy="5143500"/>
              </a:xfrm>
              <a:prstGeom prst="rect">
                <a:avLst/>
              </a:prstGeom>
            </p:spPr>
          </p:pic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0656B89D-5F31-672E-8EF7-3ED3C53AE9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/>
              <a:stretch/>
            </p:blipFill>
            <p:spPr>
              <a:xfrm>
                <a:off x="5825706" y="1927961"/>
                <a:ext cx="4706793" cy="4234104"/>
              </a:xfrm>
              <a:prstGeom prst="rect">
                <a:avLst/>
              </a:prstGeom>
            </p:spPr>
          </p:pic>
        </p:grpSp>
        <p:sp>
          <p:nvSpPr>
            <p:cNvPr id="91" name="Rounded Rectangle 90">
              <a:extLst>
                <a:ext uri="{FF2B5EF4-FFF2-40B4-BE49-F238E27FC236}">
                  <a16:creationId xmlns:a16="http://schemas.microsoft.com/office/drawing/2014/main" id="{E6AFBDDF-42E7-9CC4-3211-E891848EECCF}"/>
                </a:ext>
              </a:extLst>
            </p:cNvPr>
            <p:cNvSpPr/>
            <p:nvPr/>
          </p:nvSpPr>
          <p:spPr>
            <a:xfrm>
              <a:off x="2589160" y="3956137"/>
              <a:ext cx="1251396" cy="2286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83B642EB-679F-19CA-7AE3-A20C70D405FB}"/>
              </a:ext>
            </a:extLst>
          </p:cNvPr>
          <p:cNvSpPr txBox="1"/>
          <p:nvPr/>
        </p:nvSpPr>
        <p:spPr>
          <a:xfrm>
            <a:off x="5831732" y="4204922"/>
            <a:ext cx="933238" cy="2257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sz="600" b="1" dirty="0">
                <a:solidFill>
                  <a:srgbClr val="172D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ary Anderso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8BBCBBC-68AB-E982-4043-991244DD4E4C}"/>
              </a:ext>
            </a:extLst>
          </p:cNvPr>
          <p:cNvSpPr txBox="1"/>
          <p:nvPr/>
        </p:nvSpPr>
        <p:spPr>
          <a:xfrm>
            <a:off x="7480091" y="3434738"/>
            <a:ext cx="752146" cy="408623"/>
          </a:xfrm>
          <a:prstGeom prst="roundRect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CH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c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A6EA53A2-A330-63E5-2966-85983A57C769}"/>
              </a:ext>
            </a:extLst>
          </p:cNvPr>
          <p:cNvGrpSpPr/>
          <p:nvPr/>
        </p:nvGrpSpPr>
        <p:grpSpPr>
          <a:xfrm>
            <a:off x="693787" y="2415708"/>
            <a:ext cx="4803751" cy="540831"/>
            <a:chOff x="693787" y="2552343"/>
            <a:chExt cx="4803751" cy="54083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726F1DF-03C2-3839-4C3E-B2E498F59AF9}"/>
                </a:ext>
              </a:extLst>
            </p:cNvPr>
            <p:cNvSpPr txBox="1"/>
            <p:nvPr/>
          </p:nvSpPr>
          <p:spPr>
            <a:xfrm>
              <a:off x="693787" y="2552343"/>
              <a:ext cx="146169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H" b="1" dirty="0">
                  <a:solidFill>
                    <a:srgbClr val="93AAB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ta wrangling instructor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E8031B98-1300-6D24-53EF-C637CDA43EDF}"/>
                </a:ext>
              </a:extLst>
            </p:cNvPr>
            <p:cNvSpPr txBox="1"/>
            <p:nvPr/>
          </p:nvSpPr>
          <p:spPr>
            <a:xfrm>
              <a:off x="2194323" y="2569954"/>
              <a:ext cx="16530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H" b="1" dirty="0">
                  <a:solidFill>
                    <a:srgbClr val="93AAB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ta visualization instructor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CF4F85E1-683D-A19A-7B0E-BB98F7DDECFE}"/>
                </a:ext>
              </a:extLst>
            </p:cNvPr>
            <p:cNvSpPr txBox="1"/>
            <p:nvPr/>
          </p:nvSpPr>
          <p:spPr>
            <a:xfrm>
              <a:off x="3844528" y="2569954"/>
              <a:ext cx="16530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H" b="1" dirty="0">
                  <a:solidFill>
                    <a:srgbClr val="93AAB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 foundations instructor</a:t>
              </a:r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2C987168-6478-3232-F516-56F788678C2A}"/>
              </a:ext>
            </a:extLst>
          </p:cNvPr>
          <p:cNvSpPr txBox="1"/>
          <p:nvPr/>
        </p:nvSpPr>
        <p:spPr>
          <a:xfrm>
            <a:off x="1627924" y="4483723"/>
            <a:ext cx="58881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H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ng but highly qualified team; a combined ~ 40 years of experience with R</a:t>
            </a:r>
          </a:p>
        </p:txBody>
      </p:sp>
    </p:spTree>
    <p:extLst>
      <p:ext uri="{BB962C8B-B14F-4D97-AF65-F5344CB8AC3E}">
        <p14:creationId xmlns:p14="http://schemas.microsoft.com/office/powerpoint/2010/main" val="2227333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4629794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Build with us (how is all this free?)</a:t>
            </a:r>
          </a:p>
        </p:txBody>
      </p:sp>
      <p:sp>
        <p:nvSpPr>
          <p:cNvPr id="2" name="Google Shape;43;p8">
            <a:extLst>
              <a:ext uri="{FF2B5EF4-FFF2-40B4-BE49-F238E27FC236}">
                <a16:creationId xmlns:a16="http://schemas.microsoft.com/office/drawing/2014/main" id="{9FDEB8FD-BCC2-31EA-6E1E-05F561178F6E}"/>
              </a:ext>
            </a:extLst>
          </p:cNvPr>
          <p:cNvSpPr txBox="1">
            <a:spLocks/>
          </p:cNvSpPr>
          <p:nvPr/>
        </p:nvSpPr>
        <p:spPr>
          <a:xfrm>
            <a:off x="254100" y="593822"/>
            <a:ext cx="8635800" cy="4111352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Information-gathering beta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Feedback, suggestions on content, structure, platform (expect bugs)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Estimate instructor hours needed to support a cohort (inform funding needs &amp; pricing)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Seminal alumni to support future students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GRAPH courses evangelists 📢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GRAPH courses models 📷 (we’ll send release form)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243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Box 101">
            <a:extLst>
              <a:ext uri="{FF2B5EF4-FFF2-40B4-BE49-F238E27FC236}">
                <a16:creationId xmlns:a16="http://schemas.microsoft.com/office/drawing/2014/main" id="{826E6AE7-2038-7C4A-BDD1-BD0E96CD32B9}"/>
              </a:ext>
            </a:extLst>
          </p:cNvPr>
          <p:cNvSpPr txBox="1"/>
          <p:nvPr/>
        </p:nvSpPr>
        <p:spPr>
          <a:xfrm>
            <a:off x="266609" y="96736"/>
            <a:ext cx="2630848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Tenorite" pitchFamily="2" charset="0"/>
              </a:rPr>
              <a:t>In the height of crisi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BAF51F7-DE69-4D48-B0AB-F51D7E20F2F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cases_anim" descr="cases_anim">
            <a:hlinkClick r:id="" action="ppaction://media"/>
            <a:extLst>
              <a:ext uri="{FF2B5EF4-FFF2-40B4-BE49-F238E27FC236}">
                <a16:creationId xmlns:a16="http://schemas.microsoft.com/office/drawing/2014/main" id="{3C9C386A-8F40-5612-1472-E45AF4EA092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38725" y="800003"/>
            <a:ext cx="6948078" cy="39082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C64664D-3D05-DCB7-920A-2E208F5E196D}"/>
              </a:ext>
            </a:extLst>
          </p:cNvPr>
          <p:cNvSpPr txBox="1"/>
          <p:nvPr/>
        </p:nvSpPr>
        <p:spPr>
          <a:xfrm>
            <a:off x="1827498" y="4587443"/>
            <a:ext cx="5489003" cy="408623"/>
          </a:xfrm>
          <a:prstGeom prst="round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CH" sz="180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de note: We made this animated GRAPH made with R</a:t>
            </a:r>
          </a:p>
        </p:txBody>
      </p:sp>
    </p:spTree>
    <p:extLst>
      <p:ext uri="{BB962C8B-B14F-4D97-AF65-F5344CB8AC3E}">
        <p14:creationId xmlns:p14="http://schemas.microsoft.com/office/powerpoint/2010/main" val="4120671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3082496" y="1874388"/>
            <a:ext cx="3129117" cy="1187474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lang="en" sz="4400" b="1" dirty="0">
                <a:solidFill>
                  <a:schemeClr val="bg1">
                    <a:lumMod val="65000"/>
                  </a:schemeClr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42507257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164256" y="927994"/>
            <a:ext cx="8815488" cy="1833805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ctr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lang="en" sz="3600" b="1" dirty="0"/>
              <a:t>Sign in/up to GRAPH Courses and post a message in the welcome group (10 mins)</a:t>
            </a:r>
            <a:endParaRPr lang="en" sz="3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" name="Picture 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2DBC634-4725-0B52-9763-12B2ED0153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942" y="2896366"/>
            <a:ext cx="3027873" cy="202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6019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427541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GRAPH Courses website</a:t>
            </a:r>
          </a:p>
        </p:txBody>
      </p:sp>
      <p:sp>
        <p:nvSpPr>
          <p:cNvPr id="2" name="Google Shape;43;p8">
            <a:extLst>
              <a:ext uri="{FF2B5EF4-FFF2-40B4-BE49-F238E27FC236}">
                <a16:creationId xmlns:a16="http://schemas.microsoft.com/office/drawing/2014/main" id="{9FDEB8FD-BCC2-31EA-6E1E-05F561178F6E}"/>
              </a:ext>
            </a:extLst>
          </p:cNvPr>
          <p:cNvSpPr txBox="1">
            <a:spLocks/>
          </p:cNvSpPr>
          <p:nvPr/>
        </p:nvSpPr>
        <p:spPr>
          <a:xfrm>
            <a:off x="254100" y="593822"/>
            <a:ext cx="8635800" cy="2326248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You don’t need to </a:t>
            </a:r>
            <a:r>
              <a:rPr lang="en-GB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roll</a:t>
            </a: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 in any course for now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Make a post on the welcome group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Go to the members directory and send a friend request to someone you’ve met today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Later on, we will create a private group just for this cohort.</a:t>
            </a:r>
          </a:p>
        </p:txBody>
      </p:sp>
    </p:spTree>
    <p:extLst>
      <p:ext uri="{BB962C8B-B14F-4D97-AF65-F5344CB8AC3E}">
        <p14:creationId xmlns:p14="http://schemas.microsoft.com/office/powerpoint/2010/main" val="2044928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2602921" y="1438909"/>
            <a:ext cx="3938155" cy="1002808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lang="en-US" sz="3600" b="1" dirty="0"/>
              <a:t>Availability doodle</a:t>
            </a:r>
            <a:endParaRPr lang="en" sz="3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EC7D29-99BF-F344-6B4C-C156D316C023}"/>
              </a:ext>
            </a:extLst>
          </p:cNvPr>
          <p:cNvSpPr txBox="1"/>
          <p:nvPr/>
        </p:nvSpPr>
        <p:spPr>
          <a:xfrm>
            <a:off x="1866772" y="2953488"/>
            <a:ext cx="54104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3600" b="0" i="0" u="none" strike="noStrike" dirty="0">
                <a:effectLst/>
                <a:latin typeface="Whitney"/>
                <a:hlinkClick r:id="rId3" tooltip="http://whenisgood.net/RStudyHall"/>
              </a:rPr>
              <a:t>whenisgood.net/RStudyHall</a:t>
            </a:r>
            <a:endParaRPr lang="en-CH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8425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A5077C6-7E4F-2F4E-BD92-B687C1BB85E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FA7D6A8-F365-734B-A552-638838DBD786}"/>
              </a:ext>
            </a:extLst>
          </p:cNvPr>
          <p:cNvSpPr txBox="1"/>
          <p:nvPr/>
        </p:nvSpPr>
        <p:spPr>
          <a:xfrm>
            <a:off x="266608" y="96736"/>
            <a:ext cx="3406702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Avenir Next" panose="020B0503020202020204" pitchFamily="34" charset="0"/>
              </a:rPr>
              <a:t>Closing notes/reminders</a:t>
            </a:r>
          </a:p>
        </p:txBody>
      </p:sp>
      <p:sp>
        <p:nvSpPr>
          <p:cNvPr id="2" name="Google Shape;43;p8">
            <a:extLst>
              <a:ext uri="{FF2B5EF4-FFF2-40B4-BE49-F238E27FC236}">
                <a16:creationId xmlns:a16="http://schemas.microsoft.com/office/drawing/2014/main" id="{9FDEB8FD-BCC2-31EA-6E1E-05F561178F6E}"/>
              </a:ext>
            </a:extLst>
          </p:cNvPr>
          <p:cNvSpPr txBox="1">
            <a:spLocks/>
          </p:cNvSpPr>
          <p:nvPr/>
        </p:nvSpPr>
        <p:spPr>
          <a:xfrm>
            <a:off x="254100" y="593822"/>
            <a:ext cx="8635800" cy="2695579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We will send you this slide deck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From next week, the course will open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You will need to complete a few lessons to be fully admitted to the cohort. You will receive details about this later on.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</a:rPr>
              <a:t>Any questions in the meantime, feel free to email </a:t>
            </a:r>
            <a:r>
              <a:rPr lang="en-GB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trainingteam@thegraphnetwork.org</a:t>
            </a:r>
            <a:endParaRPr lang="en-GB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642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body" idx="1"/>
          </p:nvPr>
        </p:nvSpPr>
        <p:spPr>
          <a:xfrm>
            <a:off x="3012160" y="1442169"/>
            <a:ext cx="3938155" cy="1002808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None/>
            </a:pPr>
            <a:r>
              <a:rPr lang="en-US" sz="3600" b="1" dirty="0"/>
              <a:t>Closing Remarks</a:t>
            </a:r>
            <a:endParaRPr lang="en" sz="3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Google Shape;49;p9">
            <a:extLst>
              <a:ext uri="{FF2B5EF4-FFF2-40B4-BE49-F238E27FC236}">
                <a16:creationId xmlns:a16="http://schemas.microsoft.com/office/drawing/2014/main" id="{FD2C034F-CE3F-9B98-E0B2-68DC998D5D38}"/>
              </a:ext>
            </a:extLst>
          </p:cNvPr>
          <p:cNvSpPr txBox="1">
            <a:spLocks/>
          </p:cNvSpPr>
          <p:nvPr/>
        </p:nvSpPr>
        <p:spPr>
          <a:xfrm>
            <a:off x="1765023" y="2138496"/>
            <a:ext cx="5906813" cy="7258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202934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202934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202934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buFont typeface="Arial"/>
              <a:buNone/>
            </a:pPr>
            <a:r>
              <a:rPr lang="en" sz="2400" b="1" dirty="0">
                <a:solidFill>
                  <a:schemeClr val="bg1">
                    <a:lumMod val="65000"/>
                  </a:schemeClr>
                </a:solidFill>
              </a:rPr>
              <a:t>Olivia Keiser, Director of the GRAPH Network</a:t>
            </a:r>
          </a:p>
        </p:txBody>
      </p:sp>
    </p:spTree>
    <p:extLst>
      <p:ext uri="{BB962C8B-B14F-4D97-AF65-F5344CB8AC3E}">
        <p14:creationId xmlns:p14="http://schemas.microsoft.com/office/powerpoint/2010/main" val="870457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5" name="Group 604">
            <a:extLst>
              <a:ext uri="{FF2B5EF4-FFF2-40B4-BE49-F238E27FC236}">
                <a16:creationId xmlns:a16="http://schemas.microsoft.com/office/drawing/2014/main" id="{47FC727E-AD55-7DFB-570C-746CC79F7BD1}"/>
              </a:ext>
            </a:extLst>
          </p:cNvPr>
          <p:cNvGrpSpPr/>
          <p:nvPr/>
        </p:nvGrpSpPr>
        <p:grpSpPr>
          <a:xfrm>
            <a:off x="470994" y="631445"/>
            <a:ext cx="7929453" cy="4282144"/>
            <a:chOff x="-1587" y="1588"/>
            <a:chExt cx="7500937" cy="4260850"/>
          </a:xfrm>
          <a:solidFill>
            <a:schemeClr val="bg1">
              <a:lumMod val="85000"/>
            </a:schemeClr>
          </a:solidFill>
        </p:grpSpPr>
        <p:sp>
          <p:nvSpPr>
            <p:cNvPr id="607" name="Freeform 4">
              <a:extLst>
                <a:ext uri="{FF2B5EF4-FFF2-40B4-BE49-F238E27FC236}">
                  <a16:creationId xmlns:a16="http://schemas.microsoft.com/office/drawing/2014/main" id="{888BD890-3182-A5D6-4336-2A079D6D8CBD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839913" y="4198938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08" name="Freeform 5">
              <a:extLst>
                <a:ext uri="{FF2B5EF4-FFF2-40B4-BE49-F238E27FC236}">
                  <a16:creationId xmlns:a16="http://schemas.microsoft.com/office/drawing/2014/main" id="{20A103CC-2A45-A093-93BD-5ABCC77A89D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-1587" y="300038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09" name="Freeform 6">
              <a:extLst>
                <a:ext uri="{FF2B5EF4-FFF2-40B4-BE49-F238E27FC236}">
                  <a16:creationId xmlns:a16="http://schemas.microsoft.com/office/drawing/2014/main" id="{9F1620B8-A8C2-AAC8-4AA0-615F409F63D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58788" y="915988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0" name="Freeform 7">
              <a:extLst>
                <a:ext uri="{FF2B5EF4-FFF2-40B4-BE49-F238E27FC236}">
                  <a16:creationId xmlns:a16="http://schemas.microsoft.com/office/drawing/2014/main" id="{49C87FDC-28BA-AB31-369F-6DF794A96F00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92225" y="2466976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1" name="Freeform 8">
              <a:extLst>
                <a:ext uri="{FF2B5EF4-FFF2-40B4-BE49-F238E27FC236}">
                  <a16:creationId xmlns:a16="http://schemas.microsoft.com/office/drawing/2014/main" id="{E3E3EBEE-677B-4B73-13B3-BE510329B217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592263" y="3030538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2" name="Freeform 9">
              <a:extLst>
                <a:ext uri="{FF2B5EF4-FFF2-40B4-BE49-F238E27FC236}">
                  <a16:creationId xmlns:a16="http://schemas.microsoft.com/office/drawing/2014/main" id="{3B8C7167-E4E7-3682-C5F3-85EE3C03B5D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497013" y="2312988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3" name="Freeform 10">
              <a:extLst>
                <a:ext uri="{FF2B5EF4-FFF2-40B4-BE49-F238E27FC236}">
                  <a16:creationId xmlns:a16="http://schemas.microsoft.com/office/drawing/2014/main" id="{0EA5B89B-578E-B14F-13D8-955B3D0B9C6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609975" y="1258888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4" name="Freeform 11">
              <a:extLst>
                <a:ext uri="{FF2B5EF4-FFF2-40B4-BE49-F238E27FC236}">
                  <a16:creationId xmlns:a16="http://schemas.microsoft.com/office/drawing/2014/main" id="{6CD0FD3C-34DE-16F2-8795-81600AA19EB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108325" y="1133476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5" name="Freeform 12">
              <a:extLst>
                <a:ext uri="{FF2B5EF4-FFF2-40B4-BE49-F238E27FC236}">
                  <a16:creationId xmlns:a16="http://schemas.microsoft.com/office/drawing/2014/main" id="{6F77DC7D-49F1-67CC-272D-3C3314DF1FAE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189288" y="619126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6" name="Freeform 13">
              <a:extLst>
                <a:ext uri="{FF2B5EF4-FFF2-40B4-BE49-F238E27FC236}">
                  <a16:creationId xmlns:a16="http://schemas.microsoft.com/office/drawing/2014/main" id="{A837D22F-79AD-B9F5-3B4A-45AD749432F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548063" y="922338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7" name="Freeform 14">
              <a:extLst>
                <a:ext uri="{FF2B5EF4-FFF2-40B4-BE49-F238E27FC236}">
                  <a16:creationId xmlns:a16="http://schemas.microsoft.com/office/drawing/2014/main" id="{6D5E0707-4356-B92D-6D67-024FDD7B30A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040313" y="771526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8" name="Freeform 15">
              <a:extLst>
                <a:ext uri="{FF2B5EF4-FFF2-40B4-BE49-F238E27FC236}">
                  <a16:creationId xmlns:a16="http://schemas.microsoft.com/office/drawing/2014/main" id="{4FEF072C-A217-83D6-E7AD-D3CC3054343D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732213" y="312738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19" name="Freeform 16">
              <a:extLst>
                <a:ext uri="{FF2B5EF4-FFF2-40B4-BE49-F238E27FC236}">
                  <a16:creationId xmlns:a16="http://schemas.microsoft.com/office/drawing/2014/main" id="{315929D9-935F-0DE8-9998-5D5AA70E7D58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468688" y="730251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0" name="Freeform 17">
              <a:extLst>
                <a:ext uri="{FF2B5EF4-FFF2-40B4-BE49-F238E27FC236}">
                  <a16:creationId xmlns:a16="http://schemas.microsoft.com/office/drawing/2014/main" id="{1D76608E-03A6-0E45-74A8-E9CABEC94FBA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494088" y="987426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1" name="Freeform 18">
              <a:extLst>
                <a:ext uri="{FF2B5EF4-FFF2-40B4-BE49-F238E27FC236}">
                  <a16:creationId xmlns:a16="http://schemas.microsoft.com/office/drawing/2014/main" id="{50A4BFBE-EDA0-A643-F65F-573890F31A2F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511550" y="1155701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22" name="Group 19">
              <a:extLst>
                <a:ext uri="{FF2B5EF4-FFF2-40B4-BE49-F238E27FC236}">
                  <a16:creationId xmlns:a16="http://schemas.microsoft.com/office/drawing/2014/main" id="{F971CCD0-8F86-F691-0694-2E44983464DE}"/>
                </a:ext>
              </a:extLst>
            </p:cNvPr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30888" y="2216151"/>
              <a:ext cx="473075" cy="212725"/>
              <a:chOff x="4488" y="2394"/>
              <a:chExt cx="358" cy="124"/>
            </a:xfrm>
            <a:grpFill/>
          </p:grpSpPr>
          <p:sp>
            <p:nvSpPr>
              <p:cNvPr id="1152" name="Freeform 20">
                <a:extLst>
                  <a:ext uri="{FF2B5EF4-FFF2-40B4-BE49-F238E27FC236}">
                    <a16:creationId xmlns:a16="http://schemas.microsoft.com/office/drawing/2014/main" id="{F3529B3D-AC72-9FE0-519A-635A11D08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53" name="Freeform 21">
                <a:extLst>
                  <a:ext uri="{FF2B5EF4-FFF2-40B4-BE49-F238E27FC236}">
                    <a16:creationId xmlns:a16="http://schemas.microsoft.com/office/drawing/2014/main" id="{3BC639C0-70DE-417C-81EA-BF9A6A0B7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23" name="Freeform 22">
              <a:extLst>
                <a:ext uri="{FF2B5EF4-FFF2-40B4-BE49-F238E27FC236}">
                  <a16:creationId xmlns:a16="http://schemas.microsoft.com/office/drawing/2014/main" id="{4F320C3D-4FFE-54AD-14BA-2D8BD96F0E9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852863" y="92076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4" name="Freeform 23">
              <a:extLst>
                <a:ext uri="{FF2B5EF4-FFF2-40B4-BE49-F238E27FC236}">
                  <a16:creationId xmlns:a16="http://schemas.microsoft.com/office/drawing/2014/main" id="{1E83CDFB-5920-0C95-5DB5-96D92D818E71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116263" y="1079501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5" name="Freeform 24">
              <a:extLst>
                <a:ext uri="{FF2B5EF4-FFF2-40B4-BE49-F238E27FC236}">
                  <a16:creationId xmlns:a16="http://schemas.microsoft.com/office/drawing/2014/main" id="{D7632BFB-78FE-ADF1-A534-3DA85EB1C5BE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748338" y="1817688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6" name="Freeform 25">
              <a:extLst>
                <a:ext uri="{FF2B5EF4-FFF2-40B4-BE49-F238E27FC236}">
                  <a16:creationId xmlns:a16="http://schemas.microsoft.com/office/drawing/2014/main" id="{DCCA26F9-BF36-7418-20E9-83112E876F87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857375" y="4205288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7" name="Line 26" descr="Horizontal dunkel">
              <a:extLst>
                <a:ext uri="{FF2B5EF4-FFF2-40B4-BE49-F238E27FC236}">
                  <a16:creationId xmlns:a16="http://schemas.microsoft.com/office/drawing/2014/main" id="{F8BD302E-4042-B59E-7338-A1385EF87562}"/>
                </a:ext>
              </a:extLst>
            </p:cNvPr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auto">
            <a:xfrm>
              <a:off x="319088" y="1127126"/>
              <a:ext cx="3175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8" name="Freeform 27">
              <a:extLst>
                <a:ext uri="{FF2B5EF4-FFF2-40B4-BE49-F238E27FC236}">
                  <a16:creationId xmlns:a16="http://schemas.microsoft.com/office/drawing/2014/main" id="{14D80445-00A1-6608-078C-BBB3E2A374A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22263" y="1123951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9" name="Freeform 28">
              <a:extLst>
                <a:ext uri="{FF2B5EF4-FFF2-40B4-BE49-F238E27FC236}">
                  <a16:creationId xmlns:a16="http://schemas.microsoft.com/office/drawing/2014/main" id="{51B307C3-BFDD-988E-0642-340604463DF0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98450" y="1177926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0" name="Freeform 29">
              <a:extLst>
                <a:ext uri="{FF2B5EF4-FFF2-40B4-BE49-F238E27FC236}">
                  <a16:creationId xmlns:a16="http://schemas.microsoft.com/office/drawing/2014/main" id="{54B77261-F801-C1DB-9010-90BCE16FC6CB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624013" y="1173163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1" name="Freeform 30">
              <a:extLst>
                <a:ext uri="{FF2B5EF4-FFF2-40B4-BE49-F238E27FC236}">
                  <a16:creationId xmlns:a16="http://schemas.microsoft.com/office/drawing/2014/main" id="{BB89C70C-4A4F-FB0B-5013-C3DBFBFFEEA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362450" y="730251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2" name="Freeform 31">
              <a:extLst>
                <a:ext uri="{FF2B5EF4-FFF2-40B4-BE49-F238E27FC236}">
                  <a16:creationId xmlns:a16="http://schemas.microsoft.com/office/drawing/2014/main" id="{ABCA16E4-A2D8-FA7B-6A18-DCB37D79A331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592638" y="1033463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3" name="Freeform 32">
              <a:extLst>
                <a:ext uri="{FF2B5EF4-FFF2-40B4-BE49-F238E27FC236}">
                  <a16:creationId xmlns:a16="http://schemas.microsoft.com/office/drawing/2014/main" id="{EA065990-2C13-4766-7B82-7BA3504EC5CF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400425" y="2036763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4" name="Freeform 33">
              <a:extLst>
                <a:ext uri="{FF2B5EF4-FFF2-40B4-BE49-F238E27FC236}">
                  <a16:creationId xmlns:a16="http://schemas.microsoft.com/office/drawing/2014/main" id="{8FE41C6C-4C86-E2D8-6055-15890C8D3D4A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243388" y="1901826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5" name="Freeform 34">
              <a:extLst>
                <a:ext uri="{FF2B5EF4-FFF2-40B4-BE49-F238E27FC236}">
                  <a16:creationId xmlns:a16="http://schemas.microsoft.com/office/drawing/2014/main" id="{E5F443C9-F316-75CA-D857-0C78D25DEBD7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705225" y="906463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6" name="Freeform 35">
              <a:extLst>
                <a:ext uri="{FF2B5EF4-FFF2-40B4-BE49-F238E27FC236}">
                  <a16:creationId xmlns:a16="http://schemas.microsoft.com/office/drawing/2014/main" id="{DEF3CDF4-4A5C-9CD9-0237-55C7E9D60855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568825" y="1627188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7" name="Freeform 36">
              <a:extLst>
                <a:ext uri="{FF2B5EF4-FFF2-40B4-BE49-F238E27FC236}">
                  <a16:creationId xmlns:a16="http://schemas.microsoft.com/office/drawing/2014/main" id="{0FBA9D43-8A54-D12F-5669-C28C3E268C35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687888" y="1631951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8" name="Freeform 37">
              <a:extLst>
                <a:ext uri="{FF2B5EF4-FFF2-40B4-BE49-F238E27FC236}">
                  <a16:creationId xmlns:a16="http://schemas.microsoft.com/office/drawing/2014/main" id="{24AF0D97-3AC2-10DA-BD8E-743A7D662365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175375" y="2292351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39" name="Group 38">
              <a:extLst>
                <a:ext uri="{FF2B5EF4-FFF2-40B4-BE49-F238E27FC236}">
                  <a16:creationId xmlns:a16="http://schemas.microsoft.com/office/drawing/2014/main" id="{7D393316-C1CC-53FF-A9E3-740C2CA99F4E}"/>
                </a:ext>
              </a:extLst>
            </p:cNvPr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2027238" y="4100513"/>
              <a:ext cx="65087" cy="55563"/>
              <a:chOff x="1654" y="3671"/>
              <a:chExt cx="49" cy="17"/>
            </a:xfrm>
            <a:grpFill/>
          </p:grpSpPr>
          <p:sp>
            <p:nvSpPr>
              <p:cNvPr id="1150" name="Freeform 39">
                <a:extLst>
                  <a:ext uri="{FF2B5EF4-FFF2-40B4-BE49-F238E27FC236}">
                    <a16:creationId xmlns:a16="http://schemas.microsoft.com/office/drawing/2014/main" id="{9C4A68D0-DD1B-BD65-8500-D46F36088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51" name="Freeform 40">
                <a:extLst>
                  <a:ext uri="{FF2B5EF4-FFF2-40B4-BE49-F238E27FC236}">
                    <a16:creationId xmlns:a16="http://schemas.microsoft.com/office/drawing/2014/main" id="{1EFCE134-DC64-EFAF-A522-4F3647867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40" name="Freeform 41">
              <a:extLst>
                <a:ext uri="{FF2B5EF4-FFF2-40B4-BE49-F238E27FC236}">
                  <a16:creationId xmlns:a16="http://schemas.microsoft.com/office/drawing/2014/main" id="{169456E5-DCC7-AE0B-D457-8F0DA395D748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674813" y="1895476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1" name="Freeform 42">
              <a:extLst>
                <a:ext uri="{FF2B5EF4-FFF2-40B4-BE49-F238E27FC236}">
                  <a16:creationId xmlns:a16="http://schemas.microsoft.com/office/drawing/2014/main" id="{7B19754F-F005-3F05-7B60-87747C540A39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730375" y="1901826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2" name="Freeform 43">
              <a:extLst>
                <a:ext uri="{FF2B5EF4-FFF2-40B4-BE49-F238E27FC236}">
                  <a16:creationId xmlns:a16="http://schemas.microsoft.com/office/drawing/2014/main" id="{B53777C6-ACA3-EC42-E311-4B66F708E1F1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743075" y="1903413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3" name="Freeform 44">
              <a:extLst>
                <a:ext uri="{FF2B5EF4-FFF2-40B4-BE49-F238E27FC236}">
                  <a16:creationId xmlns:a16="http://schemas.microsoft.com/office/drawing/2014/main" id="{76ECC25C-ED96-5460-1BFD-453B2DAC4AFD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757363" y="1893888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4" name="Freeform 45">
              <a:extLst>
                <a:ext uri="{FF2B5EF4-FFF2-40B4-BE49-F238E27FC236}">
                  <a16:creationId xmlns:a16="http://schemas.microsoft.com/office/drawing/2014/main" id="{D6739167-BEBA-88EF-69B3-B6AC275517AA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736725" y="1885951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5" name="Freeform 46">
              <a:extLst>
                <a:ext uri="{FF2B5EF4-FFF2-40B4-BE49-F238E27FC236}">
                  <a16:creationId xmlns:a16="http://schemas.microsoft.com/office/drawing/2014/main" id="{404676C2-6DFC-9A30-0E13-032DE3C09E42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785938" y="1914526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6" name="Line 47">
              <a:extLst>
                <a:ext uri="{FF2B5EF4-FFF2-40B4-BE49-F238E27FC236}">
                  <a16:creationId xmlns:a16="http://schemas.microsoft.com/office/drawing/2014/main" id="{359E7AE5-5AD0-36D9-943F-D1E453912CCD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 flipV="1">
              <a:off x="1793875" y="1911351"/>
              <a:ext cx="6350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7" name="Line 48">
              <a:extLst>
                <a:ext uri="{FF2B5EF4-FFF2-40B4-BE49-F238E27FC236}">
                  <a16:creationId xmlns:a16="http://schemas.microsoft.com/office/drawing/2014/main" id="{240F694A-6CFA-0B27-4438-BFB843CA3BED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1793875" y="1936751"/>
              <a:ext cx="6350" cy="1111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8" name="Freeform 49">
              <a:extLst>
                <a:ext uri="{FF2B5EF4-FFF2-40B4-BE49-F238E27FC236}">
                  <a16:creationId xmlns:a16="http://schemas.microsoft.com/office/drawing/2014/main" id="{0C703BFD-C22E-B9C4-6342-8B52AB3FE905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793875" y="1931988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9" name="Freeform 50">
              <a:extLst>
                <a:ext uri="{FF2B5EF4-FFF2-40B4-BE49-F238E27FC236}">
                  <a16:creationId xmlns:a16="http://schemas.microsoft.com/office/drawing/2014/main" id="{04CC17B0-53F2-D3FA-5ECC-A6E5256CA24C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800225" y="1960563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0" name="Freeform 51">
              <a:extLst>
                <a:ext uri="{FF2B5EF4-FFF2-40B4-BE49-F238E27FC236}">
                  <a16:creationId xmlns:a16="http://schemas.microsoft.com/office/drawing/2014/main" id="{43AC4BA6-4B08-FEBE-3945-5A31A6BF02FD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806575" y="2008188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1" name="Freeform 52">
              <a:extLst>
                <a:ext uri="{FF2B5EF4-FFF2-40B4-BE49-F238E27FC236}">
                  <a16:creationId xmlns:a16="http://schemas.microsoft.com/office/drawing/2014/main" id="{E17A4ACC-42E7-1AF6-C872-9E39161739CF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816100" y="2033588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2" name="Freeform 53">
              <a:extLst>
                <a:ext uri="{FF2B5EF4-FFF2-40B4-BE49-F238E27FC236}">
                  <a16:creationId xmlns:a16="http://schemas.microsoft.com/office/drawing/2014/main" id="{EF3CD2B3-ABA4-5EB5-9FDE-694FDD53D8DF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838325" y="2063751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3" name="Freeform 54">
              <a:extLst>
                <a:ext uri="{FF2B5EF4-FFF2-40B4-BE49-F238E27FC236}">
                  <a16:creationId xmlns:a16="http://schemas.microsoft.com/office/drawing/2014/main" id="{D24E1166-D6C1-387B-5B1C-A3BACCF38115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1800225" y="2076451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4" name="Freeform 55">
              <a:extLst>
                <a:ext uri="{FF2B5EF4-FFF2-40B4-BE49-F238E27FC236}">
                  <a16:creationId xmlns:a16="http://schemas.microsoft.com/office/drawing/2014/main" id="{BF1BB3B6-04C2-A418-867F-C7E657F87268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785938" y="2141538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5" name="Freeform 56">
              <a:extLst>
                <a:ext uri="{FF2B5EF4-FFF2-40B4-BE49-F238E27FC236}">
                  <a16:creationId xmlns:a16="http://schemas.microsoft.com/office/drawing/2014/main" id="{474EEF71-7B44-5AA1-1FAA-1EFAEBAB3B1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804988" y="2117726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6" name="Freeform 57">
              <a:extLst>
                <a:ext uri="{FF2B5EF4-FFF2-40B4-BE49-F238E27FC236}">
                  <a16:creationId xmlns:a16="http://schemas.microsoft.com/office/drawing/2014/main" id="{6E747820-7F92-337D-F5A5-57F9D8EC6CC8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287463" y="1789113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57" name="Group 58">
              <a:extLst>
                <a:ext uri="{FF2B5EF4-FFF2-40B4-BE49-F238E27FC236}">
                  <a16:creationId xmlns:a16="http://schemas.microsoft.com/office/drawing/2014/main" id="{E0567EC7-4B58-AD78-C321-AA41B55E26C8}"/>
                </a:ext>
              </a:extLst>
            </p:cNvPr>
            <p:cNvGrpSpPr>
              <a:grpSpLocks/>
            </p:cNvGrpSpPr>
            <p:nvPr>
              <p:custDataLst>
                <p:tags r:id="rId52"/>
              </p:custDataLst>
            </p:nvPr>
          </p:nvGrpSpPr>
          <p:grpSpPr bwMode="auto">
            <a:xfrm>
              <a:off x="1412875" y="1622426"/>
              <a:ext cx="131763" cy="195262"/>
              <a:chOff x="1199" y="2121"/>
              <a:chExt cx="97" cy="123"/>
            </a:xfrm>
            <a:grpFill/>
          </p:grpSpPr>
          <p:sp>
            <p:nvSpPr>
              <p:cNvPr id="1140" name="Freeform 59">
                <a:extLst>
                  <a:ext uri="{FF2B5EF4-FFF2-40B4-BE49-F238E27FC236}">
                    <a16:creationId xmlns:a16="http://schemas.microsoft.com/office/drawing/2014/main" id="{60AAF7BB-539E-1DF2-E672-F365E6BAC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1" name="Freeform 60">
                <a:extLst>
                  <a:ext uri="{FF2B5EF4-FFF2-40B4-BE49-F238E27FC236}">
                    <a16:creationId xmlns:a16="http://schemas.microsoft.com/office/drawing/2014/main" id="{55AF327C-618C-FB33-5994-2DC2BD511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2" name="Freeform 61">
                <a:extLst>
                  <a:ext uri="{FF2B5EF4-FFF2-40B4-BE49-F238E27FC236}">
                    <a16:creationId xmlns:a16="http://schemas.microsoft.com/office/drawing/2014/main" id="{27CC3EF8-23C6-223F-3E25-512BAB09F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3" name="Freeform 62">
                <a:extLst>
                  <a:ext uri="{FF2B5EF4-FFF2-40B4-BE49-F238E27FC236}">
                    <a16:creationId xmlns:a16="http://schemas.microsoft.com/office/drawing/2014/main" id="{4F53191F-8C9F-7E11-A9A6-EA5F03DB5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4" name="Freeform 63">
                <a:extLst>
                  <a:ext uri="{FF2B5EF4-FFF2-40B4-BE49-F238E27FC236}">
                    <a16:creationId xmlns:a16="http://schemas.microsoft.com/office/drawing/2014/main" id="{A4913651-B694-D6A3-F55D-F48A42F0C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5" name="Freeform 64">
                <a:extLst>
                  <a:ext uri="{FF2B5EF4-FFF2-40B4-BE49-F238E27FC236}">
                    <a16:creationId xmlns:a16="http://schemas.microsoft.com/office/drawing/2014/main" id="{75E7DC11-D62D-EB6A-27ED-C5781AEAE3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6" name="Freeform 65">
                <a:extLst>
                  <a:ext uri="{FF2B5EF4-FFF2-40B4-BE49-F238E27FC236}">
                    <a16:creationId xmlns:a16="http://schemas.microsoft.com/office/drawing/2014/main" id="{E16A665A-5AEA-13B2-2FB7-05B1FC5A4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7" name="Freeform 66">
                <a:extLst>
                  <a:ext uri="{FF2B5EF4-FFF2-40B4-BE49-F238E27FC236}">
                    <a16:creationId xmlns:a16="http://schemas.microsoft.com/office/drawing/2014/main" id="{B6EB2018-E4B5-4D8D-7249-FC2E48430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8" name="Freeform 67">
                <a:extLst>
                  <a:ext uri="{FF2B5EF4-FFF2-40B4-BE49-F238E27FC236}">
                    <a16:creationId xmlns:a16="http://schemas.microsoft.com/office/drawing/2014/main" id="{CC477725-85F9-EF13-A877-B47DC9237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49" name="Freeform 68">
                <a:extLst>
                  <a:ext uri="{FF2B5EF4-FFF2-40B4-BE49-F238E27FC236}">
                    <a16:creationId xmlns:a16="http://schemas.microsoft.com/office/drawing/2014/main" id="{A702CDC5-38C0-1D90-A4F8-AC27CF584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58" name="Freeform 69">
              <a:extLst>
                <a:ext uri="{FF2B5EF4-FFF2-40B4-BE49-F238E27FC236}">
                  <a16:creationId xmlns:a16="http://schemas.microsoft.com/office/drawing/2014/main" id="{D27486E7-E86D-4CCA-175D-05219C7AC3E5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226300" y="3049588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9" name="Freeform 70">
              <a:extLst>
                <a:ext uri="{FF2B5EF4-FFF2-40B4-BE49-F238E27FC236}">
                  <a16:creationId xmlns:a16="http://schemas.microsoft.com/office/drawing/2014/main" id="{7DD641D8-D4B2-46FD-4064-F709881B9D09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235825" y="3140076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0" name="Freeform 71">
              <a:extLst>
                <a:ext uri="{FF2B5EF4-FFF2-40B4-BE49-F238E27FC236}">
                  <a16:creationId xmlns:a16="http://schemas.microsoft.com/office/drawing/2014/main" id="{86123DD6-3349-EF5A-AEF4-2ABABDBA5A99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350125" y="3049588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1" name="Freeform 72">
              <a:extLst>
                <a:ext uri="{FF2B5EF4-FFF2-40B4-BE49-F238E27FC236}">
                  <a16:creationId xmlns:a16="http://schemas.microsoft.com/office/drawing/2014/main" id="{1A0DA40D-FBB3-7B32-23ED-ED816270E09D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350125" y="3022601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62" name="Group 73">
              <a:extLst>
                <a:ext uri="{FF2B5EF4-FFF2-40B4-BE49-F238E27FC236}">
                  <a16:creationId xmlns:a16="http://schemas.microsoft.com/office/drawing/2014/main" id="{F2B6538F-109B-4BDD-49D9-68825DD1C435}"/>
                </a:ext>
              </a:extLst>
            </p:cNvPr>
            <p:cNvGrpSpPr>
              <a:grpSpLocks/>
            </p:cNvGrpSpPr>
            <p:nvPr>
              <p:custDataLst>
                <p:tags r:id="rId57"/>
              </p:custDataLst>
            </p:nvPr>
          </p:nvGrpSpPr>
          <p:grpSpPr bwMode="auto">
            <a:xfrm>
              <a:off x="7040563" y="3543301"/>
              <a:ext cx="458787" cy="404812"/>
              <a:chOff x="5372" y="3323"/>
              <a:chExt cx="341" cy="253"/>
            </a:xfrm>
            <a:grpFill/>
          </p:grpSpPr>
          <p:sp>
            <p:nvSpPr>
              <p:cNvPr id="1137" name="Freeform 74">
                <a:extLst>
                  <a:ext uri="{FF2B5EF4-FFF2-40B4-BE49-F238E27FC236}">
                    <a16:creationId xmlns:a16="http://schemas.microsoft.com/office/drawing/2014/main" id="{FD97467E-49A4-23B8-86E4-D64086FF9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8" name="Freeform 75">
                <a:extLst>
                  <a:ext uri="{FF2B5EF4-FFF2-40B4-BE49-F238E27FC236}">
                    <a16:creationId xmlns:a16="http://schemas.microsoft.com/office/drawing/2014/main" id="{A6510C40-376F-188C-2BA9-EBD27E43C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9" name="Freeform 76">
                <a:extLst>
                  <a:ext uri="{FF2B5EF4-FFF2-40B4-BE49-F238E27FC236}">
                    <a16:creationId xmlns:a16="http://schemas.microsoft.com/office/drawing/2014/main" id="{4E8129AE-E510-934B-C71A-7B5A6D79B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63" name="Freeform 77">
              <a:extLst>
                <a:ext uri="{FF2B5EF4-FFF2-40B4-BE49-F238E27FC236}">
                  <a16:creationId xmlns:a16="http://schemas.microsoft.com/office/drawing/2014/main" id="{CA9F8B19-450F-013A-DA11-ADEC50E9F515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6683375" y="2200276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4" name="Freeform 78">
              <a:extLst>
                <a:ext uri="{FF2B5EF4-FFF2-40B4-BE49-F238E27FC236}">
                  <a16:creationId xmlns:a16="http://schemas.microsoft.com/office/drawing/2014/main" id="{AA5A2AC2-AFFC-82FB-EC8D-F46BA3AB3B11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410450" y="3101976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5" name="Freeform 79">
              <a:extLst>
                <a:ext uri="{FF2B5EF4-FFF2-40B4-BE49-F238E27FC236}">
                  <a16:creationId xmlns:a16="http://schemas.microsoft.com/office/drawing/2014/main" id="{A00B6D32-5355-DF8E-8A77-2F19BB9C8265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32675" y="3111501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6" name="Freeform 80">
              <a:extLst>
                <a:ext uri="{FF2B5EF4-FFF2-40B4-BE49-F238E27FC236}">
                  <a16:creationId xmlns:a16="http://schemas.microsoft.com/office/drawing/2014/main" id="{C1DF291E-EBAA-D4D5-DFDD-783F15515952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6746875" y="2189163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7" name="Freeform 81">
              <a:extLst>
                <a:ext uri="{FF2B5EF4-FFF2-40B4-BE49-F238E27FC236}">
                  <a16:creationId xmlns:a16="http://schemas.microsoft.com/office/drawing/2014/main" id="{CB0AF79A-CC6E-0BEA-2953-8AF1ACB6892D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805613" y="2133601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8" name="Freeform 82">
              <a:extLst>
                <a:ext uri="{FF2B5EF4-FFF2-40B4-BE49-F238E27FC236}">
                  <a16:creationId xmlns:a16="http://schemas.microsoft.com/office/drawing/2014/main" id="{D7AEB6F6-7961-7202-019C-D3AC72989842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6918325" y="2022476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9" name="Freeform 83">
              <a:extLst>
                <a:ext uri="{FF2B5EF4-FFF2-40B4-BE49-F238E27FC236}">
                  <a16:creationId xmlns:a16="http://schemas.microsoft.com/office/drawing/2014/main" id="{C0840C39-3D85-6A89-968E-4C39A27B0182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070725" y="2720976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0" name="Freeform 84">
              <a:extLst>
                <a:ext uri="{FF2B5EF4-FFF2-40B4-BE49-F238E27FC236}">
                  <a16:creationId xmlns:a16="http://schemas.microsoft.com/office/drawing/2014/main" id="{CD254696-2FEC-9DC0-E07F-504B95AE9E68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134225" y="2735263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1" name="Freeform 85">
              <a:extLst>
                <a:ext uri="{FF2B5EF4-FFF2-40B4-BE49-F238E27FC236}">
                  <a16:creationId xmlns:a16="http://schemas.microsoft.com/office/drawing/2014/main" id="{C93C241D-AE03-395D-51E4-B7D91A86457D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6991350" y="2511426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2" name="Freeform 86">
              <a:extLst>
                <a:ext uri="{FF2B5EF4-FFF2-40B4-BE49-F238E27FC236}">
                  <a16:creationId xmlns:a16="http://schemas.microsoft.com/office/drawing/2014/main" id="{E1D64594-B3D2-7DBD-C464-16FF519C7EE3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6934200" y="2486026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3" name="Freeform 87">
              <a:extLst>
                <a:ext uri="{FF2B5EF4-FFF2-40B4-BE49-F238E27FC236}">
                  <a16:creationId xmlns:a16="http://schemas.microsoft.com/office/drawing/2014/main" id="{C8542BD9-45A1-C6F4-061E-9BE147E7C15F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134225" y="2817813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4" name="Freeform 88">
              <a:extLst>
                <a:ext uri="{FF2B5EF4-FFF2-40B4-BE49-F238E27FC236}">
                  <a16:creationId xmlns:a16="http://schemas.microsoft.com/office/drawing/2014/main" id="{A098F51E-F445-645B-288C-7DFADF46AB90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089775" y="2806701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5" name="Line 89">
              <a:extLst>
                <a:ext uri="{FF2B5EF4-FFF2-40B4-BE49-F238E27FC236}">
                  <a16:creationId xmlns:a16="http://schemas.microsoft.com/office/drawing/2014/main" id="{261558ED-BDF1-78F6-65D4-F80F096B4144}"/>
                </a:ext>
              </a:extLst>
            </p:cNvPr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>
              <a:off x="7123113" y="2792413"/>
              <a:ext cx="20637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6" name="Freeform 90">
              <a:extLst>
                <a:ext uri="{FF2B5EF4-FFF2-40B4-BE49-F238E27FC236}">
                  <a16:creationId xmlns:a16="http://schemas.microsoft.com/office/drawing/2014/main" id="{ECB9F159-7F38-A9A8-0CA6-FE473ECEFCD6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143750" y="2798763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7" name="Freeform 91">
              <a:extLst>
                <a:ext uri="{FF2B5EF4-FFF2-40B4-BE49-F238E27FC236}">
                  <a16:creationId xmlns:a16="http://schemas.microsoft.com/office/drawing/2014/main" id="{8B2DCA53-954D-DF40-6A99-DF3005750B34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097713" y="2792413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8" name="Freeform 92">
              <a:extLst>
                <a:ext uri="{FF2B5EF4-FFF2-40B4-BE49-F238E27FC236}">
                  <a16:creationId xmlns:a16="http://schemas.microsoft.com/office/drawing/2014/main" id="{97A78658-A25E-5E40-C9F0-AF70DD62AA4C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091363" y="2773363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9" name="Freeform 93">
              <a:extLst>
                <a:ext uri="{FF2B5EF4-FFF2-40B4-BE49-F238E27FC236}">
                  <a16:creationId xmlns:a16="http://schemas.microsoft.com/office/drawing/2014/main" id="{6393235A-CF1E-900F-2E61-8EB0107AE2FE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172325" y="2500313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80" name="Group 94">
              <a:extLst>
                <a:ext uri="{FF2B5EF4-FFF2-40B4-BE49-F238E27FC236}">
                  <a16:creationId xmlns:a16="http://schemas.microsoft.com/office/drawing/2014/main" id="{80F995D2-396F-C235-C323-3F45919E70B0}"/>
                </a:ext>
              </a:extLst>
            </p:cNvPr>
            <p:cNvGrpSpPr>
              <a:grpSpLocks/>
            </p:cNvGrpSpPr>
            <p:nvPr>
              <p:custDataLst>
                <p:tags r:id="rId75"/>
              </p:custDataLst>
            </p:nvPr>
          </p:nvGrpSpPr>
          <p:grpSpPr bwMode="auto">
            <a:xfrm>
              <a:off x="7046913" y="2171701"/>
              <a:ext cx="163512" cy="114300"/>
              <a:chOff x="5379" y="2466"/>
              <a:chExt cx="122" cy="71"/>
            </a:xfrm>
            <a:grpFill/>
          </p:grpSpPr>
          <p:sp>
            <p:nvSpPr>
              <p:cNvPr id="1128" name="Freeform 95">
                <a:extLst>
                  <a:ext uri="{FF2B5EF4-FFF2-40B4-BE49-F238E27FC236}">
                    <a16:creationId xmlns:a16="http://schemas.microsoft.com/office/drawing/2014/main" id="{DA9C6CB5-D24C-FB83-EC25-483A7629F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9" name="Freeform 96">
                <a:extLst>
                  <a:ext uri="{FF2B5EF4-FFF2-40B4-BE49-F238E27FC236}">
                    <a16:creationId xmlns:a16="http://schemas.microsoft.com/office/drawing/2014/main" id="{021A67CF-99F0-DB8A-C3E1-7B22E5650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0" name="Freeform 97">
                <a:extLst>
                  <a:ext uri="{FF2B5EF4-FFF2-40B4-BE49-F238E27FC236}">
                    <a16:creationId xmlns:a16="http://schemas.microsoft.com/office/drawing/2014/main" id="{4D08A458-4BF0-DAB4-8FEE-4478ED252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1" name="Freeform 98">
                <a:extLst>
                  <a:ext uri="{FF2B5EF4-FFF2-40B4-BE49-F238E27FC236}">
                    <a16:creationId xmlns:a16="http://schemas.microsoft.com/office/drawing/2014/main" id="{920377F5-A2E2-5018-DF5D-20C18C185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2" name="Freeform 99">
                <a:extLst>
                  <a:ext uri="{FF2B5EF4-FFF2-40B4-BE49-F238E27FC236}">
                    <a16:creationId xmlns:a16="http://schemas.microsoft.com/office/drawing/2014/main" id="{DD612422-C20F-011B-EE5E-8038AAD6C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3" name="Line 100">
                <a:extLst>
                  <a:ext uri="{FF2B5EF4-FFF2-40B4-BE49-F238E27FC236}">
                    <a16:creationId xmlns:a16="http://schemas.microsoft.com/office/drawing/2014/main" id="{78C51F5A-D06B-B887-0DEB-B2100394B7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4" name="Freeform 101">
                <a:extLst>
                  <a:ext uri="{FF2B5EF4-FFF2-40B4-BE49-F238E27FC236}">
                    <a16:creationId xmlns:a16="http://schemas.microsoft.com/office/drawing/2014/main" id="{1565DEC8-034F-363C-0096-A0E659CDD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5" name="Line 102">
                <a:extLst>
                  <a:ext uri="{FF2B5EF4-FFF2-40B4-BE49-F238E27FC236}">
                    <a16:creationId xmlns:a16="http://schemas.microsoft.com/office/drawing/2014/main" id="{DBB254EC-F430-56A1-ED57-B8707043C7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36" name="Freeform 103">
                <a:extLst>
                  <a:ext uri="{FF2B5EF4-FFF2-40B4-BE49-F238E27FC236}">
                    <a16:creationId xmlns:a16="http://schemas.microsoft.com/office/drawing/2014/main" id="{CCAED2CA-2B4E-EE75-500C-A31D8A7BF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81" name="Freeform 104">
              <a:extLst>
                <a:ext uri="{FF2B5EF4-FFF2-40B4-BE49-F238E27FC236}">
                  <a16:creationId xmlns:a16="http://schemas.microsoft.com/office/drawing/2014/main" id="{5E25749F-B9AC-A534-8DE5-8D68E48E0EA6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5630863" y="2033588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2" name="Freeform 105">
              <a:extLst>
                <a:ext uri="{FF2B5EF4-FFF2-40B4-BE49-F238E27FC236}">
                  <a16:creationId xmlns:a16="http://schemas.microsoft.com/office/drawing/2014/main" id="{850D6FA3-C1DC-C19F-6516-9159CF991BEA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2530475" y="4173538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3" name="Freeform 106">
              <a:extLst>
                <a:ext uri="{FF2B5EF4-FFF2-40B4-BE49-F238E27FC236}">
                  <a16:creationId xmlns:a16="http://schemas.microsoft.com/office/drawing/2014/main" id="{04792D25-8451-36B0-43AA-07599B3827D3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832350" y="4011613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4" name="Freeform 107">
              <a:extLst>
                <a:ext uri="{FF2B5EF4-FFF2-40B4-BE49-F238E27FC236}">
                  <a16:creationId xmlns:a16="http://schemas.microsoft.com/office/drawing/2014/main" id="{2BF1363B-D090-4AC0-2506-CD3852E02240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6986588" y="782638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5" name="Freeform 108">
              <a:extLst>
                <a:ext uri="{FF2B5EF4-FFF2-40B4-BE49-F238E27FC236}">
                  <a16:creationId xmlns:a16="http://schemas.microsoft.com/office/drawing/2014/main" id="{E85C532A-F587-349C-157D-0523464307FB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162800" y="815976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6" name="Freeform 109">
              <a:extLst>
                <a:ext uri="{FF2B5EF4-FFF2-40B4-BE49-F238E27FC236}">
                  <a16:creationId xmlns:a16="http://schemas.microsoft.com/office/drawing/2014/main" id="{4B097E26-7AE1-B8C4-9331-09394E97DE67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6611938" y="1046163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7" name="Freeform 110">
              <a:extLst>
                <a:ext uri="{FF2B5EF4-FFF2-40B4-BE49-F238E27FC236}">
                  <a16:creationId xmlns:a16="http://schemas.microsoft.com/office/drawing/2014/main" id="{C0096060-E781-F77F-61AA-D469AE4E221B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6426200" y="1608138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8" name="Freeform 111">
              <a:extLst>
                <a:ext uri="{FF2B5EF4-FFF2-40B4-BE49-F238E27FC236}">
                  <a16:creationId xmlns:a16="http://schemas.microsoft.com/office/drawing/2014/main" id="{614131D4-51A4-BDD3-13F6-B93A7655CC14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6443663" y="1543051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9" name="Freeform 112">
              <a:extLst>
                <a:ext uri="{FF2B5EF4-FFF2-40B4-BE49-F238E27FC236}">
                  <a16:creationId xmlns:a16="http://schemas.microsoft.com/office/drawing/2014/main" id="{8B426980-3617-EE76-8531-27B4ABD7B33E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6332538" y="1392238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0" name="Freeform 113">
              <a:extLst>
                <a:ext uri="{FF2B5EF4-FFF2-40B4-BE49-F238E27FC236}">
                  <a16:creationId xmlns:a16="http://schemas.microsoft.com/office/drawing/2014/main" id="{727A0B37-A145-B4BB-BC1A-6200BA8007D8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184525" y="519113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1" name="Freeform 114">
              <a:extLst>
                <a:ext uri="{FF2B5EF4-FFF2-40B4-BE49-F238E27FC236}">
                  <a16:creationId xmlns:a16="http://schemas.microsoft.com/office/drawing/2014/main" id="{F7378535-583F-1F93-3737-2FC748A4C657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170238" y="287338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2" name="Freeform 115">
              <a:extLst>
                <a:ext uri="{FF2B5EF4-FFF2-40B4-BE49-F238E27FC236}">
                  <a16:creationId xmlns:a16="http://schemas.microsoft.com/office/drawing/2014/main" id="{6B74D5A2-9106-7C0C-6488-C0B22893D46D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651375" y="2065338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3" name="Freeform 116">
              <a:extLst>
                <a:ext uri="{FF2B5EF4-FFF2-40B4-BE49-F238E27FC236}">
                  <a16:creationId xmlns:a16="http://schemas.microsoft.com/office/drawing/2014/main" id="{055AA6CF-7AF0-BECC-281A-410B55786B1A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4354513" y="1927226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94" name="Group 117">
              <a:extLst>
                <a:ext uri="{FF2B5EF4-FFF2-40B4-BE49-F238E27FC236}">
                  <a16:creationId xmlns:a16="http://schemas.microsoft.com/office/drawing/2014/main" id="{97AA1EFE-074B-9A2B-E60F-056518344F6B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5126038" y="2114551"/>
              <a:ext cx="46037" cy="374650"/>
              <a:chOff x="3950" y="2430"/>
              <a:chExt cx="36" cy="234"/>
            </a:xfrm>
            <a:grpFill/>
          </p:grpSpPr>
          <p:sp>
            <p:nvSpPr>
              <p:cNvPr id="1097" name="Freeform 118">
                <a:extLst>
                  <a:ext uri="{FF2B5EF4-FFF2-40B4-BE49-F238E27FC236}">
                    <a16:creationId xmlns:a16="http://schemas.microsoft.com/office/drawing/2014/main" id="{F2A5FB20-42F5-D3A3-22CD-E8EC386A9D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8" name="Freeform 119">
                <a:extLst>
                  <a:ext uri="{FF2B5EF4-FFF2-40B4-BE49-F238E27FC236}">
                    <a16:creationId xmlns:a16="http://schemas.microsoft.com/office/drawing/2014/main" id="{7D11F6FE-C368-1FD8-8979-58531141A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9" name="Freeform 120">
                <a:extLst>
                  <a:ext uri="{FF2B5EF4-FFF2-40B4-BE49-F238E27FC236}">
                    <a16:creationId xmlns:a16="http://schemas.microsoft.com/office/drawing/2014/main" id="{D27D446F-CEA4-7AA9-01CD-259579550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0" name="Rectangle 121">
                <a:extLst>
                  <a:ext uri="{FF2B5EF4-FFF2-40B4-BE49-F238E27FC236}">
                    <a16:creationId xmlns:a16="http://schemas.microsoft.com/office/drawing/2014/main" id="{62BDFA5E-EB85-2C0A-B809-99F8FD4EC0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CH" sz="1050">
                  <a:latin typeface="Tenorite" pitchFamily="2" charset="0"/>
                </a:endParaRPr>
              </a:p>
            </p:txBody>
          </p:sp>
          <p:sp>
            <p:nvSpPr>
              <p:cNvPr id="1101" name="Line 122">
                <a:extLst>
                  <a:ext uri="{FF2B5EF4-FFF2-40B4-BE49-F238E27FC236}">
                    <a16:creationId xmlns:a16="http://schemas.microsoft.com/office/drawing/2014/main" id="{C5873905-D0D2-47E3-31B7-B01282DB8A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2" name="Freeform 123">
                <a:extLst>
                  <a:ext uri="{FF2B5EF4-FFF2-40B4-BE49-F238E27FC236}">
                    <a16:creationId xmlns:a16="http://schemas.microsoft.com/office/drawing/2014/main" id="{D285337F-D40F-EBE3-98B8-F692326DB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3" name="Freeform 124">
                <a:extLst>
                  <a:ext uri="{FF2B5EF4-FFF2-40B4-BE49-F238E27FC236}">
                    <a16:creationId xmlns:a16="http://schemas.microsoft.com/office/drawing/2014/main" id="{F6A4E028-BF7C-11BC-DCDA-C10E7A65B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4" name="Line 125">
                <a:extLst>
                  <a:ext uri="{FF2B5EF4-FFF2-40B4-BE49-F238E27FC236}">
                    <a16:creationId xmlns:a16="http://schemas.microsoft.com/office/drawing/2014/main" id="{2BD17A99-223C-8D03-321F-04A275885C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5" name="Freeform 126">
                <a:extLst>
                  <a:ext uri="{FF2B5EF4-FFF2-40B4-BE49-F238E27FC236}">
                    <a16:creationId xmlns:a16="http://schemas.microsoft.com/office/drawing/2014/main" id="{82589519-9CB7-F84A-7722-8CD234EF2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6" name="Freeform 127">
                <a:extLst>
                  <a:ext uri="{FF2B5EF4-FFF2-40B4-BE49-F238E27FC236}">
                    <a16:creationId xmlns:a16="http://schemas.microsoft.com/office/drawing/2014/main" id="{99DB8351-7CC3-B7A8-0D3D-8D346919F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7" name="Line 128">
                <a:extLst>
                  <a:ext uri="{FF2B5EF4-FFF2-40B4-BE49-F238E27FC236}">
                    <a16:creationId xmlns:a16="http://schemas.microsoft.com/office/drawing/2014/main" id="{F2D0E196-20C8-2CAC-6C38-D089FD0CBC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8" name="Freeform 129">
                <a:extLst>
                  <a:ext uri="{FF2B5EF4-FFF2-40B4-BE49-F238E27FC236}">
                    <a16:creationId xmlns:a16="http://schemas.microsoft.com/office/drawing/2014/main" id="{EC11DB51-02C6-109D-0682-103A73899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09" name="Freeform 130">
                <a:extLst>
                  <a:ext uri="{FF2B5EF4-FFF2-40B4-BE49-F238E27FC236}">
                    <a16:creationId xmlns:a16="http://schemas.microsoft.com/office/drawing/2014/main" id="{99FEAE15-389F-D426-7586-D387FA69A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0" name="Freeform 131">
                <a:extLst>
                  <a:ext uri="{FF2B5EF4-FFF2-40B4-BE49-F238E27FC236}">
                    <a16:creationId xmlns:a16="http://schemas.microsoft.com/office/drawing/2014/main" id="{CD38E4D3-735E-FAAE-30D4-CF48BFF55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1" name="Freeform 132">
                <a:extLst>
                  <a:ext uri="{FF2B5EF4-FFF2-40B4-BE49-F238E27FC236}">
                    <a16:creationId xmlns:a16="http://schemas.microsoft.com/office/drawing/2014/main" id="{DB17F8ED-C5C9-905E-B2F4-3FEFD5E86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2" name="Freeform 133">
                <a:extLst>
                  <a:ext uri="{FF2B5EF4-FFF2-40B4-BE49-F238E27FC236}">
                    <a16:creationId xmlns:a16="http://schemas.microsoft.com/office/drawing/2014/main" id="{196A4603-FA52-CE8B-4668-C15406396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3" name="Freeform 134">
                <a:extLst>
                  <a:ext uri="{FF2B5EF4-FFF2-40B4-BE49-F238E27FC236}">
                    <a16:creationId xmlns:a16="http://schemas.microsoft.com/office/drawing/2014/main" id="{A38EABB1-2EFF-657F-DC8A-DE4DE722D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4" name="Freeform 135">
                <a:extLst>
                  <a:ext uri="{FF2B5EF4-FFF2-40B4-BE49-F238E27FC236}">
                    <a16:creationId xmlns:a16="http://schemas.microsoft.com/office/drawing/2014/main" id="{62D30FC9-862B-E72B-FC71-99B33564E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5" name="Rectangle 136">
                <a:extLst>
                  <a:ext uri="{FF2B5EF4-FFF2-40B4-BE49-F238E27FC236}">
                    <a16:creationId xmlns:a16="http://schemas.microsoft.com/office/drawing/2014/main" id="{9B72ACC8-1E45-3061-2AF4-B26DE48F5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CH" sz="1050">
                  <a:latin typeface="Tenorite" pitchFamily="2" charset="0"/>
                </a:endParaRPr>
              </a:p>
            </p:txBody>
          </p:sp>
          <p:sp>
            <p:nvSpPr>
              <p:cNvPr id="1116" name="Line 137">
                <a:extLst>
                  <a:ext uri="{FF2B5EF4-FFF2-40B4-BE49-F238E27FC236}">
                    <a16:creationId xmlns:a16="http://schemas.microsoft.com/office/drawing/2014/main" id="{60ED452D-3C9C-C51D-A72E-325CDB9A20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7" name="Freeform 138">
                <a:extLst>
                  <a:ext uri="{FF2B5EF4-FFF2-40B4-BE49-F238E27FC236}">
                    <a16:creationId xmlns:a16="http://schemas.microsoft.com/office/drawing/2014/main" id="{5B9B3C53-B994-ACA5-85CE-7309DF2FF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8" name="Freeform 139">
                <a:extLst>
                  <a:ext uri="{FF2B5EF4-FFF2-40B4-BE49-F238E27FC236}">
                    <a16:creationId xmlns:a16="http://schemas.microsoft.com/office/drawing/2014/main" id="{5E254CA9-4340-0B8E-F6BF-AAA48608B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19" name="Line 140">
                <a:extLst>
                  <a:ext uri="{FF2B5EF4-FFF2-40B4-BE49-F238E27FC236}">
                    <a16:creationId xmlns:a16="http://schemas.microsoft.com/office/drawing/2014/main" id="{42BE29E1-5CC0-B60D-D830-C923600B8A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0" name="Freeform 141">
                <a:extLst>
                  <a:ext uri="{FF2B5EF4-FFF2-40B4-BE49-F238E27FC236}">
                    <a16:creationId xmlns:a16="http://schemas.microsoft.com/office/drawing/2014/main" id="{ACE6565B-63F2-CAD0-DFBE-0C9DE0969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1" name="Freeform 142">
                <a:extLst>
                  <a:ext uri="{FF2B5EF4-FFF2-40B4-BE49-F238E27FC236}">
                    <a16:creationId xmlns:a16="http://schemas.microsoft.com/office/drawing/2014/main" id="{A2A853E9-65FD-9CFD-73CE-7412B7080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2" name="Line 143">
                <a:extLst>
                  <a:ext uri="{FF2B5EF4-FFF2-40B4-BE49-F238E27FC236}">
                    <a16:creationId xmlns:a16="http://schemas.microsoft.com/office/drawing/2014/main" id="{62ADA3E8-F694-020E-280C-DD627A72F4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3" name="Freeform 144">
                <a:extLst>
                  <a:ext uri="{FF2B5EF4-FFF2-40B4-BE49-F238E27FC236}">
                    <a16:creationId xmlns:a16="http://schemas.microsoft.com/office/drawing/2014/main" id="{BBDCCD67-3A38-5C07-A517-7BB419EC60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4" name="Freeform 145">
                <a:extLst>
                  <a:ext uri="{FF2B5EF4-FFF2-40B4-BE49-F238E27FC236}">
                    <a16:creationId xmlns:a16="http://schemas.microsoft.com/office/drawing/2014/main" id="{D3C89CC0-0C95-73AA-9C60-7C039D7E9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5" name="Freeform 146">
                <a:extLst>
                  <a:ext uri="{FF2B5EF4-FFF2-40B4-BE49-F238E27FC236}">
                    <a16:creationId xmlns:a16="http://schemas.microsoft.com/office/drawing/2014/main" id="{8387AF02-C316-4690-6305-F467D4EEE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6" name="Freeform 147">
                <a:extLst>
                  <a:ext uri="{FF2B5EF4-FFF2-40B4-BE49-F238E27FC236}">
                    <a16:creationId xmlns:a16="http://schemas.microsoft.com/office/drawing/2014/main" id="{24969435-34A3-1D8E-139C-8994C115A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127" name="Freeform 148">
                <a:extLst>
                  <a:ext uri="{FF2B5EF4-FFF2-40B4-BE49-F238E27FC236}">
                    <a16:creationId xmlns:a16="http://schemas.microsoft.com/office/drawing/2014/main" id="{7A005421-A3B8-8A3E-3DFE-4EF3B2AC4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grpSp>
          <p:nvGrpSpPr>
            <p:cNvPr id="695" name="Group 149">
              <a:extLst>
                <a:ext uri="{FF2B5EF4-FFF2-40B4-BE49-F238E27FC236}">
                  <a16:creationId xmlns:a16="http://schemas.microsoft.com/office/drawing/2014/main" id="{64315069-7601-99F6-547A-666BA20EBCAC}"/>
                </a:ext>
              </a:extLst>
            </p:cNvPr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7191375" y="2614613"/>
              <a:ext cx="185738" cy="214313"/>
              <a:chOff x="5486" y="2743"/>
              <a:chExt cx="137" cy="132"/>
            </a:xfrm>
            <a:grpFill/>
          </p:grpSpPr>
          <p:sp>
            <p:nvSpPr>
              <p:cNvPr id="1088" name="Freeform 150">
                <a:extLst>
                  <a:ext uri="{FF2B5EF4-FFF2-40B4-BE49-F238E27FC236}">
                    <a16:creationId xmlns:a16="http://schemas.microsoft.com/office/drawing/2014/main" id="{C262F2BB-4B26-A278-5755-5526CC724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9" name="Freeform 151">
                <a:extLst>
                  <a:ext uri="{FF2B5EF4-FFF2-40B4-BE49-F238E27FC236}">
                    <a16:creationId xmlns:a16="http://schemas.microsoft.com/office/drawing/2014/main" id="{4FE1857E-8244-389B-BD18-780D6806E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0" name="Freeform 152">
                <a:extLst>
                  <a:ext uri="{FF2B5EF4-FFF2-40B4-BE49-F238E27FC236}">
                    <a16:creationId xmlns:a16="http://schemas.microsoft.com/office/drawing/2014/main" id="{7331D51C-2607-E4EC-E690-C8473265E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1" name="Freeform 153">
                <a:extLst>
                  <a:ext uri="{FF2B5EF4-FFF2-40B4-BE49-F238E27FC236}">
                    <a16:creationId xmlns:a16="http://schemas.microsoft.com/office/drawing/2014/main" id="{03D7B850-8E16-B1DE-FA96-61659E585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2" name="Freeform 154">
                <a:extLst>
                  <a:ext uri="{FF2B5EF4-FFF2-40B4-BE49-F238E27FC236}">
                    <a16:creationId xmlns:a16="http://schemas.microsoft.com/office/drawing/2014/main" id="{97D7D81F-F04B-7452-534F-D20EDCE68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3" name="Freeform 155">
                <a:extLst>
                  <a:ext uri="{FF2B5EF4-FFF2-40B4-BE49-F238E27FC236}">
                    <a16:creationId xmlns:a16="http://schemas.microsoft.com/office/drawing/2014/main" id="{CCB3FD90-C28D-C2F7-4F30-099C7C01C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4" name="Freeform 156">
                <a:extLst>
                  <a:ext uri="{FF2B5EF4-FFF2-40B4-BE49-F238E27FC236}">
                    <a16:creationId xmlns:a16="http://schemas.microsoft.com/office/drawing/2014/main" id="{022D0DC9-DAFD-091F-2B34-05AC228BC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5" name="Freeform 157">
                <a:extLst>
                  <a:ext uri="{FF2B5EF4-FFF2-40B4-BE49-F238E27FC236}">
                    <a16:creationId xmlns:a16="http://schemas.microsoft.com/office/drawing/2014/main" id="{22E36561-3181-E7D9-87AE-AADA9CECE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96" name="Freeform 158">
                <a:extLst>
                  <a:ext uri="{FF2B5EF4-FFF2-40B4-BE49-F238E27FC236}">
                    <a16:creationId xmlns:a16="http://schemas.microsoft.com/office/drawing/2014/main" id="{0EB27041-5489-6613-C60F-5E8F999AD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96" name="Freeform 159">
              <a:extLst>
                <a:ext uri="{FF2B5EF4-FFF2-40B4-BE49-F238E27FC236}">
                  <a16:creationId xmlns:a16="http://schemas.microsoft.com/office/drawing/2014/main" id="{65BD83E7-0ECC-8AA8-2C34-29F765D4DE69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536950" y="2352676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7" name="Freeform 160">
              <a:extLst>
                <a:ext uri="{FF2B5EF4-FFF2-40B4-BE49-F238E27FC236}">
                  <a16:creationId xmlns:a16="http://schemas.microsoft.com/office/drawing/2014/main" id="{2E6E2B5C-D4E7-FD04-14E1-97E1FBDFE28A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460750" y="2492376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8" name="Freeform 161">
              <a:extLst>
                <a:ext uri="{FF2B5EF4-FFF2-40B4-BE49-F238E27FC236}">
                  <a16:creationId xmlns:a16="http://schemas.microsoft.com/office/drawing/2014/main" id="{38EABB4E-9913-FE12-E6AE-FFC5648F63C5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259388" y="819151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9" name="Freeform 162">
              <a:extLst>
                <a:ext uri="{FF2B5EF4-FFF2-40B4-BE49-F238E27FC236}">
                  <a16:creationId xmlns:a16="http://schemas.microsoft.com/office/drawing/2014/main" id="{CC4FCA98-9CFF-B5ED-9D66-5996C1619217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1585913" y="2786063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0" name="Freeform 163">
              <a:extLst>
                <a:ext uri="{FF2B5EF4-FFF2-40B4-BE49-F238E27FC236}">
                  <a16:creationId xmlns:a16="http://schemas.microsoft.com/office/drawing/2014/main" id="{B67DE952-8422-04D5-8C3E-9A8E352F5438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1800225" y="2216151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701" name="Group 164">
              <a:extLst>
                <a:ext uri="{FF2B5EF4-FFF2-40B4-BE49-F238E27FC236}">
                  <a16:creationId xmlns:a16="http://schemas.microsoft.com/office/drawing/2014/main" id="{BDA780FE-1A87-9EC2-7AA9-FE28C9850705}"/>
                </a:ext>
              </a:extLst>
            </p:cNvPr>
            <p:cNvGrpSpPr>
              <a:grpSpLocks/>
            </p:cNvGrpSpPr>
            <p:nvPr>
              <p:custDataLst>
                <p:tags r:id="rId96"/>
              </p:custDataLst>
            </p:nvPr>
          </p:nvGrpSpPr>
          <p:grpSpPr bwMode="auto">
            <a:xfrm>
              <a:off x="1514475" y="2051051"/>
              <a:ext cx="323850" cy="401637"/>
              <a:chOff x="1486" y="2412"/>
              <a:chExt cx="244" cy="256"/>
            </a:xfrm>
            <a:grpFill/>
          </p:grpSpPr>
          <p:sp>
            <p:nvSpPr>
              <p:cNvPr id="1084" name="Freeform 165">
                <a:extLst>
                  <a:ext uri="{FF2B5EF4-FFF2-40B4-BE49-F238E27FC236}">
                    <a16:creationId xmlns:a16="http://schemas.microsoft.com/office/drawing/2014/main" id="{D1214C67-F074-B580-16AF-0963AE1AB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5" name="Freeform 166">
                <a:extLst>
                  <a:ext uri="{FF2B5EF4-FFF2-40B4-BE49-F238E27FC236}">
                    <a16:creationId xmlns:a16="http://schemas.microsoft.com/office/drawing/2014/main" id="{38E945D0-6868-104D-9D1E-7512DFF42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6" name="Freeform 167">
                <a:extLst>
                  <a:ext uri="{FF2B5EF4-FFF2-40B4-BE49-F238E27FC236}">
                    <a16:creationId xmlns:a16="http://schemas.microsoft.com/office/drawing/2014/main" id="{80A9FD26-D0C5-E514-5B9B-04671AE4E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7" name="Freeform 168">
                <a:extLst>
                  <a:ext uri="{FF2B5EF4-FFF2-40B4-BE49-F238E27FC236}">
                    <a16:creationId xmlns:a16="http://schemas.microsoft.com/office/drawing/2014/main" id="{860056D7-DBFA-C2C7-2245-32F54CF5D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702" name="Freeform 169">
              <a:extLst>
                <a:ext uri="{FF2B5EF4-FFF2-40B4-BE49-F238E27FC236}">
                  <a16:creationId xmlns:a16="http://schemas.microsoft.com/office/drawing/2014/main" id="{A2314308-9B0A-0385-5346-4AB5B7828E2E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6535738" y="3590926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3" name="Freeform 170">
              <a:extLst>
                <a:ext uri="{FF2B5EF4-FFF2-40B4-BE49-F238E27FC236}">
                  <a16:creationId xmlns:a16="http://schemas.microsoft.com/office/drawing/2014/main" id="{C2805BD1-65FB-A720-F2BA-4E430347E7AA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6651625" y="3724276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4" name="Line 171">
              <a:extLst>
                <a:ext uri="{FF2B5EF4-FFF2-40B4-BE49-F238E27FC236}">
                  <a16:creationId xmlns:a16="http://schemas.microsoft.com/office/drawing/2014/main" id="{6BC67C55-8475-7C05-0CF3-68151919D7EB}"/>
                </a:ext>
              </a:extLst>
            </p:cNvPr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 flipV="1">
              <a:off x="6742113" y="3722688"/>
              <a:ext cx="1587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5" name="Freeform 172">
              <a:extLst>
                <a:ext uri="{FF2B5EF4-FFF2-40B4-BE49-F238E27FC236}">
                  <a16:creationId xmlns:a16="http://schemas.microsoft.com/office/drawing/2014/main" id="{E6CC0674-FC00-BC0A-AAB8-1448E5EBBD49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6742113" y="3722688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6" name="Freeform 173">
              <a:extLst>
                <a:ext uri="{FF2B5EF4-FFF2-40B4-BE49-F238E27FC236}">
                  <a16:creationId xmlns:a16="http://schemas.microsoft.com/office/drawing/2014/main" id="{2F305296-57B4-B3DE-E2AA-0278EEFD3A74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040563" y="3192463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7" name="Freeform 174">
              <a:extLst>
                <a:ext uri="{FF2B5EF4-FFF2-40B4-BE49-F238E27FC236}">
                  <a16:creationId xmlns:a16="http://schemas.microsoft.com/office/drawing/2014/main" id="{2CAF187A-8984-A052-9357-453DED4ECBD1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046913" y="3119438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8" name="Freeform 175">
              <a:extLst>
                <a:ext uri="{FF2B5EF4-FFF2-40B4-BE49-F238E27FC236}">
                  <a16:creationId xmlns:a16="http://schemas.microsoft.com/office/drawing/2014/main" id="{448DF9BA-653B-40FE-10B2-4258B78E0CF3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023100" y="3095626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9" name="Freeform 176">
              <a:extLst>
                <a:ext uri="{FF2B5EF4-FFF2-40B4-BE49-F238E27FC236}">
                  <a16:creationId xmlns:a16="http://schemas.microsoft.com/office/drawing/2014/main" id="{65B51C0A-C4B0-71E3-C146-67A1FC0E230E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6942138" y="2973388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0" name="Line 177">
              <a:extLst>
                <a:ext uri="{FF2B5EF4-FFF2-40B4-BE49-F238E27FC236}">
                  <a16:creationId xmlns:a16="http://schemas.microsoft.com/office/drawing/2014/main" id="{94854193-310F-E31B-FC40-6C2C862DA3A2}"/>
                </a:ext>
              </a:extLst>
            </p:cNvPr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 flipH="1" flipV="1">
              <a:off x="6935788" y="2940051"/>
              <a:ext cx="6350" cy="3333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1" name="Freeform 178">
              <a:extLst>
                <a:ext uri="{FF2B5EF4-FFF2-40B4-BE49-F238E27FC236}">
                  <a16:creationId xmlns:a16="http://schemas.microsoft.com/office/drawing/2014/main" id="{83DFB35F-4456-067B-B2FC-1D142BA49E7B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6935788" y="2924176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2" name="Line 179">
              <a:extLst>
                <a:ext uri="{FF2B5EF4-FFF2-40B4-BE49-F238E27FC236}">
                  <a16:creationId xmlns:a16="http://schemas.microsoft.com/office/drawing/2014/main" id="{8E9622E1-C50B-9423-4F3C-E076E4B76FEB}"/>
                </a:ext>
              </a:extLst>
            </p:cNvPr>
            <p:cNvSpPr>
              <a:spLocks noChangeShapeType="1"/>
            </p:cNvSpPr>
            <p:nvPr>
              <p:custDataLst>
                <p:tags r:id="rId107"/>
              </p:custDataLst>
            </p:nvPr>
          </p:nvSpPr>
          <p:spPr bwMode="auto">
            <a:xfrm flipV="1">
              <a:off x="6942138" y="2911476"/>
              <a:ext cx="0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3" name="Freeform 180">
              <a:extLst>
                <a:ext uri="{FF2B5EF4-FFF2-40B4-BE49-F238E27FC236}">
                  <a16:creationId xmlns:a16="http://schemas.microsoft.com/office/drawing/2014/main" id="{A2938A89-FD79-B273-CE51-AFC8EBE9E1D2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6896100" y="2844801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4" name="Freeform 181">
              <a:extLst>
                <a:ext uri="{FF2B5EF4-FFF2-40B4-BE49-F238E27FC236}">
                  <a16:creationId xmlns:a16="http://schemas.microsoft.com/office/drawing/2014/main" id="{A7D5BCF5-3153-BCD3-72B8-5371F4BAE552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6910388" y="2787651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5" name="Freeform 182">
              <a:extLst>
                <a:ext uri="{FF2B5EF4-FFF2-40B4-BE49-F238E27FC236}">
                  <a16:creationId xmlns:a16="http://schemas.microsoft.com/office/drawing/2014/main" id="{E0338D18-DBD2-78C6-AD95-FD7BF180B383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6916738" y="2781301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6" name="Freeform 183">
              <a:extLst>
                <a:ext uri="{FF2B5EF4-FFF2-40B4-BE49-F238E27FC236}">
                  <a16:creationId xmlns:a16="http://schemas.microsoft.com/office/drawing/2014/main" id="{6E94A409-DFCB-C867-DF60-41B50E96845B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6932613" y="2762251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7" name="Line 184">
              <a:extLst>
                <a:ext uri="{FF2B5EF4-FFF2-40B4-BE49-F238E27FC236}">
                  <a16:creationId xmlns:a16="http://schemas.microsoft.com/office/drawing/2014/main" id="{7032C1D7-2E81-E46E-043C-A1E574EABA3E}"/>
                </a:ext>
              </a:extLst>
            </p:cNvPr>
            <p:cNvSpPr>
              <a:spLocks noChangeShapeType="1"/>
            </p:cNvSpPr>
            <p:nvPr>
              <p:custDataLst>
                <p:tags r:id="rId112"/>
              </p:custDataLst>
            </p:nvPr>
          </p:nvSpPr>
          <p:spPr bwMode="auto">
            <a:xfrm flipV="1">
              <a:off x="6932613" y="2781301"/>
              <a:ext cx="1587" cy="317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8" name="Freeform 185">
              <a:extLst>
                <a:ext uri="{FF2B5EF4-FFF2-40B4-BE49-F238E27FC236}">
                  <a16:creationId xmlns:a16="http://schemas.microsoft.com/office/drawing/2014/main" id="{6A5AAE9C-BCF7-4B62-CE79-8856A3043DEA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6916738" y="2765426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9" name="Freeform 186">
              <a:extLst>
                <a:ext uri="{FF2B5EF4-FFF2-40B4-BE49-F238E27FC236}">
                  <a16:creationId xmlns:a16="http://schemas.microsoft.com/office/drawing/2014/main" id="{E62C780A-C1E8-14E7-2018-66023BB48E5E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6637338" y="3754438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0" name="Freeform 187">
              <a:extLst>
                <a:ext uri="{FF2B5EF4-FFF2-40B4-BE49-F238E27FC236}">
                  <a16:creationId xmlns:a16="http://schemas.microsoft.com/office/drawing/2014/main" id="{DC573DEB-83AB-D797-B48C-51577BBECEBA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6775450" y="2973388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1" name="Freeform 188">
              <a:extLst>
                <a:ext uri="{FF2B5EF4-FFF2-40B4-BE49-F238E27FC236}">
                  <a16:creationId xmlns:a16="http://schemas.microsoft.com/office/drawing/2014/main" id="{809552F2-16A0-3A0D-0D55-B97F495CB5EB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6708775" y="2895601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2" name="Freeform 189">
              <a:extLst>
                <a:ext uri="{FF2B5EF4-FFF2-40B4-BE49-F238E27FC236}">
                  <a16:creationId xmlns:a16="http://schemas.microsoft.com/office/drawing/2014/main" id="{0D979439-6602-B837-B82A-85791FC306E7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6724650" y="2808288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3" name="Freeform 190">
              <a:extLst>
                <a:ext uri="{FF2B5EF4-FFF2-40B4-BE49-F238E27FC236}">
                  <a16:creationId xmlns:a16="http://schemas.microsoft.com/office/drawing/2014/main" id="{BF52CA9D-5723-374F-6139-D06A9EB1A642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6564313" y="2811463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4" name="Freeform 191">
              <a:extLst>
                <a:ext uri="{FF2B5EF4-FFF2-40B4-BE49-F238E27FC236}">
                  <a16:creationId xmlns:a16="http://schemas.microsoft.com/office/drawing/2014/main" id="{136C2D90-D17C-B3BD-FDE9-21F2A3BE9E82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808788" y="3275013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5" name="Freeform 192">
              <a:extLst>
                <a:ext uri="{FF2B5EF4-FFF2-40B4-BE49-F238E27FC236}">
                  <a16:creationId xmlns:a16="http://schemas.microsoft.com/office/drawing/2014/main" id="{4817C463-D154-0DF6-4AC0-E79B0AF823FF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6045200" y="2781301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6" name="Freeform 193">
              <a:extLst>
                <a:ext uri="{FF2B5EF4-FFF2-40B4-BE49-F238E27FC236}">
                  <a16:creationId xmlns:a16="http://schemas.microsoft.com/office/drawing/2014/main" id="{34D62CB5-FF28-65BE-2E57-2387187EF0D6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531813" y="1447801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7" name="Freeform 194">
              <a:extLst>
                <a:ext uri="{FF2B5EF4-FFF2-40B4-BE49-F238E27FC236}">
                  <a16:creationId xmlns:a16="http://schemas.microsoft.com/office/drawing/2014/main" id="{D3F6CC49-E6A7-BC63-9337-664462C4480B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1806575" y="3087688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8" name="Freeform 195">
              <a:extLst>
                <a:ext uri="{FF2B5EF4-FFF2-40B4-BE49-F238E27FC236}">
                  <a16:creationId xmlns:a16="http://schemas.microsoft.com/office/drawing/2014/main" id="{E1C19CC2-A03C-522D-6E3E-5D7B80E76A6F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976438" y="2292351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9" name="Freeform 196">
              <a:extLst>
                <a:ext uri="{FF2B5EF4-FFF2-40B4-BE49-F238E27FC236}">
                  <a16:creationId xmlns:a16="http://schemas.microsoft.com/office/drawing/2014/main" id="{F17C1FBA-C3CE-D0BF-3DCD-8168548F3DBE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1490663" y="1851026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0" name="Freeform 197">
              <a:extLst>
                <a:ext uri="{FF2B5EF4-FFF2-40B4-BE49-F238E27FC236}">
                  <a16:creationId xmlns:a16="http://schemas.microsoft.com/office/drawing/2014/main" id="{1C52F6E9-13D1-D3AA-25B6-2F34AD559272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1857375" y="4205288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1" name="Freeform 198">
              <a:extLst>
                <a:ext uri="{FF2B5EF4-FFF2-40B4-BE49-F238E27FC236}">
                  <a16:creationId xmlns:a16="http://schemas.microsoft.com/office/drawing/2014/main" id="{85D99E6E-9F96-2AC5-FE01-7BA5AF13E4D3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1822450" y="4184651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2" name="Freeform 199">
              <a:extLst>
                <a:ext uri="{FF2B5EF4-FFF2-40B4-BE49-F238E27FC236}">
                  <a16:creationId xmlns:a16="http://schemas.microsoft.com/office/drawing/2014/main" id="{EDBD7F7A-8D79-3C44-3424-5F927C3C1A8B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1822450" y="4164013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3" name="Freeform 200">
              <a:extLst>
                <a:ext uri="{FF2B5EF4-FFF2-40B4-BE49-F238E27FC236}">
                  <a16:creationId xmlns:a16="http://schemas.microsoft.com/office/drawing/2014/main" id="{35D66155-DE9D-BE66-0A81-4B772CBE5C70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1792288" y="4157663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4" name="Freeform 201">
              <a:extLst>
                <a:ext uri="{FF2B5EF4-FFF2-40B4-BE49-F238E27FC236}">
                  <a16:creationId xmlns:a16="http://schemas.microsoft.com/office/drawing/2014/main" id="{2701F38A-51D6-C9F2-FF34-6AB4AE8C3080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766888" y="4148138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5" name="Freeform 202">
              <a:extLst>
                <a:ext uri="{FF2B5EF4-FFF2-40B4-BE49-F238E27FC236}">
                  <a16:creationId xmlns:a16="http://schemas.microsoft.com/office/drawing/2014/main" id="{79E8C2B4-7AC0-D2D0-1ED8-A80E7BE39630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1743075" y="4135438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6" name="Freeform 203">
              <a:extLst>
                <a:ext uri="{FF2B5EF4-FFF2-40B4-BE49-F238E27FC236}">
                  <a16:creationId xmlns:a16="http://schemas.microsoft.com/office/drawing/2014/main" id="{6DDEF992-0589-1648-B0E1-E1EFAD8DB906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736725" y="4116388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7" name="Freeform 204">
              <a:extLst>
                <a:ext uri="{FF2B5EF4-FFF2-40B4-BE49-F238E27FC236}">
                  <a16:creationId xmlns:a16="http://schemas.microsoft.com/office/drawing/2014/main" id="{8FD4D825-B312-B5F1-C311-15E8F0ACA97D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1636713" y="3806826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8" name="Freeform 205">
              <a:extLst>
                <a:ext uri="{FF2B5EF4-FFF2-40B4-BE49-F238E27FC236}">
                  <a16:creationId xmlns:a16="http://schemas.microsoft.com/office/drawing/2014/main" id="{B27828D7-01C5-9A93-1E99-FAD2EFD7CFAC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1666875" y="3902076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9" name="Freeform 206">
              <a:extLst>
                <a:ext uri="{FF2B5EF4-FFF2-40B4-BE49-F238E27FC236}">
                  <a16:creationId xmlns:a16="http://schemas.microsoft.com/office/drawing/2014/main" id="{E2E8275A-6EB9-CD67-4F50-DAD9A35C35E9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1671638" y="3924301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0" name="Freeform 207">
              <a:extLst>
                <a:ext uri="{FF2B5EF4-FFF2-40B4-BE49-F238E27FC236}">
                  <a16:creationId xmlns:a16="http://schemas.microsoft.com/office/drawing/2014/main" id="{7D46B28D-0AD3-76D1-39B1-9BE78790791B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1685925" y="3986213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1" name="Freeform 208">
              <a:extLst>
                <a:ext uri="{FF2B5EF4-FFF2-40B4-BE49-F238E27FC236}">
                  <a16:creationId xmlns:a16="http://schemas.microsoft.com/office/drawing/2014/main" id="{42255A38-DC08-2FB0-C412-38CFB13E58EF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1673225" y="3998913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2" name="Freeform 209">
              <a:extLst>
                <a:ext uri="{FF2B5EF4-FFF2-40B4-BE49-F238E27FC236}">
                  <a16:creationId xmlns:a16="http://schemas.microsoft.com/office/drawing/2014/main" id="{029B817D-09BF-E896-9737-5880761473B8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1703388" y="4032251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3" name="Freeform 210">
              <a:extLst>
                <a:ext uri="{FF2B5EF4-FFF2-40B4-BE49-F238E27FC236}">
                  <a16:creationId xmlns:a16="http://schemas.microsoft.com/office/drawing/2014/main" id="{48686DF5-E4FC-8019-52BB-E75BE936400F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1700213" y="4065588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4" name="Freeform 211">
              <a:extLst>
                <a:ext uri="{FF2B5EF4-FFF2-40B4-BE49-F238E27FC236}">
                  <a16:creationId xmlns:a16="http://schemas.microsoft.com/office/drawing/2014/main" id="{326A780D-3D6F-874E-2FFC-34897B2BD1A5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1724025" y="4079876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5" name="Freeform 212">
              <a:extLst>
                <a:ext uri="{FF2B5EF4-FFF2-40B4-BE49-F238E27FC236}">
                  <a16:creationId xmlns:a16="http://schemas.microsoft.com/office/drawing/2014/main" id="{1F5D7138-A930-9889-0DBC-41278BA4F53B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725613" y="4108451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6" name="Freeform 213">
              <a:extLst>
                <a:ext uri="{FF2B5EF4-FFF2-40B4-BE49-F238E27FC236}">
                  <a16:creationId xmlns:a16="http://schemas.microsoft.com/office/drawing/2014/main" id="{4FDDD600-61FB-E39C-61D5-7AA7627DCEB3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800225" y="4178301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7" name="Freeform 214">
              <a:extLst>
                <a:ext uri="{FF2B5EF4-FFF2-40B4-BE49-F238E27FC236}">
                  <a16:creationId xmlns:a16="http://schemas.microsoft.com/office/drawing/2014/main" id="{B988082C-7FBE-2EFA-2EBD-B4013D48C812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838325" y="4119563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8" name="Freeform 215">
              <a:extLst>
                <a:ext uri="{FF2B5EF4-FFF2-40B4-BE49-F238E27FC236}">
                  <a16:creationId xmlns:a16="http://schemas.microsoft.com/office/drawing/2014/main" id="{300FA9E2-C0A6-7B31-5A84-7E0B602AB007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390650" y="1885951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9" name="Freeform 216">
              <a:extLst>
                <a:ext uri="{FF2B5EF4-FFF2-40B4-BE49-F238E27FC236}">
                  <a16:creationId xmlns:a16="http://schemas.microsoft.com/office/drawing/2014/main" id="{A93D43D4-9E3E-5707-EED4-71871FC32CF3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247775" y="1747838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0" name="Freeform 217">
              <a:extLst>
                <a:ext uri="{FF2B5EF4-FFF2-40B4-BE49-F238E27FC236}">
                  <a16:creationId xmlns:a16="http://schemas.microsoft.com/office/drawing/2014/main" id="{D19E3220-9963-665F-9BD1-E11436A33015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552575" y="1851026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1" name="Freeform 218">
              <a:extLst>
                <a:ext uri="{FF2B5EF4-FFF2-40B4-BE49-F238E27FC236}">
                  <a16:creationId xmlns:a16="http://schemas.microsoft.com/office/drawing/2014/main" id="{10193D9C-538F-678D-6DDC-7EE023C76288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120775" y="1911351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2" name="Freeform 219">
              <a:extLst>
                <a:ext uri="{FF2B5EF4-FFF2-40B4-BE49-F238E27FC236}">
                  <a16:creationId xmlns:a16="http://schemas.microsoft.com/office/drawing/2014/main" id="{A525C9EF-1C38-31AB-0FFC-BABD599BE507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041400" y="1911351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3" name="Freeform 220">
              <a:extLst>
                <a:ext uri="{FF2B5EF4-FFF2-40B4-BE49-F238E27FC236}">
                  <a16:creationId xmlns:a16="http://schemas.microsoft.com/office/drawing/2014/main" id="{AA8A16BE-150B-F661-DDFD-65EBEB05DFA1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089025" y="2022476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4" name="Freeform 221">
              <a:extLst>
                <a:ext uri="{FF2B5EF4-FFF2-40B4-BE49-F238E27FC236}">
                  <a16:creationId xmlns:a16="http://schemas.microsoft.com/office/drawing/2014/main" id="{B9F8768D-992D-2006-63AE-69082730ADE7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120775" y="1984376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5" name="Freeform 222">
              <a:extLst>
                <a:ext uri="{FF2B5EF4-FFF2-40B4-BE49-F238E27FC236}">
                  <a16:creationId xmlns:a16="http://schemas.microsoft.com/office/drawing/2014/main" id="{31E72889-3685-DFF1-F282-604EB1052628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138238" y="2014538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6" name="Freeform 223">
              <a:extLst>
                <a:ext uri="{FF2B5EF4-FFF2-40B4-BE49-F238E27FC236}">
                  <a16:creationId xmlns:a16="http://schemas.microsoft.com/office/drawing/2014/main" id="{BE795D51-D438-E896-BEAE-B82373941CCA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189038" y="2127251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7" name="Freeform 224">
              <a:extLst>
                <a:ext uri="{FF2B5EF4-FFF2-40B4-BE49-F238E27FC236}">
                  <a16:creationId xmlns:a16="http://schemas.microsoft.com/office/drawing/2014/main" id="{C7E5309F-FC3D-CEC8-2CF4-0589DB5C16DF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1270000" y="2181226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8" name="Freeform 225">
              <a:extLst>
                <a:ext uri="{FF2B5EF4-FFF2-40B4-BE49-F238E27FC236}">
                  <a16:creationId xmlns:a16="http://schemas.microsoft.com/office/drawing/2014/main" id="{69755200-E753-37A5-E57D-58CDD97CFFB3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1951038" y="3435351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9" name="Freeform 226">
              <a:extLst>
                <a:ext uri="{FF2B5EF4-FFF2-40B4-BE49-F238E27FC236}">
                  <a16:creationId xmlns:a16="http://schemas.microsoft.com/office/drawing/2014/main" id="{E70279C3-597F-4C3D-07B6-48AD91185E40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497263" y="52388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0" name="Freeform 227">
              <a:extLst>
                <a:ext uri="{FF2B5EF4-FFF2-40B4-BE49-F238E27FC236}">
                  <a16:creationId xmlns:a16="http://schemas.microsoft.com/office/drawing/2014/main" id="{0D040A57-AC90-16A0-98E4-C0686E271C4D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424238" y="282576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1" name="Freeform 228">
              <a:extLst>
                <a:ext uri="{FF2B5EF4-FFF2-40B4-BE49-F238E27FC236}">
                  <a16:creationId xmlns:a16="http://schemas.microsoft.com/office/drawing/2014/main" id="{45DEB9F3-CD8E-F1AF-39ED-07F8784F1F27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3763963" y="1123951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2" name="Freeform 229">
              <a:extLst>
                <a:ext uri="{FF2B5EF4-FFF2-40B4-BE49-F238E27FC236}">
                  <a16:creationId xmlns:a16="http://schemas.microsoft.com/office/drawing/2014/main" id="{65664B14-0732-24E6-05E0-E9DA8F5A0096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471863" y="963613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3" name="Freeform 230">
              <a:extLst>
                <a:ext uri="{FF2B5EF4-FFF2-40B4-BE49-F238E27FC236}">
                  <a16:creationId xmlns:a16="http://schemas.microsoft.com/office/drawing/2014/main" id="{15307C9C-6501-3D22-9CF8-F8970A3FFB69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409950" y="782638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4" name="Freeform 231">
              <a:extLst>
                <a:ext uri="{FF2B5EF4-FFF2-40B4-BE49-F238E27FC236}">
                  <a16:creationId xmlns:a16="http://schemas.microsoft.com/office/drawing/2014/main" id="{8AC2019D-D343-CB87-C4B5-0572B0A95DAF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390900" y="846138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5" name="Freeform 232">
              <a:extLst>
                <a:ext uri="{FF2B5EF4-FFF2-40B4-BE49-F238E27FC236}">
                  <a16:creationId xmlns:a16="http://schemas.microsoft.com/office/drawing/2014/main" id="{11D6C2FA-E249-DA27-5749-5B34BD3773D9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151313" y="1400176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6" name="Freeform 233">
              <a:extLst>
                <a:ext uri="{FF2B5EF4-FFF2-40B4-BE49-F238E27FC236}">
                  <a16:creationId xmlns:a16="http://schemas.microsoft.com/office/drawing/2014/main" id="{1F841EBB-8FC4-F362-C312-F2DB88802CC4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100513" y="1452563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7" name="Freeform 234">
              <a:extLst>
                <a:ext uri="{FF2B5EF4-FFF2-40B4-BE49-F238E27FC236}">
                  <a16:creationId xmlns:a16="http://schemas.microsoft.com/office/drawing/2014/main" id="{68C42F46-B1F8-7F42-732A-62A44A34E1E3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101975" y="706438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8" name="Freeform 235">
              <a:extLst>
                <a:ext uri="{FF2B5EF4-FFF2-40B4-BE49-F238E27FC236}">
                  <a16:creationId xmlns:a16="http://schemas.microsoft.com/office/drawing/2014/main" id="{7048ED97-74BE-DFB5-DB30-01EDBF8DEC5A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2914650" y="1617663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9" name="Freeform 236">
              <a:extLst>
                <a:ext uri="{FF2B5EF4-FFF2-40B4-BE49-F238E27FC236}">
                  <a16:creationId xmlns:a16="http://schemas.microsoft.com/office/drawing/2014/main" id="{116EECE8-2E67-0773-5B89-86F276A3F379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030538" y="1677988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0" name="Freeform 237">
              <a:extLst>
                <a:ext uri="{FF2B5EF4-FFF2-40B4-BE49-F238E27FC236}">
                  <a16:creationId xmlns:a16="http://schemas.microsoft.com/office/drawing/2014/main" id="{B3D8AF15-567B-16CA-0DF9-C93BC3605382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128963" y="1284288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1" name="Freeform 238">
              <a:extLst>
                <a:ext uri="{FF2B5EF4-FFF2-40B4-BE49-F238E27FC236}">
                  <a16:creationId xmlns:a16="http://schemas.microsoft.com/office/drawing/2014/main" id="{9DF14527-837E-693E-CE2D-D3A53E14ED8C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565525" y="1419226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2" name="Freeform 239">
              <a:extLst>
                <a:ext uri="{FF2B5EF4-FFF2-40B4-BE49-F238E27FC236}">
                  <a16:creationId xmlns:a16="http://schemas.microsoft.com/office/drawing/2014/main" id="{1070F6AB-5800-3630-68BA-23CE991AF689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17900" y="1284288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3" name="Freeform 240">
              <a:extLst>
                <a:ext uri="{FF2B5EF4-FFF2-40B4-BE49-F238E27FC236}">
                  <a16:creationId xmlns:a16="http://schemas.microsoft.com/office/drawing/2014/main" id="{25FAED38-A3E6-489F-F799-134198A95670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2900363" y="1595438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4" name="Freeform 241">
              <a:extLst>
                <a:ext uri="{FF2B5EF4-FFF2-40B4-BE49-F238E27FC236}">
                  <a16:creationId xmlns:a16="http://schemas.microsoft.com/office/drawing/2014/main" id="{6E432376-3910-99CD-633F-C825018B2B44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868613" y="403226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5" name="Freeform 242">
              <a:extLst>
                <a:ext uri="{FF2B5EF4-FFF2-40B4-BE49-F238E27FC236}">
                  <a16:creationId xmlns:a16="http://schemas.microsoft.com/office/drawing/2014/main" id="{C24A0F6C-E34B-4AF5-1279-A447052155E1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3660775" y="666751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6" name="Freeform 243">
              <a:extLst>
                <a:ext uri="{FF2B5EF4-FFF2-40B4-BE49-F238E27FC236}">
                  <a16:creationId xmlns:a16="http://schemas.microsoft.com/office/drawing/2014/main" id="{26AFE485-3C9E-E78A-ADC1-BD2FDCC68270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548063" y="330201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7" name="Freeform 244">
              <a:extLst>
                <a:ext uri="{FF2B5EF4-FFF2-40B4-BE49-F238E27FC236}">
                  <a16:creationId xmlns:a16="http://schemas.microsoft.com/office/drawing/2014/main" id="{AEBB825D-4386-6AFA-07E0-E0CABAEEEDCD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686175" y="644526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8" name="Freeform 245">
              <a:extLst>
                <a:ext uri="{FF2B5EF4-FFF2-40B4-BE49-F238E27FC236}">
                  <a16:creationId xmlns:a16="http://schemas.microsoft.com/office/drawing/2014/main" id="{4F73E160-C893-300A-7E28-0EE0177E5878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130550" y="806451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9" name="Freeform 246">
              <a:extLst>
                <a:ext uri="{FF2B5EF4-FFF2-40B4-BE49-F238E27FC236}">
                  <a16:creationId xmlns:a16="http://schemas.microsoft.com/office/drawing/2014/main" id="{1537E935-D0E7-CAC0-7EA2-2D7061AC769C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083050" y="1335088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0" name="Freeform 247">
              <a:extLst>
                <a:ext uri="{FF2B5EF4-FFF2-40B4-BE49-F238E27FC236}">
                  <a16:creationId xmlns:a16="http://schemas.microsoft.com/office/drawing/2014/main" id="{571F7904-F081-701F-E7FE-C9803F6654BA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3690938" y="2127251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1" name="Freeform 248">
              <a:extLst>
                <a:ext uri="{FF2B5EF4-FFF2-40B4-BE49-F238E27FC236}">
                  <a16:creationId xmlns:a16="http://schemas.microsoft.com/office/drawing/2014/main" id="{59F9BC3B-F909-7B04-B965-2CB0878511F4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3627438" y="2295526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2" name="Freeform 249">
              <a:extLst>
                <a:ext uri="{FF2B5EF4-FFF2-40B4-BE49-F238E27FC236}">
                  <a16:creationId xmlns:a16="http://schemas.microsoft.com/office/drawing/2014/main" id="{A6DEBDE3-52F1-2E15-0ACF-03DF70974DEB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563938" y="2395538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3" name="Freeform 250">
              <a:extLst>
                <a:ext uri="{FF2B5EF4-FFF2-40B4-BE49-F238E27FC236}">
                  <a16:creationId xmlns:a16="http://schemas.microsoft.com/office/drawing/2014/main" id="{05B2A973-E362-18CC-D740-B31D19C270DC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546475" y="2395538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4" name="Freeform 251">
              <a:extLst>
                <a:ext uri="{FF2B5EF4-FFF2-40B4-BE49-F238E27FC236}">
                  <a16:creationId xmlns:a16="http://schemas.microsoft.com/office/drawing/2014/main" id="{3CEF27DC-2D6E-9EA5-E500-60D45A9BF66A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079875" y="2800351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5" name="Freeform 252">
              <a:extLst>
                <a:ext uri="{FF2B5EF4-FFF2-40B4-BE49-F238E27FC236}">
                  <a16:creationId xmlns:a16="http://schemas.microsoft.com/office/drawing/2014/main" id="{7E02E68D-E6C3-0878-3AB1-37E10C2C0F5E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814763" y="3040063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6" name="Freeform 253">
              <a:extLst>
                <a:ext uri="{FF2B5EF4-FFF2-40B4-BE49-F238E27FC236}">
                  <a16:creationId xmlns:a16="http://schemas.microsoft.com/office/drawing/2014/main" id="{BAB9EC49-F366-E7C0-B702-30739649A6C3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387850" y="2841626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7" name="Freeform 254">
              <a:extLst>
                <a:ext uri="{FF2B5EF4-FFF2-40B4-BE49-F238E27FC236}">
                  <a16:creationId xmlns:a16="http://schemas.microsoft.com/office/drawing/2014/main" id="{FB10F577-B675-5EFA-C9EA-359BC32B7B53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064000" y="2540001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8" name="Freeform 255">
              <a:extLst>
                <a:ext uri="{FF2B5EF4-FFF2-40B4-BE49-F238E27FC236}">
                  <a16:creationId xmlns:a16="http://schemas.microsoft.com/office/drawing/2014/main" id="{32C291C1-CF64-5A45-954C-E30A29A65EDB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052888" y="2500313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89" name="Freeform 256">
              <a:extLst>
                <a:ext uri="{FF2B5EF4-FFF2-40B4-BE49-F238E27FC236}">
                  <a16:creationId xmlns:a16="http://schemas.microsoft.com/office/drawing/2014/main" id="{72178D48-FE53-F949-2186-4F71845AC5F7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4362450" y="1200151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0" name="Freeform 257">
              <a:extLst>
                <a:ext uri="{FF2B5EF4-FFF2-40B4-BE49-F238E27FC236}">
                  <a16:creationId xmlns:a16="http://schemas.microsoft.com/office/drawing/2014/main" id="{9E14A51F-8EC4-98D2-D885-966E3060328F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386263" y="1857376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1" name="Freeform 258">
              <a:extLst>
                <a:ext uri="{FF2B5EF4-FFF2-40B4-BE49-F238E27FC236}">
                  <a16:creationId xmlns:a16="http://schemas.microsoft.com/office/drawing/2014/main" id="{42079DAA-55FF-814D-99D5-FE9891733EE2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581525" y="1631951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2" name="Freeform 259">
              <a:extLst>
                <a:ext uri="{FF2B5EF4-FFF2-40B4-BE49-F238E27FC236}">
                  <a16:creationId xmlns:a16="http://schemas.microsoft.com/office/drawing/2014/main" id="{700075EB-2CDF-69EA-A366-676DD22F505C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268788" y="1284288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3" name="Freeform 260">
              <a:extLst>
                <a:ext uri="{FF2B5EF4-FFF2-40B4-BE49-F238E27FC236}">
                  <a16:creationId xmlns:a16="http://schemas.microsoft.com/office/drawing/2014/main" id="{536FF81D-96AF-6AC7-B5EA-8658F6F4259C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4768850" y="1244601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4" name="Freeform 261">
              <a:extLst>
                <a:ext uri="{FF2B5EF4-FFF2-40B4-BE49-F238E27FC236}">
                  <a16:creationId xmlns:a16="http://schemas.microsoft.com/office/drawing/2014/main" id="{B2920C90-E02D-3C4A-E004-6FDA88C2B595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800600" y="1293813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5" name="Freeform 262">
              <a:extLst>
                <a:ext uri="{FF2B5EF4-FFF2-40B4-BE49-F238E27FC236}">
                  <a16:creationId xmlns:a16="http://schemas.microsoft.com/office/drawing/2014/main" id="{2CF4853B-3CF1-A47C-34F5-D6DAE28F9E9C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591175" y="1562101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6" name="Freeform 263">
              <a:extLst>
                <a:ext uri="{FF2B5EF4-FFF2-40B4-BE49-F238E27FC236}">
                  <a16:creationId xmlns:a16="http://schemas.microsoft.com/office/drawing/2014/main" id="{65F346DB-2E38-D658-1DD7-1D632632E84A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2914650" y="2071688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7" name="Freeform 264">
              <a:extLst>
                <a:ext uri="{FF2B5EF4-FFF2-40B4-BE49-F238E27FC236}">
                  <a16:creationId xmlns:a16="http://schemas.microsoft.com/office/drawing/2014/main" id="{EB4D4B7A-856A-A546-60CC-C774543743BB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2998788" y="2154238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8" name="Freeform 265">
              <a:extLst>
                <a:ext uri="{FF2B5EF4-FFF2-40B4-BE49-F238E27FC236}">
                  <a16:creationId xmlns:a16="http://schemas.microsoft.com/office/drawing/2014/main" id="{A27703D3-87C6-7AA0-8C3E-73B21EFE0C8A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041650" y="2205038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99" name="Freeform 266">
              <a:extLst>
                <a:ext uri="{FF2B5EF4-FFF2-40B4-BE49-F238E27FC236}">
                  <a16:creationId xmlns:a16="http://schemas.microsoft.com/office/drawing/2014/main" id="{95995ABA-D75E-14E8-8C6F-18E95F1F45E8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255963" y="2124076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0" name="Freeform 267">
              <a:extLst>
                <a:ext uri="{FF2B5EF4-FFF2-40B4-BE49-F238E27FC236}">
                  <a16:creationId xmlns:a16="http://schemas.microsoft.com/office/drawing/2014/main" id="{D6B5F265-B868-7D3B-E2C2-1CEB34D810AB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2908300" y="2039938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1" name="Freeform 268">
              <a:extLst>
                <a:ext uri="{FF2B5EF4-FFF2-40B4-BE49-F238E27FC236}">
                  <a16:creationId xmlns:a16="http://schemas.microsoft.com/office/drawing/2014/main" id="{2FBACDFA-0200-2D8A-4E37-74E4654544F1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3333750" y="2117726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2" name="Freeform 269">
              <a:extLst>
                <a:ext uri="{FF2B5EF4-FFF2-40B4-BE49-F238E27FC236}">
                  <a16:creationId xmlns:a16="http://schemas.microsoft.com/office/drawing/2014/main" id="{0377DDF5-F4D7-E863-228E-D96BC811E7D4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359150" y="2079626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3" name="Freeform 270">
              <a:extLst>
                <a:ext uri="{FF2B5EF4-FFF2-40B4-BE49-F238E27FC236}">
                  <a16:creationId xmlns:a16="http://schemas.microsoft.com/office/drawing/2014/main" id="{6F7A8E11-A3A2-5272-1464-EA3E185D05AA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087813" y="3284538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4" name="Freeform 271">
              <a:extLst>
                <a:ext uri="{FF2B5EF4-FFF2-40B4-BE49-F238E27FC236}">
                  <a16:creationId xmlns:a16="http://schemas.microsoft.com/office/drawing/2014/main" id="{61E35849-EC9C-2653-355E-8671BCEBDACF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3983038" y="338137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5" name="Freeform 272">
              <a:extLst>
                <a:ext uri="{FF2B5EF4-FFF2-40B4-BE49-F238E27FC236}">
                  <a16:creationId xmlns:a16="http://schemas.microsoft.com/office/drawing/2014/main" id="{7776A4C9-87B9-4916-4C4A-8AA13625B0B3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200775" y="1095376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6" name="Freeform 273">
              <a:extLst>
                <a:ext uri="{FF2B5EF4-FFF2-40B4-BE49-F238E27FC236}">
                  <a16:creationId xmlns:a16="http://schemas.microsoft.com/office/drawing/2014/main" id="{690E4CCF-2412-8FD2-965B-E094E078FF9F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272088" y="1509713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7" name="Freeform 274">
              <a:extLst>
                <a:ext uri="{FF2B5EF4-FFF2-40B4-BE49-F238E27FC236}">
                  <a16:creationId xmlns:a16="http://schemas.microsoft.com/office/drawing/2014/main" id="{C185397A-BAD4-93D8-E048-6BBEA449DC4E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487988" y="1565276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8" name="Freeform 275">
              <a:extLst>
                <a:ext uri="{FF2B5EF4-FFF2-40B4-BE49-F238E27FC236}">
                  <a16:creationId xmlns:a16="http://schemas.microsoft.com/office/drawing/2014/main" id="{7F8D2F16-8312-52E6-0FCA-592F9448E082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478463" y="1636713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9" name="Freeform 276">
              <a:extLst>
                <a:ext uri="{FF2B5EF4-FFF2-40B4-BE49-F238E27FC236}">
                  <a16:creationId xmlns:a16="http://schemas.microsoft.com/office/drawing/2014/main" id="{E9164955-AC3C-88ED-AA28-DD7948DDCF8F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795963" y="1752601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0" name="Freeform 277">
              <a:extLst>
                <a:ext uri="{FF2B5EF4-FFF2-40B4-BE49-F238E27FC236}">
                  <a16:creationId xmlns:a16="http://schemas.microsoft.com/office/drawing/2014/main" id="{969ABE50-0F59-7E99-36E2-A2A8E9FA43FA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5878513" y="2003426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1" name="Freeform 278">
              <a:extLst>
                <a:ext uri="{FF2B5EF4-FFF2-40B4-BE49-F238E27FC236}">
                  <a16:creationId xmlns:a16="http://schemas.microsoft.com/office/drawing/2014/main" id="{FE8E1FD5-3EDD-8AB6-FD70-5613986E1D21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280150" y="1239838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2" name="Freeform 279">
              <a:extLst>
                <a:ext uri="{FF2B5EF4-FFF2-40B4-BE49-F238E27FC236}">
                  <a16:creationId xmlns:a16="http://schemas.microsoft.com/office/drawing/2014/main" id="{605EEBAE-BADD-438E-CBA2-DA4B6DA6F3DA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848475" y="2536826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3" name="Freeform 280">
              <a:extLst>
                <a:ext uri="{FF2B5EF4-FFF2-40B4-BE49-F238E27FC236}">
                  <a16:creationId xmlns:a16="http://schemas.microsoft.com/office/drawing/2014/main" id="{C8393DDE-F1EB-CAB2-5608-A674DAB78F2D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040563" y="2520951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4" name="Freeform 281">
              <a:extLst>
                <a:ext uri="{FF2B5EF4-FFF2-40B4-BE49-F238E27FC236}">
                  <a16:creationId xmlns:a16="http://schemas.microsoft.com/office/drawing/2014/main" id="{20C529B4-5A2F-259F-53B7-7DBDED6A2555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5316538" y="2154238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815" name="Group 282">
              <a:extLst>
                <a:ext uri="{FF2B5EF4-FFF2-40B4-BE49-F238E27FC236}">
                  <a16:creationId xmlns:a16="http://schemas.microsoft.com/office/drawing/2014/main" id="{D52FEC98-F046-D584-7CBA-95B745175760}"/>
                </a:ext>
              </a:extLst>
            </p:cNvPr>
            <p:cNvGrpSpPr>
              <a:grpSpLocks/>
            </p:cNvGrpSpPr>
            <p:nvPr>
              <p:custDataLst>
                <p:tags r:id="rId210"/>
              </p:custDataLst>
            </p:nvPr>
          </p:nvGrpSpPr>
          <p:grpSpPr bwMode="auto">
            <a:xfrm>
              <a:off x="6256338" y="1865313"/>
              <a:ext cx="233362" cy="439738"/>
              <a:chOff x="5062" y="2295"/>
              <a:chExt cx="177" cy="279"/>
            </a:xfrm>
            <a:grpFill/>
          </p:grpSpPr>
          <p:sp>
            <p:nvSpPr>
              <p:cNvPr id="1060" name="Freeform 283">
                <a:extLst>
                  <a:ext uri="{FF2B5EF4-FFF2-40B4-BE49-F238E27FC236}">
                    <a16:creationId xmlns:a16="http://schemas.microsoft.com/office/drawing/2014/main" id="{31A031AF-C093-4D2F-4E57-AF4933C22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1" name="Freeform 284">
                <a:extLst>
                  <a:ext uri="{FF2B5EF4-FFF2-40B4-BE49-F238E27FC236}">
                    <a16:creationId xmlns:a16="http://schemas.microsoft.com/office/drawing/2014/main" id="{26323916-3C17-4A35-A09B-2F07C18AC4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2" name="Freeform 285">
                <a:extLst>
                  <a:ext uri="{FF2B5EF4-FFF2-40B4-BE49-F238E27FC236}">
                    <a16:creationId xmlns:a16="http://schemas.microsoft.com/office/drawing/2014/main" id="{10CB13DF-F489-D826-6DB0-7630559CF7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3" name="Freeform 286">
                <a:extLst>
                  <a:ext uri="{FF2B5EF4-FFF2-40B4-BE49-F238E27FC236}">
                    <a16:creationId xmlns:a16="http://schemas.microsoft.com/office/drawing/2014/main" id="{E556E314-DF00-3822-EF73-7FB7C1077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4" name="Freeform 287">
                <a:extLst>
                  <a:ext uri="{FF2B5EF4-FFF2-40B4-BE49-F238E27FC236}">
                    <a16:creationId xmlns:a16="http://schemas.microsoft.com/office/drawing/2014/main" id="{C83F066D-3504-84C0-384D-C7E603F12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5" name="Freeform 288">
                <a:extLst>
                  <a:ext uri="{FF2B5EF4-FFF2-40B4-BE49-F238E27FC236}">
                    <a16:creationId xmlns:a16="http://schemas.microsoft.com/office/drawing/2014/main" id="{448E5340-7EFE-F984-B827-09EC82636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6" name="Freeform 289">
                <a:extLst>
                  <a:ext uri="{FF2B5EF4-FFF2-40B4-BE49-F238E27FC236}">
                    <a16:creationId xmlns:a16="http://schemas.microsoft.com/office/drawing/2014/main" id="{ED8A9B79-5B92-8048-14D5-1BF8229D6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7" name="Freeform 290">
                <a:extLst>
                  <a:ext uri="{FF2B5EF4-FFF2-40B4-BE49-F238E27FC236}">
                    <a16:creationId xmlns:a16="http://schemas.microsoft.com/office/drawing/2014/main" id="{B0B7BFCC-0EA3-F5DB-DBCF-2072FE304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8" name="Freeform 291">
                <a:extLst>
                  <a:ext uri="{FF2B5EF4-FFF2-40B4-BE49-F238E27FC236}">
                    <a16:creationId xmlns:a16="http://schemas.microsoft.com/office/drawing/2014/main" id="{7ED70801-DAE4-8429-2D40-2B3EEE62C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69" name="Freeform 292">
                <a:extLst>
                  <a:ext uri="{FF2B5EF4-FFF2-40B4-BE49-F238E27FC236}">
                    <a16:creationId xmlns:a16="http://schemas.microsoft.com/office/drawing/2014/main" id="{95D57B3D-C309-5D59-6EDE-4261C3A33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0" name="Freeform 293">
                <a:extLst>
                  <a:ext uri="{FF2B5EF4-FFF2-40B4-BE49-F238E27FC236}">
                    <a16:creationId xmlns:a16="http://schemas.microsoft.com/office/drawing/2014/main" id="{F845FD33-4335-9282-B495-28268E27A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1" name="Freeform 294">
                <a:extLst>
                  <a:ext uri="{FF2B5EF4-FFF2-40B4-BE49-F238E27FC236}">
                    <a16:creationId xmlns:a16="http://schemas.microsoft.com/office/drawing/2014/main" id="{A76FE287-44F5-06C0-6C6D-429B2DB0B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2" name="Freeform 295">
                <a:extLst>
                  <a:ext uri="{FF2B5EF4-FFF2-40B4-BE49-F238E27FC236}">
                    <a16:creationId xmlns:a16="http://schemas.microsoft.com/office/drawing/2014/main" id="{A8B479C7-1C9D-6793-FBA4-B550A64D2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3" name="Freeform 296">
                <a:extLst>
                  <a:ext uri="{FF2B5EF4-FFF2-40B4-BE49-F238E27FC236}">
                    <a16:creationId xmlns:a16="http://schemas.microsoft.com/office/drawing/2014/main" id="{B2B1A4A7-94E4-0818-6F95-9AE033A4A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4" name="Freeform 297">
                <a:extLst>
                  <a:ext uri="{FF2B5EF4-FFF2-40B4-BE49-F238E27FC236}">
                    <a16:creationId xmlns:a16="http://schemas.microsoft.com/office/drawing/2014/main" id="{6BBEEF76-258B-8F8B-EB0D-7E6B33F6D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5" name="Line 298">
                <a:extLst>
                  <a:ext uri="{FF2B5EF4-FFF2-40B4-BE49-F238E27FC236}">
                    <a16:creationId xmlns:a16="http://schemas.microsoft.com/office/drawing/2014/main" id="{58DE7A72-8908-6C66-428B-CB6D029E7D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6" name="Freeform 299">
                <a:extLst>
                  <a:ext uri="{FF2B5EF4-FFF2-40B4-BE49-F238E27FC236}">
                    <a16:creationId xmlns:a16="http://schemas.microsoft.com/office/drawing/2014/main" id="{03291B31-3912-EE6A-523D-A4B3B2A7D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7" name="Line 300">
                <a:extLst>
                  <a:ext uri="{FF2B5EF4-FFF2-40B4-BE49-F238E27FC236}">
                    <a16:creationId xmlns:a16="http://schemas.microsoft.com/office/drawing/2014/main" id="{E85403A2-C6FF-187B-A4E3-BC9A2C70A1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8" name="Freeform 301">
                <a:extLst>
                  <a:ext uri="{FF2B5EF4-FFF2-40B4-BE49-F238E27FC236}">
                    <a16:creationId xmlns:a16="http://schemas.microsoft.com/office/drawing/2014/main" id="{BCD7D85E-A7DD-FA4C-2F01-A835FB19A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79" name="Freeform 302">
                <a:extLst>
                  <a:ext uri="{FF2B5EF4-FFF2-40B4-BE49-F238E27FC236}">
                    <a16:creationId xmlns:a16="http://schemas.microsoft.com/office/drawing/2014/main" id="{37B6B383-A0BB-C67E-4721-4C104AC51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0" name="Freeform 303">
                <a:extLst>
                  <a:ext uri="{FF2B5EF4-FFF2-40B4-BE49-F238E27FC236}">
                    <a16:creationId xmlns:a16="http://schemas.microsoft.com/office/drawing/2014/main" id="{0B30E806-2A86-11B6-13D0-52E1D391C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1" name="Freeform 304">
                <a:extLst>
                  <a:ext uri="{FF2B5EF4-FFF2-40B4-BE49-F238E27FC236}">
                    <a16:creationId xmlns:a16="http://schemas.microsoft.com/office/drawing/2014/main" id="{62A73F40-C27B-1D54-6104-F396879CD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2" name="Freeform 305">
                <a:extLst>
                  <a:ext uri="{FF2B5EF4-FFF2-40B4-BE49-F238E27FC236}">
                    <a16:creationId xmlns:a16="http://schemas.microsoft.com/office/drawing/2014/main" id="{A4B166F9-A2AD-0AF3-32B6-3ABFB76CB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83" name="Line 306">
                <a:extLst>
                  <a:ext uri="{FF2B5EF4-FFF2-40B4-BE49-F238E27FC236}">
                    <a16:creationId xmlns:a16="http://schemas.microsoft.com/office/drawing/2014/main" id="{F92B7172-6E4A-6CD5-3A2D-6489B51734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816" name="Freeform 307">
              <a:extLst>
                <a:ext uri="{FF2B5EF4-FFF2-40B4-BE49-F238E27FC236}">
                  <a16:creationId xmlns:a16="http://schemas.microsoft.com/office/drawing/2014/main" id="{0A1DFFDE-3458-6F58-57A7-918907D30DFB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600825" y="2684463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7" name="Freeform 308">
              <a:extLst>
                <a:ext uri="{FF2B5EF4-FFF2-40B4-BE49-F238E27FC236}">
                  <a16:creationId xmlns:a16="http://schemas.microsoft.com/office/drawing/2014/main" id="{FE58C483-EE01-ACCF-15D1-A4ABE7032F7B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677025" y="2624138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8" name="Freeform 309">
              <a:extLst>
                <a:ext uri="{FF2B5EF4-FFF2-40B4-BE49-F238E27FC236}">
                  <a16:creationId xmlns:a16="http://schemas.microsoft.com/office/drawing/2014/main" id="{120A3EFD-4CFE-646D-6849-DB65C08BF4A2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724650" y="2503488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9" name="Freeform 310">
              <a:extLst>
                <a:ext uri="{FF2B5EF4-FFF2-40B4-BE49-F238E27FC236}">
                  <a16:creationId xmlns:a16="http://schemas.microsoft.com/office/drawing/2014/main" id="{96F43016-C548-CE49-CA2B-52883578F63E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708775" y="2473326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0" name="Freeform 311">
              <a:extLst>
                <a:ext uri="{FF2B5EF4-FFF2-40B4-BE49-F238E27FC236}">
                  <a16:creationId xmlns:a16="http://schemas.microsoft.com/office/drawing/2014/main" id="{BF18A69F-7669-C5AB-99DE-9CC0A7B5ED8B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534150" y="2370138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1" name="Freeform 312">
              <a:extLst>
                <a:ext uri="{FF2B5EF4-FFF2-40B4-BE49-F238E27FC236}">
                  <a16:creationId xmlns:a16="http://schemas.microsoft.com/office/drawing/2014/main" id="{8A74D8EB-E2C5-FAF1-4139-8D8A106C1FF8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6461125" y="2505076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2" name="Freeform 313">
              <a:extLst>
                <a:ext uri="{FF2B5EF4-FFF2-40B4-BE49-F238E27FC236}">
                  <a16:creationId xmlns:a16="http://schemas.microsoft.com/office/drawing/2014/main" id="{A4451EC6-98C1-BD0E-8494-4874A1E91756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469063" y="2690813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3" name="Freeform 314">
              <a:extLst>
                <a:ext uri="{FF2B5EF4-FFF2-40B4-BE49-F238E27FC236}">
                  <a16:creationId xmlns:a16="http://schemas.microsoft.com/office/drawing/2014/main" id="{D516ABAE-45F4-F5AA-567E-922BE96C09A0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581775" y="2509838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4" name="Freeform 315">
              <a:extLst>
                <a:ext uri="{FF2B5EF4-FFF2-40B4-BE49-F238E27FC236}">
                  <a16:creationId xmlns:a16="http://schemas.microsoft.com/office/drawing/2014/main" id="{6F69EFCE-E69D-DEE1-B9FF-667D4EF85519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442075" y="2505076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5" name="Freeform 316">
              <a:extLst>
                <a:ext uri="{FF2B5EF4-FFF2-40B4-BE49-F238E27FC236}">
                  <a16:creationId xmlns:a16="http://schemas.microsoft.com/office/drawing/2014/main" id="{1B646B21-857E-C011-34A6-16AD72D02843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486525" y="2552701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6" name="Freeform 317">
              <a:extLst>
                <a:ext uri="{FF2B5EF4-FFF2-40B4-BE49-F238E27FC236}">
                  <a16:creationId xmlns:a16="http://schemas.microsoft.com/office/drawing/2014/main" id="{E4ED63ED-A4FA-0FC3-EB10-705573B8499D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288088" y="2755901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7" name="Freeform 318">
              <a:extLst>
                <a:ext uri="{FF2B5EF4-FFF2-40B4-BE49-F238E27FC236}">
                  <a16:creationId xmlns:a16="http://schemas.microsoft.com/office/drawing/2014/main" id="{29063A71-A81F-3DD6-8176-7327C0F87EE6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386513" y="2794001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8" name="Freeform 319">
              <a:extLst>
                <a:ext uri="{FF2B5EF4-FFF2-40B4-BE49-F238E27FC236}">
                  <a16:creationId xmlns:a16="http://schemas.microsoft.com/office/drawing/2014/main" id="{EB0C9DC3-9190-0861-6CD0-1E2FAB164FB7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219825" y="2725738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9" name="Freeform 320">
              <a:extLst>
                <a:ext uri="{FF2B5EF4-FFF2-40B4-BE49-F238E27FC236}">
                  <a16:creationId xmlns:a16="http://schemas.microsoft.com/office/drawing/2014/main" id="{C2F34330-DEEF-F1D0-EA1E-951EA5E84EA7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264275" y="2711451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0" name="Freeform 321">
              <a:extLst>
                <a:ext uri="{FF2B5EF4-FFF2-40B4-BE49-F238E27FC236}">
                  <a16:creationId xmlns:a16="http://schemas.microsoft.com/office/drawing/2014/main" id="{D01F6443-A152-B589-1ADC-BB6F46B3CCC8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6316663" y="2720976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1" name="Freeform 322">
              <a:extLst>
                <a:ext uri="{FF2B5EF4-FFF2-40B4-BE49-F238E27FC236}">
                  <a16:creationId xmlns:a16="http://schemas.microsoft.com/office/drawing/2014/main" id="{800F9297-BD66-0C67-22F4-6DDAA586972A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369050" y="2725738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2" name="Freeform 323">
              <a:extLst>
                <a:ext uri="{FF2B5EF4-FFF2-40B4-BE49-F238E27FC236}">
                  <a16:creationId xmlns:a16="http://schemas.microsoft.com/office/drawing/2014/main" id="{0B784886-0F2E-E5C0-F333-43735EA41C4F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442075" y="2717801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3" name="Freeform 324">
              <a:extLst>
                <a:ext uri="{FF2B5EF4-FFF2-40B4-BE49-F238E27FC236}">
                  <a16:creationId xmlns:a16="http://schemas.microsoft.com/office/drawing/2014/main" id="{CC02394D-FD39-10E6-FA99-81B7675B4F4F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016625" y="2532063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4" name="Freeform 325">
              <a:extLst>
                <a:ext uri="{FF2B5EF4-FFF2-40B4-BE49-F238E27FC236}">
                  <a16:creationId xmlns:a16="http://schemas.microsoft.com/office/drawing/2014/main" id="{72B42764-2991-A583-C8DB-0F2FB149ED26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5962650" y="2505076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5" name="Freeform 326">
              <a:extLst>
                <a:ext uri="{FF2B5EF4-FFF2-40B4-BE49-F238E27FC236}">
                  <a16:creationId xmlns:a16="http://schemas.microsoft.com/office/drawing/2014/main" id="{FC988CD4-8A7B-4EDD-3841-E27D8322C446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5797550" y="2489201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6" name="Line 327" descr="Horizontal dunkel">
              <a:extLst>
                <a:ext uri="{FF2B5EF4-FFF2-40B4-BE49-F238E27FC236}">
                  <a16:creationId xmlns:a16="http://schemas.microsoft.com/office/drawing/2014/main" id="{96C561AA-C4C7-8628-D693-ADF6ED698D33}"/>
                </a:ext>
              </a:extLst>
            </p:cNvPr>
            <p:cNvSpPr>
              <a:spLocks noChangeShapeType="1"/>
            </p:cNvSpPr>
            <p:nvPr>
              <p:custDataLst>
                <p:tags r:id="rId231"/>
              </p:custDataLst>
            </p:nvPr>
          </p:nvSpPr>
          <p:spPr bwMode="auto">
            <a:xfrm>
              <a:off x="5822950" y="2525713"/>
              <a:ext cx="4763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7" name="Freeform 328">
              <a:extLst>
                <a:ext uri="{FF2B5EF4-FFF2-40B4-BE49-F238E27FC236}">
                  <a16:creationId xmlns:a16="http://schemas.microsoft.com/office/drawing/2014/main" id="{D7A953F8-56B4-ABE6-B41F-351EE4B6FB4C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5819775" y="2525713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8" name="Freeform 329">
              <a:extLst>
                <a:ext uri="{FF2B5EF4-FFF2-40B4-BE49-F238E27FC236}">
                  <a16:creationId xmlns:a16="http://schemas.microsoft.com/office/drawing/2014/main" id="{B1AB4D57-593F-11AF-4440-3D628FDE6093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5721350" y="2370138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9" name="Freeform 330">
              <a:extLst>
                <a:ext uri="{FF2B5EF4-FFF2-40B4-BE49-F238E27FC236}">
                  <a16:creationId xmlns:a16="http://schemas.microsoft.com/office/drawing/2014/main" id="{4E36DC93-8B62-BCFE-CF1E-5975FB9D06A6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249988" y="2733676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0" name="Freeform 331">
              <a:extLst>
                <a:ext uri="{FF2B5EF4-FFF2-40B4-BE49-F238E27FC236}">
                  <a16:creationId xmlns:a16="http://schemas.microsoft.com/office/drawing/2014/main" id="{BAAFEFCA-57BE-7770-6C47-4E2D17A404AA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765925" y="2690813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1" name="Freeform 332">
              <a:extLst>
                <a:ext uri="{FF2B5EF4-FFF2-40B4-BE49-F238E27FC236}">
                  <a16:creationId xmlns:a16="http://schemas.microsoft.com/office/drawing/2014/main" id="{2B1B55BA-EFEB-7732-8E51-286FB6A00A00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5703888" y="2273301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2" name="Freeform 333">
              <a:extLst>
                <a:ext uri="{FF2B5EF4-FFF2-40B4-BE49-F238E27FC236}">
                  <a16:creationId xmlns:a16="http://schemas.microsoft.com/office/drawing/2014/main" id="{4BD6261B-75BA-B069-52A4-21B4E51F842B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6045200" y="2322513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3" name="Freeform 334">
              <a:extLst>
                <a:ext uri="{FF2B5EF4-FFF2-40B4-BE49-F238E27FC236}">
                  <a16:creationId xmlns:a16="http://schemas.microsoft.com/office/drawing/2014/main" id="{0C4DA2F8-54DD-B062-5527-8A2DBD11FD19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6400800" y="2728913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4" name="Freeform 335">
              <a:extLst>
                <a:ext uri="{FF2B5EF4-FFF2-40B4-BE49-F238E27FC236}">
                  <a16:creationId xmlns:a16="http://schemas.microsoft.com/office/drawing/2014/main" id="{B1C59649-1E30-B062-9C3D-102F15EE6F2D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516688" y="2395538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5" name="Freeform 336">
              <a:extLst>
                <a:ext uri="{FF2B5EF4-FFF2-40B4-BE49-F238E27FC236}">
                  <a16:creationId xmlns:a16="http://schemas.microsoft.com/office/drawing/2014/main" id="{BD472C37-EC89-194B-E7D6-69E565E281F6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529388" y="2540001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6" name="Freeform 337">
              <a:extLst>
                <a:ext uri="{FF2B5EF4-FFF2-40B4-BE49-F238E27FC236}">
                  <a16:creationId xmlns:a16="http://schemas.microsoft.com/office/drawing/2014/main" id="{C4C6394E-0E8A-DB06-E824-83A7FE14611A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605588" y="2463801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7" name="Freeform 338">
              <a:extLst>
                <a:ext uri="{FF2B5EF4-FFF2-40B4-BE49-F238E27FC236}">
                  <a16:creationId xmlns:a16="http://schemas.microsoft.com/office/drawing/2014/main" id="{79E74F05-43CD-51C3-1A95-6F38BAECD546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294438" y="2401888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8" name="Freeform 339">
              <a:extLst>
                <a:ext uri="{FF2B5EF4-FFF2-40B4-BE49-F238E27FC236}">
                  <a16:creationId xmlns:a16="http://schemas.microsoft.com/office/drawing/2014/main" id="{71E13146-BD5A-ACD3-BE9B-D44F9B9B20D7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5959475" y="2643188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9" name="Freeform 340">
              <a:extLst>
                <a:ext uri="{FF2B5EF4-FFF2-40B4-BE49-F238E27FC236}">
                  <a16:creationId xmlns:a16="http://schemas.microsoft.com/office/drawing/2014/main" id="{F2756312-AD8F-2E62-E466-26B2E5C1486F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640513" y="2500313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0" name="Freeform 341">
              <a:extLst>
                <a:ext uri="{FF2B5EF4-FFF2-40B4-BE49-F238E27FC236}">
                  <a16:creationId xmlns:a16="http://schemas.microsoft.com/office/drawing/2014/main" id="{4CFB9778-4012-0768-560C-A1F2DBB76471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172075" y="1331913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1" name="Freeform 342">
              <a:extLst>
                <a:ext uri="{FF2B5EF4-FFF2-40B4-BE49-F238E27FC236}">
                  <a16:creationId xmlns:a16="http://schemas.microsoft.com/office/drawing/2014/main" id="{A47962B9-3E26-2036-A05C-5DE2B02EDA52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3629025" y="736601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2" name="Freeform 343">
              <a:extLst>
                <a:ext uri="{FF2B5EF4-FFF2-40B4-BE49-F238E27FC236}">
                  <a16:creationId xmlns:a16="http://schemas.microsoft.com/office/drawing/2014/main" id="{C16E1FA9-C1BA-9E74-4A64-8C49105FDCEF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692525" y="941388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3" name="Freeform 344">
              <a:extLst>
                <a:ext uri="{FF2B5EF4-FFF2-40B4-BE49-F238E27FC236}">
                  <a16:creationId xmlns:a16="http://schemas.microsoft.com/office/drawing/2014/main" id="{E9BC3B7C-58F9-A84C-ECC6-E0E1B38C7532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792538" y="596901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4" name="Freeform 345">
              <a:extLst>
                <a:ext uri="{FF2B5EF4-FFF2-40B4-BE49-F238E27FC236}">
                  <a16:creationId xmlns:a16="http://schemas.microsoft.com/office/drawing/2014/main" id="{4AFEFE2B-A255-38BB-13AF-A8CE8F488F05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3805238" y="944563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5" name="Freeform 346">
              <a:extLst>
                <a:ext uri="{FF2B5EF4-FFF2-40B4-BE49-F238E27FC236}">
                  <a16:creationId xmlns:a16="http://schemas.microsoft.com/office/drawing/2014/main" id="{052C085E-3EBC-9159-989D-C48C909F8D19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1804988" y="1982788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6" name="Freeform 347">
              <a:extLst>
                <a:ext uri="{FF2B5EF4-FFF2-40B4-BE49-F238E27FC236}">
                  <a16:creationId xmlns:a16="http://schemas.microsoft.com/office/drawing/2014/main" id="{07BFF01B-872F-AEF5-0A3D-B2976A0815A1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3910013" y="936626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7" name="Freeform 348">
              <a:extLst>
                <a:ext uri="{FF2B5EF4-FFF2-40B4-BE49-F238E27FC236}">
                  <a16:creationId xmlns:a16="http://schemas.microsoft.com/office/drawing/2014/main" id="{5F69C2BA-3DB1-40AE-7316-005F9CB15F56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827463" y="819151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8" name="Freeform 349">
              <a:extLst>
                <a:ext uri="{FF2B5EF4-FFF2-40B4-BE49-F238E27FC236}">
                  <a16:creationId xmlns:a16="http://schemas.microsoft.com/office/drawing/2014/main" id="{E3449B0D-EFC4-517F-440C-542316C32F15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338638" y="1162051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9" name="Freeform 350">
              <a:extLst>
                <a:ext uri="{FF2B5EF4-FFF2-40B4-BE49-F238E27FC236}">
                  <a16:creationId xmlns:a16="http://schemas.microsoft.com/office/drawing/2014/main" id="{C4465003-E64A-75B1-64E6-E9DA1E25D8AE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881563" y="1176338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0" name="Freeform 351">
              <a:extLst>
                <a:ext uri="{FF2B5EF4-FFF2-40B4-BE49-F238E27FC236}">
                  <a16:creationId xmlns:a16="http://schemas.microsoft.com/office/drawing/2014/main" id="{07906F85-876F-CB40-9E44-8D1539E355B8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930775" y="1104901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1" name="Freeform 352">
              <a:extLst>
                <a:ext uri="{FF2B5EF4-FFF2-40B4-BE49-F238E27FC236}">
                  <a16:creationId xmlns:a16="http://schemas.microsoft.com/office/drawing/2014/main" id="{497BD500-E94B-CA26-5B3F-3C57669FBDE2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537075" y="1120776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2" name="Freeform 353">
              <a:extLst>
                <a:ext uri="{FF2B5EF4-FFF2-40B4-BE49-F238E27FC236}">
                  <a16:creationId xmlns:a16="http://schemas.microsoft.com/office/drawing/2014/main" id="{AD315549-4A1A-3A20-BE03-B63B10DDCC5F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3746500" y="1008063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3" name="Freeform 354">
              <a:extLst>
                <a:ext uri="{FF2B5EF4-FFF2-40B4-BE49-F238E27FC236}">
                  <a16:creationId xmlns:a16="http://schemas.microsoft.com/office/drawing/2014/main" id="{FDD33038-B99F-D8A5-170F-0BB6EFADD13D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3794125" y="1116013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4" name="Freeform 355">
              <a:extLst>
                <a:ext uri="{FF2B5EF4-FFF2-40B4-BE49-F238E27FC236}">
                  <a16:creationId xmlns:a16="http://schemas.microsoft.com/office/drawing/2014/main" id="{2CB5C376-AE09-77B7-3B9F-58DC85E49C19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3878263" y="1739901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5" name="Freeform 356">
              <a:extLst>
                <a:ext uri="{FF2B5EF4-FFF2-40B4-BE49-F238E27FC236}">
                  <a16:creationId xmlns:a16="http://schemas.microsoft.com/office/drawing/2014/main" id="{88DC764C-D5E8-7B6B-C37D-CA6F0448C575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362450" y="2079626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6" name="Freeform 357">
              <a:extLst>
                <a:ext uri="{FF2B5EF4-FFF2-40B4-BE49-F238E27FC236}">
                  <a16:creationId xmlns:a16="http://schemas.microsoft.com/office/drawing/2014/main" id="{C12A667B-E1E3-4BB8-8E66-956881452F3F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370388" y="2066926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7" name="Freeform 358">
              <a:extLst>
                <a:ext uri="{FF2B5EF4-FFF2-40B4-BE49-F238E27FC236}">
                  <a16:creationId xmlns:a16="http://schemas.microsoft.com/office/drawing/2014/main" id="{BFED2848-C32D-6216-DD0F-DB8434053BD5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168775" y="1978026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8" name="Line 359">
              <a:extLst>
                <a:ext uri="{FF2B5EF4-FFF2-40B4-BE49-F238E27FC236}">
                  <a16:creationId xmlns:a16="http://schemas.microsoft.com/office/drawing/2014/main" id="{71EB271F-3E99-1A7F-E683-08B5BD285520}"/>
                </a:ext>
              </a:extLst>
            </p:cNvPr>
            <p:cNvSpPr>
              <a:spLocks noChangeShapeType="1"/>
            </p:cNvSpPr>
            <p:nvPr>
              <p:custDataLst>
                <p:tags r:id="rId263"/>
              </p:custDataLst>
            </p:nvPr>
          </p:nvSpPr>
          <p:spPr bwMode="auto">
            <a:xfrm flipH="1">
              <a:off x="1028700" y="2497138"/>
              <a:ext cx="4763" cy="793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9" name="Freeform 360">
              <a:extLst>
                <a:ext uri="{FF2B5EF4-FFF2-40B4-BE49-F238E27FC236}">
                  <a16:creationId xmlns:a16="http://schemas.microsoft.com/office/drawing/2014/main" id="{53649B41-F4F8-A26D-A17F-5125B19B9EDF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028700" y="2505076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0" name="Freeform 361">
              <a:extLst>
                <a:ext uri="{FF2B5EF4-FFF2-40B4-BE49-F238E27FC236}">
                  <a16:creationId xmlns:a16="http://schemas.microsoft.com/office/drawing/2014/main" id="{FF6B9B1B-D778-40D5-E1EF-CC167E9FDCC4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1036638" y="2492376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871" name="Group 362">
              <a:extLst>
                <a:ext uri="{FF2B5EF4-FFF2-40B4-BE49-F238E27FC236}">
                  <a16:creationId xmlns:a16="http://schemas.microsoft.com/office/drawing/2014/main" id="{846451CA-452D-5D5B-ECE9-40867508C1ED}"/>
                </a:ext>
              </a:extLst>
            </p:cNvPr>
            <p:cNvGrpSpPr>
              <a:grpSpLocks/>
            </p:cNvGrpSpPr>
            <p:nvPr>
              <p:custDataLst>
                <p:tags r:id="rId266"/>
              </p:custDataLst>
            </p:nvPr>
          </p:nvGrpSpPr>
          <p:grpSpPr bwMode="auto">
            <a:xfrm>
              <a:off x="1028700" y="2427288"/>
              <a:ext cx="417513" cy="201613"/>
              <a:chOff x="912" y="2626"/>
              <a:chExt cx="311" cy="127"/>
            </a:xfrm>
            <a:grpFill/>
          </p:grpSpPr>
          <p:sp>
            <p:nvSpPr>
              <p:cNvPr id="1057" name="Freeform 363">
                <a:extLst>
                  <a:ext uri="{FF2B5EF4-FFF2-40B4-BE49-F238E27FC236}">
                    <a16:creationId xmlns:a16="http://schemas.microsoft.com/office/drawing/2014/main" id="{C6B7F9CA-BB90-4A68-447F-6CD0EE31E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8" name="Freeform 364">
                <a:extLst>
                  <a:ext uri="{FF2B5EF4-FFF2-40B4-BE49-F238E27FC236}">
                    <a16:creationId xmlns:a16="http://schemas.microsoft.com/office/drawing/2014/main" id="{5ED046A6-174F-086D-DC76-E6A3A6A68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9" name="Freeform 365">
                <a:extLst>
                  <a:ext uri="{FF2B5EF4-FFF2-40B4-BE49-F238E27FC236}">
                    <a16:creationId xmlns:a16="http://schemas.microsoft.com/office/drawing/2014/main" id="{61DB2A20-0EC2-B4FD-84C0-816B0F343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872" name="Freeform 366">
              <a:extLst>
                <a:ext uri="{FF2B5EF4-FFF2-40B4-BE49-F238E27FC236}">
                  <a16:creationId xmlns:a16="http://schemas.microsoft.com/office/drawing/2014/main" id="{9302AD60-12A5-1343-B831-8F96A5114DF1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676775" y="3144838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3" name="Freeform 367">
              <a:extLst>
                <a:ext uri="{FF2B5EF4-FFF2-40B4-BE49-F238E27FC236}">
                  <a16:creationId xmlns:a16="http://schemas.microsoft.com/office/drawing/2014/main" id="{0208403E-ED10-6A12-3D1C-66A9FC71F111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648200" y="3171826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874" name="Group 368">
              <a:extLst>
                <a:ext uri="{FF2B5EF4-FFF2-40B4-BE49-F238E27FC236}">
                  <a16:creationId xmlns:a16="http://schemas.microsoft.com/office/drawing/2014/main" id="{7973BE6C-B8AF-FF3E-A936-E9C4B09D60EC}"/>
                </a:ext>
              </a:extLst>
            </p:cNvPr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4489450" y="2663826"/>
              <a:ext cx="168275" cy="103187"/>
              <a:chOff x="3481" y="2773"/>
              <a:chExt cx="125" cy="65"/>
            </a:xfrm>
            <a:grpFill/>
          </p:grpSpPr>
          <p:sp>
            <p:nvSpPr>
              <p:cNvPr id="1046" name="Freeform 369">
                <a:extLst>
                  <a:ext uri="{FF2B5EF4-FFF2-40B4-BE49-F238E27FC236}">
                    <a16:creationId xmlns:a16="http://schemas.microsoft.com/office/drawing/2014/main" id="{5E96B746-6955-D21E-40AA-226B327B3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7" name="Line 370">
                <a:extLst>
                  <a:ext uri="{FF2B5EF4-FFF2-40B4-BE49-F238E27FC236}">
                    <a16:creationId xmlns:a16="http://schemas.microsoft.com/office/drawing/2014/main" id="{BDCA4D2C-14CA-8460-54E6-290DE3C46A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8" name="Freeform 371">
                <a:extLst>
                  <a:ext uri="{FF2B5EF4-FFF2-40B4-BE49-F238E27FC236}">
                    <a16:creationId xmlns:a16="http://schemas.microsoft.com/office/drawing/2014/main" id="{D61188B5-EBB3-C563-ADBA-5A090785C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9" name="Freeform 372">
                <a:extLst>
                  <a:ext uri="{FF2B5EF4-FFF2-40B4-BE49-F238E27FC236}">
                    <a16:creationId xmlns:a16="http://schemas.microsoft.com/office/drawing/2014/main" id="{41C7B404-1F61-1825-B1BC-7F9CB99F1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0" name="Freeform 373">
                <a:extLst>
                  <a:ext uri="{FF2B5EF4-FFF2-40B4-BE49-F238E27FC236}">
                    <a16:creationId xmlns:a16="http://schemas.microsoft.com/office/drawing/2014/main" id="{50A09CF9-8B24-E197-7A3E-2AF1DAE7D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1" name="Line 374">
                <a:extLst>
                  <a:ext uri="{FF2B5EF4-FFF2-40B4-BE49-F238E27FC236}">
                    <a16:creationId xmlns:a16="http://schemas.microsoft.com/office/drawing/2014/main" id="{779948EC-A928-17F7-C77F-7A83AC193F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2" name="Freeform 375">
                <a:extLst>
                  <a:ext uri="{FF2B5EF4-FFF2-40B4-BE49-F238E27FC236}">
                    <a16:creationId xmlns:a16="http://schemas.microsoft.com/office/drawing/2014/main" id="{47B4141D-35E4-CD77-0ECB-E7BD97A00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3" name="Freeform 376">
                <a:extLst>
                  <a:ext uri="{FF2B5EF4-FFF2-40B4-BE49-F238E27FC236}">
                    <a16:creationId xmlns:a16="http://schemas.microsoft.com/office/drawing/2014/main" id="{C35D1B5D-AA0A-E87C-5934-DA30CF121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4" name="Freeform 377">
                <a:extLst>
                  <a:ext uri="{FF2B5EF4-FFF2-40B4-BE49-F238E27FC236}">
                    <a16:creationId xmlns:a16="http://schemas.microsoft.com/office/drawing/2014/main" id="{428726DE-B42F-A7BF-6F3E-18462EBCE2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5" name="Freeform 378">
                <a:extLst>
                  <a:ext uri="{FF2B5EF4-FFF2-40B4-BE49-F238E27FC236}">
                    <a16:creationId xmlns:a16="http://schemas.microsoft.com/office/drawing/2014/main" id="{8A07D7E7-AEDA-1A17-3B75-E5D020271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56" name="Freeform 379">
                <a:extLst>
                  <a:ext uri="{FF2B5EF4-FFF2-40B4-BE49-F238E27FC236}">
                    <a16:creationId xmlns:a16="http://schemas.microsoft.com/office/drawing/2014/main" id="{2D20FFF9-1F28-38C9-35C2-0F0394D0EA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875" name="Freeform 380">
              <a:extLst>
                <a:ext uri="{FF2B5EF4-FFF2-40B4-BE49-F238E27FC236}">
                  <a16:creationId xmlns:a16="http://schemas.microsoft.com/office/drawing/2014/main" id="{FFCF7094-3DB5-335D-9BDA-99A82E111CD3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3617913" y="2655888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6" name="Freeform 381">
              <a:extLst>
                <a:ext uri="{FF2B5EF4-FFF2-40B4-BE49-F238E27FC236}">
                  <a16:creationId xmlns:a16="http://schemas.microsoft.com/office/drawing/2014/main" id="{FFAC9F2A-04EE-E5D1-EAAD-5748940637D2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3629025" y="2628901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7" name="Freeform 382">
              <a:extLst>
                <a:ext uri="{FF2B5EF4-FFF2-40B4-BE49-F238E27FC236}">
                  <a16:creationId xmlns:a16="http://schemas.microsoft.com/office/drawing/2014/main" id="{DEDC2C43-7EE6-632A-95BF-0BF67080F6C2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3730625" y="3171826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8" name="Freeform 383">
              <a:extLst>
                <a:ext uri="{FF2B5EF4-FFF2-40B4-BE49-F238E27FC236}">
                  <a16:creationId xmlns:a16="http://schemas.microsoft.com/office/drawing/2014/main" id="{E8CDF619-6C6D-27ED-D824-798D186A8ADF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3878263" y="1739901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879" name="Group 384">
              <a:extLst>
                <a:ext uri="{FF2B5EF4-FFF2-40B4-BE49-F238E27FC236}">
                  <a16:creationId xmlns:a16="http://schemas.microsoft.com/office/drawing/2014/main" id="{D63A41D8-694A-4338-9B05-818914519014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662238" y="1941513"/>
              <a:ext cx="80962" cy="82550"/>
              <a:chOff x="2352" y="2343"/>
              <a:chExt cx="65" cy="53"/>
            </a:xfrm>
            <a:grpFill/>
          </p:grpSpPr>
          <p:sp>
            <p:nvSpPr>
              <p:cNvPr id="1040" name="Freeform 385">
                <a:extLst>
                  <a:ext uri="{FF2B5EF4-FFF2-40B4-BE49-F238E27FC236}">
                    <a16:creationId xmlns:a16="http://schemas.microsoft.com/office/drawing/2014/main" id="{B17ECF62-05F7-494E-6B16-169CB3882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1" name="Freeform 386">
                <a:extLst>
                  <a:ext uri="{FF2B5EF4-FFF2-40B4-BE49-F238E27FC236}">
                    <a16:creationId xmlns:a16="http://schemas.microsoft.com/office/drawing/2014/main" id="{DCA695D1-E5D9-9FB8-C094-219F6C7F4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2" name="Freeform 387">
                <a:extLst>
                  <a:ext uri="{FF2B5EF4-FFF2-40B4-BE49-F238E27FC236}">
                    <a16:creationId xmlns:a16="http://schemas.microsoft.com/office/drawing/2014/main" id="{AA1EDD5F-97F8-BA55-7F4D-693891F56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3" name="Freeform 388">
                <a:extLst>
                  <a:ext uri="{FF2B5EF4-FFF2-40B4-BE49-F238E27FC236}">
                    <a16:creationId xmlns:a16="http://schemas.microsoft.com/office/drawing/2014/main" id="{C7AA46FF-90EA-8540-A5E9-6CE53AD11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4" name="Freeform 389">
                <a:extLst>
                  <a:ext uri="{FF2B5EF4-FFF2-40B4-BE49-F238E27FC236}">
                    <a16:creationId xmlns:a16="http://schemas.microsoft.com/office/drawing/2014/main" id="{4DC97B39-FB50-63E6-110F-2FD9225DD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45" name="Freeform 390">
                <a:extLst>
                  <a:ext uri="{FF2B5EF4-FFF2-40B4-BE49-F238E27FC236}">
                    <a16:creationId xmlns:a16="http://schemas.microsoft.com/office/drawing/2014/main" id="{52846DF3-046E-71FF-C090-DD15568EB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grpSp>
          <p:nvGrpSpPr>
            <p:cNvPr id="880" name="Group 391">
              <a:extLst>
                <a:ext uri="{FF2B5EF4-FFF2-40B4-BE49-F238E27FC236}">
                  <a16:creationId xmlns:a16="http://schemas.microsoft.com/office/drawing/2014/main" id="{2157CEB8-44F3-0E9A-A8C4-D1A02249FD98}"/>
                </a:ext>
              </a:extLst>
            </p:cNvPr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508000" y="1588"/>
              <a:ext cx="1897063" cy="1133475"/>
              <a:chOff x="527" y="1110"/>
              <a:chExt cx="1410" cy="709"/>
            </a:xfrm>
            <a:grpFill/>
          </p:grpSpPr>
          <p:sp>
            <p:nvSpPr>
              <p:cNvPr id="998" name="Freeform 392">
                <a:extLst>
                  <a:ext uri="{FF2B5EF4-FFF2-40B4-BE49-F238E27FC236}">
                    <a16:creationId xmlns:a16="http://schemas.microsoft.com/office/drawing/2014/main" id="{C7A904BE-0070-CFB8-6666-01E598A71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9" name="Freeform 393">
                <a:extLst>
                  <a:ext uri="{FF2B5EF4-FFF2-40B4-BE49-F238E27FC236}">
                    <a16:creationId xmlns:a16="http://schemas.microsoft.com/office/drawing/2014/main" id="{136359CA-A22D-AC44-C3B5-C96B75457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0" name="Freeform 394">
                <a:extLst>
                  <a:ext uri="{FF2B5EF4-FFF2-40B4-BE49-F238E27FC236}">
                    <a16:creationId xmlns:a16="http://schemas.microsoft.com/office/drawing/2014/main" id="{959FBFB7-6167-F37F-3527-E04FF3F68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1" name="Freeform 395">
                <a:extLst>
                  <a:ext uri="{FF2B5EF4-FFF2-40B4-BE49-F238E27FC236}">
                    <a16:creationId xmlns:a16="http://schemas.microsoft.com/office/drawing/2014/main" id="{B2AD7B3B-7B8B-36CE-D558-8AD4E1D3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2" name="Freeform 396">
                <a:extLst>
                  <a:ext uri="{FF2B5EF4-FFF2-40B4-BE49-F238E27FC236}">
                    <a16:creationId xmlns:a16="http://schemas.microsoft.com/office/drawing/2014/main" id="{3DB37B50-6B3E-796D-4457-895A56F3C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3" name="Freeform 397">
                <a:extLst>
                  <a:ext uri="{FF2B5EF4-FFF2-40B4-BE49-F238E27FC236}">
                    <a16:creationId xmlns:a16="http://schemas.microsoft.com/office/drawing/2014/main" id="{E09F26F3-5E1A-445E-B2E3-71EA7010C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4" name="Freeform 398">
                <a:extLst>
                  <a:ext uri="{FF2B5EF4-FFF2-40B4-BE49-F238E27FC236}">
                    <a16:creationId xmlns:a16="http://schemas.microsoft.com/office/drawing/2014/main" id="{A011126C-E143-B596-8EC3-4518BB167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5" name="Freeform 399">
                <a:extLst>
                  <a:ext uri="{FF2B5EF4-FFF2-40B4-BE49-F238E27FC236}">
                    <a16:creationId xmlns:a16="http://schemas.microsoft.com/office/drawing/2014/main" id="{C29170B6-75B9-FE6D-0C66-B0F0C3503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6" name="Freeform 400">
                <a:extLst>
                  <a:ext uri="{FF2B5EF4-FFF2-40B4-BE49-F238E27FC236}">
                    <a16:creationId xmlns:a16="http://schemas.microsoft.com/office/drawing/2014/main" id="{28C2F239-BE5B-4D23-1601-859350A768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7" name="Freeform 401">
                <a:extLst>
                  <a:ext uri="{FF2B5EF4-FFF2-40B4-BE49-F238E27FC236}">
                    <a16:creationId xmlns:a16="http://schemas.microsoft.com/office/drawing/2014/main" id="{9D5AD961-930D-97E5-6D9D-E09A25F4E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8" name="Freeform 402">
                <a:extLst>
                  <a:ext uri="{FF2B5EF4-FFF2-40B4-BE49-F238E27FC236}">
                    <a16:creationId xmlns:a16="http://schemas.microsoft.com/office/drawing/2014/main" id="{E4B53F8E-BA5E-3F08-A870-844FB19FF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09" name="Freeform 403">
                <a:extLst>
                  <a:ext uri="{FF2B5EF4-FFF2-40B4-BE49-F238E27FC236}">
                    <a16:creationId xmlns:a16="http://schemas.microsoft.com/office/drawing/2014/main" id="{ABCA2893-273C-E5D8-6965-70AF09461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0" name="Freeform 404">
                <a:extLst>
                  <a:ext uri="{FF2B5EF4-FFF2-40B4-BE49-F238E27FC236}">
                    <a16:creationId xmlns:a16="http://schemas.microsoft.com/office/drawing/2014/main" id="{B5847FE2-E6A2-13E9-2727-206952C3C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1" name="Freeform 405">
                <a:extLst>
                  <a:ext uri="{FF2B5EF4-FFF2-40B4-BE49-F238E27FC236}">
                    <a16:creationId xmlns:a16="http://schemas.microsoft.com/office/drawing/2014/main" id="{F4090259-2C22-BFC9-C55F-115359F2F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2" name="Freeform 406">
                <a:extLst>
                  <a:ext uri="{FF2B5EF4-FFF2-40B4-BE49-F238E27FC236}">
                    <a16:creationId xmlns:a16="http://schemas.microsoft.com/office/drawing/2014/main" id="{41311578-2219-A0A7-C722-400BA3430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3" name="Freeform 407">
                <a:extLst>
                  <a:ext uri="{FF2B5EF4-FFF2-40B4-BE49-F238E27FC236}">
                    <a16:creationId xmlns:a16="http://schemas.microsoft.com/office/drawing/2014/main" id="{5A2902BB-49B7-BA7A-675D-5740EA1E40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4" name="Freeform 408">
                <a:extLst>
                  <a:ext uri="{FF2B5EF4-FFF2-40B4-BE49-F238E27FC236}">
                    <a16:creationId xmlns:a16="http://schemas.microsoft.com/office/drawing/2014/main" id="{BD5387A6-D79C-F18E-474B-0B6280F41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5" name="Freeform 409">
                <a:extLst>
                  <a:ext uri="{FF2B5EF4-FFF2-40B4-BE49-F238E27FC236}">
                    <a16:creationId xmlns:a16="http://schemas.microsoft.com/office/drawing/2014/main" id="{28C7D8F7-E397-B514-22F1-2CAB56605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6" name="Freeform 410">
                <a:extLst>
                  <a:ext uri="{FF2B5EF4-FFF2-40B4-BE49-F238E27FC236}">
                    <a16:creationId xmlns:a16="http://schemas.microsoft.com/office/drawing/2014/main" id="{4EAF5BFA-68AC-0FF2-4E20-9BA6305FA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7" name="Freeform 411">
                <a:extLst>
                  <a:ext uri="{FF2B5EF4-FFF2-40B4-BE49-F238E27FC236}">
                    <a16:creationId xmlns:a16="http://schemas.microsoft.com/office/drawing/2014/main" id="{8517515A-61D9-2177-0805-38946D8D4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8" name="Freeform 412">
                <a:extLst>
                  <a:ext uri="{FF2B5EF4-FFF2-40B4-BE49-F238E27FC236}">
                    <a16:creationId xmlns:a16="http://schemas.microsoft.com/office/drawing/2014/main" id="{0FC2E285-F340-8146-32D2-77D12CBE64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19" name="Freeform 413">
                <a:extLst>
                  <a:ext uri="{FF2B5EF4-FFF2-40B4-BE49-F238E27FC236}">
                    <a16:creationId xmlns:a16="http://schemas.microsoft.com/office/drawing/2014/main" id="{3B85CD63-DBF6-2C84-0608-A6F9D1EC3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0" name="Freeform 414">
                <a:extLst>
                  <a:ext uri="{FF2B5EF4-FFF2-40B4-BE49-F238E27FC236}">
                    <a16:creationId xmlns:a16="http://schemas.microsoft.com/office/drawing/2014/main" id="{EB5D411E-AC61-D2C0-99AE-B3557F48A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1" name="Freeform 415">
                <a:extLst>
                  <a:ext uri="{FF2B5EF4-FFF2-40B4-BE49-F238E27FC236}">
                    <a16:creationId xmlns:a16="http://schemas.microsoft.com/office/drawing/2014/main" id="{143544F7-EA32-E117-4CA6-2785F75F5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2" name="Freeform 416">
                <a:extLst>
                  <a:ext uri="{FF2B5EF4-FFF2-40B4-BE49-F238E27FC236}">
                    <a16:creationId xmlns:a16="http://schemas.microsoft.com/office/drawing/2014/main" id="{C9E213AD-42D3-677C-1992-517915950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3" name="Freeform 417">
                <a:extLst>
                  <a:ext uri="{FF2B5EF4-FFF2-40B4-BE49-F238E27FC236}">
                    <a16:creationId xmlns:a16="http://schemas.microsoft.com/office/drawing/2014/main" id="{A6131CEA-9D74-90B9-D6FA-A192068B0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4" name="Freeform 418">
                <a:extLst>
                  <a:ext uri="{FF2B5EF4-FFF2-40B4-BE49-F238E27FC236}">
                    <a16:creationId xmlns:a16="http://schemas.microsoft.com/office/drawing/2014/main" id="{F6F06B90-441A-5CF4-451C-C706E97AE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5" name="Freeform 419">
                <a:extLst>
                  <a:ext uri="{FF2B5EF4-FFF2-40B4-BE49-F238E27FC236}">
                    <a16:creationId xmlns:a16="http://schemas.microsoft.com/office/drawing/2014/main" id="{C8901D48-5586-D8ED-B850-B7A90FD9B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6" name="Freeform 420">
                <a:extLst>
                  <a:ext uri="{FF2B5EF4-FFF2-40B4-BE49-F238E27FC236}">
                    <a16:creationId xmlns:a16="http://schemas.microsoft.com/office/drawing/2014/main" id="{4CCF3668-4A6D-E3FD-A18F-B313B636F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7" name="Freeform 421">
                <a:extLst>
                  <a:ext uri="{FF2B5EF4-FFF2-40B4-BE49-F238E27FC236}">
                    <a16:creationId xmlns:a16="http://schemas.microsoft.com/office/drawing/2014/main" id="{53384AAB-24C0-0565-C75C-51BBE486B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8" name="Freeform 422">
                <a:extLst>
                  <a:ext uri="{FF2B5EF4-FFF2-40B4-BE49-F238E27FC236}">
                    <a16:creationId xmlns:a16="http://schemas.microsoft.com/office/drawing/2014/main" id="{D44A2D8D-95BA-0C37-AD45-76B2D7826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29" name="Freeform 423">
                <a:extLst>
                  <a:ext uri="{FF2B5EF4-FFF2-40B4-BE49-F238E27FC236}">
                    <a16:creationId xmlns:a16="http://schemas.microsoft.com/office/drawing/2014/main" id="{21D843AB-F4D1-BCF7-4338-0E74CA0F7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0" name="Freeform 424">
                <a:extLst>
                  <a:ext uri="{FF2B5EF4-FFF2-40B4-BE49-F238E27FC236}">
                    <a16:creationId xmlns:a16="http://schemas.microsoft.com/office/drawing/2014/main" id="{29483C53-EBF6-0747-39AC-F02A3926B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1" name="Freeform 425">
                <a:extLst>
                  <a:ext uri="{FF2B5EF4-FFF2-40B4-BE49-F238E27FC236}">
                    <a16:creationId xmlns:a16="http://schemas.microsoft.com/office/drawing/2014/main" id="{844B51E9-C967-6901-56E5-C0FA41FF6C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2" name="Freeform 426">
                <a:extLst>
                  <a:ext uri="{FF2B5EF4-FFF2-40B4-BE49-F238E27FC236}">
                    <a16:creationId xmlns:a16="http://schemas.microsoft.com/office/drawing/2014/main" id="{FF9370D3-9635-B97E-7038-C33BD91B8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3" name="Freeform 427">
                <a:extLst>
                  <a:ext uri="{FF2B5EF4-FFF2-40B4-BE49-F238E27FC236}">
                    <a16:creationId xmlns:a16="http://schemas.microsoft.com/office/drawing/2014/main" id="{74CA6795-C6D8-80EC-4677-6FD9631FE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4" name="Freeform 428">
                <a:extLst>
                  <a:ext uri="{FF2B5EF4-FFF2-40B4-BE49-F238E27FC236}">
                    <a16:creationId xmlns:a16="http://schemas.microsoft.com/office/drawing/2014/main" id="{EEBB7E0C-87B2-5539-5D74-F9EB871E2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5" name="Freeform 429">
                <a:extLst>
                  <a:ext uri="{FF2B5EF4-FFF2-40B4-BE49-F238E27FC236}">
                    <a16:creationId xmlns:a16="http://schemas.microsoft.com/office/drawing/2014/main" id="{C29FDE1C-5FAF-8CE7-4A5C-E0647762E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6" name="Freeform 430">
                <a:extLst>
                  <a:ext uri="{FF2B5EF4-FFF2-40B4-BE49-F238E27FC236}">
                    <a16:creationId xmlns:a16="http://schemas.microsoft.com/office/drawing/2014/main" id="{51FF3594-6A3E-A195-79BF-CB299FE4E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7" name="Freeform 431">
                <a:extLst>
                  <a:ext uri="{FF2B5EF4-FFF2-40B4-BE49-F238E27FC236}">
                    <a16:creationId xmlns:a16="http://schemas.microsoft.com/office/drawing/2014/main" id="{18771DCB-3BF8-F518-EB15-3FCE06627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8" name="Freeform 432">
                <a:extLst>
                  <a:ext uri="{FF2B5EF4-FFF2-40B4-BE49-F238E27FC236}">
                    <a16:creationId xmlns:a16="http://schemas.microsoft.com/office/drawing/2014/main" id="{6878D22D-B31E-2BE0-43D6-964525E30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1039" name="Freeform 433">
                <a:extLst>
                  <a:ext uri="{FF2B5EF4-FFF2-40B4-BE49-F238E27FC236}">
                    <a16:creationId xmlns:a16="http://schemas.microsoft.com/office/drawing/2014/main" id="{DA88E208-6BAD-0F43-E9D5-CC18C3C4D8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881" name="Freeform 434">
              <a:extLst>
                <a:ext uri="{FF2B5EF4-FFF2-40B4-BE49-F238E27FC236}">
                  <a16:creationId xmlns:a16="http://schemas.microsoft.com/office/drawing/2014/main" id="{F5857B9F-2665-014E-3D64-D9D93BF6FAF0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078288" y="2346326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2" name="Freeform 435">
              <a:extLst>
                <a:ext uri="{FF2B5EF4-FFF2-40B4-BE49-F238E27FC236}">
                  <a16:creationId xmlns:a16="http://schemas.microsoft.com/office/drawing/2014/main" id="{577623DC-6F5E-1DE1-0E4B-28BDCC3FE9C6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184650" y="2497138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3" name="Freeform 436">
              <a:extLst>
                <a:ext uri="{FF2B5EF4-FFF2-40B4-BE49-F238E27FC236}">
                  <a16:creationId xmlns:a16="http://schemas.microsoft.com/office/drawing/2014/main" id="{08A35582-FB7E-5382-DD5E-26EC9932C55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3675063" y="1733551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4" name="Freeform 437">
              <a:extLst>
                <a:ext uri="{FF2B5EF4-FFF2-40B4-BE49-F238E27FC236}">
                  <a16:creationId xmlns:a16="http://schemas.microsoft.com/office/drawing/2014/main" id="{019F674F-27DB-0CB5-C00F-27CC7CBC9527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3351213" y="1116013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885" name="Group 438">
              <a:extLst>
                <a:ext uri="{FF2B5EF4-FFF2-40B4-BE49-F238E27FC236}">
                  <a16:creationId xmlns:a16="http://schemas.microsoft.com/office/drawing/2014/main" id="{E1C94FA0-729E-A180-C377-386833E96F8F}"/>
                </a:ext>
              </a:extLst>
            </p:cNvPr>
            <p:cNvGrpSpPr>
              <a:grpSpLocks/>
            </p:cNvGrpSpPr>
            <p:nvPr>
              <p:custDataLst>
                <p:tags r:id="rId280"/>
              </p:custDataLst>
            </p:nvPr>
          </p:nvGrpSpPr>
          <p:grpSpPr bwMode="auto">
            <a:xfrm>
              <a:off x="1651000" y="3176588"/>
              <a:ext cx="384175" cy="1031875"/>
              <a:chOff x="1589" y="3126"/>
              <a:chExt cx="290" cy="657"/>
            </a:xfrm>
            <a:grpFill/>
          </p:grpSpPr>
          <p:sp>
            <p:nvSpPr>
              <p:cNvPr id="995" name="Freeform 439">
                <a:extLst>
                  <a:ext uri="{FF2B5EF4-FFF2-40B4-BE49-F238E27FC236}">
                    <a16:creationId xmlns:a16="http://schemas.microsoft.com/office/drawing/2014/main" id="{15D41DAB-E549-F5C1-6E43-CE5287D8D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6" name="Freeform 440">
                <a:extLst>
                  <a:ext uri="{FF2B5EF4-FFF2-40B4-BE49-F238E27FC236}">
                    <a16:creationId xmlns:a16="http://schemas.microsoft.com/office/drawing/2014/main" id="{9E6CEEE1-E311-0841-15E3-1F9962240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7" name="Freeform 441">
                <a:extLst>
                  <a:ext uri="{FF2B5EF4-FFF2-40B4-BE49-F238E27FC236}">
                    <a16:creationId xmlns:a16="http://schemas.microsoft.com/office/drawing/2014/main" id="{1DD444F9-4EC3-71AC-E6AE-361CE3CF0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886" name="Freeform 442">
              <a:extLst>
                <a:ext uri="{FF2B5EF4-FFF2-40B4-BE49-F238E27FC236}">
                  <a16:creationId xmlns:a16="http://schemas.microsoft.com/office/drawing/2014/main" id="{71A4F470-79F7-AFA7-455C-C21E735A9AAF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360863" y="1128713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7" name="Freeform 443">
              <a:extLst>
                <a:ext uri="{FF2B5EF4-FFF2-40B4-BE49-F238E27FC236}">
                  <a16:creationId xmlns:a16="http://schemas.microsoft.com/office/drawing/2014/main" id="{0A0CB4CB-4E7A-1E59-E56D-CA8ACF86D0EC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3827463" y="701676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8" name="Freeform 444">
              <a:extLst>
                <a:ext uri="{FF2B5EF4-FFF2-40B4-BE49-F238E27FC236}">
                  <a16:creationId xmlns:a16="http://schemas.microsoft.com/office/drawing/2014/main" id="{1E7E5A0F-E7DD-9907-BF7A-3C00D634D2AC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684588" y="1033463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9" name="Freeform 445">
              <a:extLst>
                <a:ext uri="{FF2B5EF4-FFF2-40B4-BE49-F238E27FC236}">
                  <a16:creationId xmlns:a16="http://schemas.microsoft.com/office/drawing/2014/main" id="{06ADF079-9210-EE36-6276-3CED3E4964E5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2049463" y="2470151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0" name="Freeform 446">
              <a:extLst>
                <a:ext uri="{FF2B5EF4-FFF2-40B4-BE49-F238E27FC236}">
                  <a16:creationId xmlns:a16="http://schemas.microsoft.com/office/drawing/2014/main" id="{4CD0436C-066D-E634-5C39-6A2AEA812380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43338" y="1068388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1" name="Freeform 447">
              <a:extLst>
                <a:ext uri="{FF2B5EF4-FFF2-40B4-BE49-F238E27FC236}">
                  <a16:creationId xmlns:a16="http://schemas.microsoft.com/office/drawing/2014/main" id="{851A43C7-002F-FA12-C51F-F92E21873504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198813" y="1995488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2" name="Freeform 448">
              <a:extLst>
                <a:ext uri="{FF2B5EF4-FFF2-40B4-BE49-F238E27FC236}">
                  <a16:creationId xmlns:a16="http://schemas.microsoft.com/office/drawing/2014/main" id="{4B04E657-8515-67DA-7E14-36CBB9D815F8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3546475" y="2063751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3" name="Freeform 449">
              <a:extLst>
                <a:ext uri="{FF2B5EF4-FFF2-40B4-BE49-F238E27FC236}">
                  <a16:creationId xmlns:a16="http://schemas.microsoft.com/office/drawing/2014/main" id="{DABFE093-A049-0520-EA43-A6DD1A752A83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997575" y="1822451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4" name="Freeform 450">
              <a:extLst>
                <a:ext uri="{FF2B5EF4-FFF2-40B4-BE49-F238E27FC236}">
                  <a16:creationId xmlns:a16="http://schemas.microsoft.com/office/drawing/2014/main" id="{8068A2E4-806E-D143-DF2B-C80C3181BEE9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1352550" y="2085976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5" name="Freeform 451">
              <a:extLst>
                <a:ext uri="{FF2B5EF4-FFF2-40B4-BE49-F238E27FC236}">
                  <a16:creationId xmlns:a16="http://schemas.microsoft.com/office/drawing/2014/main" id="{ABBFCA30-7F91-864A-D7C8-CCA85CE795BE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3605213" y="2354263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6" name="Freeform 452">
              <a:extLst>
                <a:ext uri="{FF2B5EF4-FFF2-40B4-BE49-F238E27FC236}">
                  <a16:creationId xmlns:a16="http://schemas.microsoft.com/office/drawing/2014/main" id="{808E066E-42B6-1001-13DF-ADEF2058C314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3636963" y="996951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7" name="Freeform 453">
              <a:extLst>
                <a:ext uri="{FF2B5EF4-FFF2-40B4-BE49-F238E27FC236}">
                  <a16:creationId xmlns:a16="http://schemas.microsoft.com/office/drawing/2014/main" id="{0CC11F3F-6AC3-2DC3-2EBB-E8AA92D053E2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3587750" y="855663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8" name="Freeform 454">
              <a:extLst>
                <a:ext uri="{FF2B5EF4-FFF2-40B4-BE49-F238E27FC236}">
                  <a16:creationId xmlns:a16="http://schemas.microsoft.com/office/drawing/2014/main" id="{625260CA-298C-9F32-E179-6178B64B15AA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3551238" y="711201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9" name="Freeform 455">
              <a:extLst>
                <a:ext uri="{FF2B5EF4-FFF2-40B4-BE49-F238E27FC236}">
                  <a16:creationId xmlns:a16="http://schemas.microsoft.com/office/drawing/2014/main" id="{3EBFEBA3-3F89-C517-99BC-77A28F94A0CE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522663" y="715963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0" name="Freeform 456">
              <a:extLst>
                <a:ext uri="{FF2B5EF4-FFF2-40B4-BE49-F238E27FC236}">
                  <a16:creationId xmlns:a16="http://schemas.microsoft.com/office/drawing/2014/main" id="{14BED827-19AB-42D3-99AD-662613366180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3492500" y="661988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1" name="Freeform 457">
              <a:extLst>
                <a:ext uri="{FF2B5EF4-FFF2-40B4-BE49-F238E27FC236}">
                  <a16:creationId xmlns:a16="http://schemas.microsoft.com/office/drawing/2014/main" id="{6DC3F5A8-8C15-CC01-C0A6-4C4CE9636A3C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3924300" y="1466851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2" name="Freeform 458">
              <a:extLst>
                <a:ext uri="{FF2B5EF4-FFF2-40B4-BE49-F238E27FC236}">
                  <a16:creationId xmlns:a16="http://schemas.microsoft.com/office/drawing/2014/main" id="{BC683178-B613-7C74-238A-DBDCA1321A72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519488" y="1101726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3" name="Freeform 459">
              <a:extLst>
                <a:ext uri="{FF2B5EF4-FFF2-40B4-BE49-F238E27FC236}">
                  <a16:creationId xmlns:a16="http://schemas.microsoft.com/office/drawing/2014/main" id="{BDDF3F0E-DEAC-E11B-2B8C-7E093DB57F10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3237235" y="852488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4" name="Freeform 460">
              <a:extLst>
                <a:ext uri="{FF2B5EF4-FFF2-40B4-BE49-F238E27FC236}">
                  <a16:creationId xmlns:a16="http://schemas.microsoft.com/office/drawing/2014/main" id="{C6B3A93D-D119-B762-3263-4283701B8999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240213" y="1087438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5" name="Freeform 461">
              <a:extLst>
                <a:ext uri="{FF2B5EF4-FFF2-40B4-BE49-F238E27FC236}">
                  <a16:creationId xmlns:a16="http://schemas.microsoft.com/office/drawing/2014/main" id="{B549A32C-729A-AA4E-669F-09B7A7399790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3789363" y="1147763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6" name="Freeform 462">
              <a:extLst>
                <a:ext uri="{FF2B5EF4-FFF2-40B4-BE49-F238E27FC236}">
                  <a16:creationId xmlns:a16="http://schemas.microsoft.com/office/drawing/2014/main" id="{0D3F28EE-09E0-D566-78BA-0F8765379D19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873500" y="1339851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7" name="Freeform 463">
              <a:extLst>
                <a:ext uri="{FF2B5EF4-FFF2-40B4-BE49-F238E27FC236}">
                  <a16:creationId xmlns:a16="http://schemas.microsoft.com/office/drawing/2014/main" id="{F47C81D0-6452-5641-93B7-D6DC34F4A32E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2952750" y="2071688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8" name="Freeform 464">
              <a:extLst>
                <a:ext uri="{FF2B5EF4-FFF2-40B4-BE49-F238E27FC236}">
                  <a16:creationId xmlns:a16="http://schemas.microsoft.com/office/drawing/2014/main" id="{8C964F6A-7C83-7713-1763-D3ADC2DA338E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997450" y="1335088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9" name="Freeform 465">
              <a:extLst>
                <a:ext uri="{FF2B5EF4-FFF2-40B4-BE49-F238E27FC236}">
                  <a16:creationId xmlns:a16="http://schemas.microsoft.com/office/drawing/2014/main" id="{FF99A989-A575-DE1D-A9E9-E4A094E4C7E4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3119438" y="2130426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0" name="Freeform 466">
              <a:extLst>
                <a:ext uri="{FF2B5EF4-FFF2-40B4-BE49-F238E27FC236}">
                  <a16:creationId xmlns:a16="http://schemas.microsoft.com/office/drawing/2014/main" id="{516E176A-8E69-382A-5C49-C52C272A1F18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187825" y="2325688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1" name="Freeform 467">
              <a:extLst>
                <a:ext uri="{FF2B5EF4-FFF2-40B4-BE49-F238E27FC236}">
                  <a16:creationId xmlns:a16="http://schemas.microsoft.com/office/drawing/2014/main" id="{1D37710A-035E-9449-8F88-A7540B201977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170363" y="1411288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2" name="Freeform 468">
              <a:extLst>
                <a:ext uri="{FF2B5EF4-FFF2-40B4-BE49-F238E27FC236}">
                  <a16:creationId xmlns:a16="http://schemas.microsoft.com/office/drawing/2014/main" id="{2A29ED7C-82CB-F7C0-D064-262417686839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68813" y="1514476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3" name="Freeform 469">
              <a:extLst>
                <a:ext uri="{FF2B5EF4-FFF2-40B4-BE49-F238E27FC236}">
                  <a16:creationId xmlns:a16="http://schemas.microsoft.com/office/drawing/2014/main" id="{6D39FF15-D787-C341-E732-354DE214A0C5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3756025" y="649288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4" name="Freeform 470">
              <a:extLst>
                <a:ext uri="{FF2B5EF4-FFF2-40B4-BE49-F238E27FC236}">
                  <a16:creationId xmlns:a16="http://schemas.microsoft.com/office/drawing/2014/main" id="{CB31EC06-2BE6-C85E-673C-9E45B7DE38B2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167188" y="1370013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5" name="Freeform 471">
              <a:extLst>
                <a:ext uri="{FF2B5EF4-FFF2-40B4-BE49-F238E27FC236}">
                  <a16:creationId xmlns:a16="http://schemas.microsoft.com/office/drawing/2014/main" id="{90A42C1A-9579-5F82-2D5C-0B024496568F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3983038" y="338137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6" name="Freeform 472">
              <a:extLst>
                <a:ext uri="{FF2B5EF4-FFF2-40B4-BE49-F238E27FC236}">
                  <a16:creationId xmlns:a16="http://schemas.microsoft.com/office/drawing/2014/main" id="{D534E0E4-BAE0-E23F-C2CB-604669613F52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3754438" y="696913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7" name="Freeform 473">
              <a:extLst>
                <a:ext uri="{FF2B5EF4-FFF2-40B4-BE49-F238E27FC236}">
                  <a16:creationId xmlns:a16="http://schemas.microsoft.com/office/drawing/2014/main" id="{B3E5C964-7F12-6601-C73C-2CAB0552CC9F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460750" y="882651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8" name="Freeform 474">
              <a:extLst>
                <a:ext uri="{FF2B5EF4-FFF2-40B4-BE49-F238E27FC236}">
                  <a16:creationId xmlns:a16="http://schemas.microsoft.com/office/drawing/2014/main" id="{D37FDF05-CBF4-9996-34A4-8734BAFEF7BE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157663" y="2767013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9" name="Freeform 475">
              <a:extLst>
                <a:ext uri="{FF2B5EF4-FFF2-40B4-BE49-F238E27FC236}">
                  <a16:creationId xmlns:a16="http://schemas.microsoft.com/office/drawing/2014/main" id="{4B49678A-2404-4798-3E9B-7EB1213486F1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3649663" y="1338263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0" name="Freeform 476">
              <a:extLst>
                <a:ext uri="{FF2B5EF4-FFF2-40B4-BE49-F238E27FC236}">
                  <a16:creationId xmlns:a16="http://schemas.microsoft.com/office/drawing/2014/main" id="{27EDFF29-F38F-6058-08C2-EFC4B27B2510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968750" y="2959101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1" name="Freeform 477">
              <a:extLst>
                <a:ext uri="{FF2B5EF4-FFF2-40B4-BE49-F238E27FC236}">
                  <a16:creationId xmlns:a16="http://schemas.microsoft.com/office/drawing/2014/main" id="{FDA4A842-8BC5-865D-90B2-E3AF456E4175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3881438" y="2735263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2" name="Freeform 478">
              <a:extLst>
                <a:ext uri="{FF2B5EF4-FFF2-40B4-BE49-F238E27FC236}">
                  <a16:creationId xmlns:a16="http://schemas.microsoft.com/office/drawing/2014/main" id="{DB09E175-9237-1347-0531-042241BA6046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617913" y="3008313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3" name="Freeform 479">
              <a:extLst>
                <a:ext uri="{FF2B5EF4-FFF2-40B4-BE49-F238E27FC236}">
                  <a16:creationId xmlns:a16="http://schemas.microsoft.com/office/drawing/2014/main" id="{E79CC57D-8BD3-B3CD-134C-BD33DCD31727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2897188" y="1938338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4" name="Freeform 480">
              <a:extLst>
                <a:ext uri="{FF2B5EF4-FFF2-40B4-BE49-F238E27FC236}">
                  <a16:creationId xmlns:a16="http://schemas.microsoft.com/office/drawing/2014/main" id="{F1B2A989-6F01-D9A6-7FEE-C107193C2BC8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070350" y="2500313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5" name="Freeform 481">
              <a:extLst>
                <a:ext uri="{FF2B5EF4-FFF2-40B4-BE49-F238E27FC236}">
                  <a16:creationId xmlns:a16="http://schemas.microsoft.com/office/drawing/2014/main" id="{D8F7C69F-4955-7DA1-17A9-3606FD09CA0A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6634163" y="1014413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6" name="Freeform 482">
              <a:extLst>
                <a:ext uri="{FF2B5EF4-FFF2-40B4-BE49-F238E27FC236}">
                  <a16:creationId xmlns:a16="http://schemas.microsoft.com/office/drawing/2014/main" id="{201C0FAD-2978-CB5F-942B-6CC251C3F99D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6492875" y="1016001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7" name="Freeform 483">
              <a:extLst>
                <a:ext uri="{FF2B5EF4-FFF2-40B4-BE49-F238E27FC236}">
                  <a16:creationId xmlns:a16="http://schemas.microsoft.com/office/drawing/2014/main" id="{337E58F3-ECE7-9F45-7BED-3C66F2C8CED8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462713" y="1370013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8" name="Freeform 484">
              <a:extLst>
                <a:ext uri="{FF2B5EF4-FFF2-40B4-BE49-F238E27FC236}">
                  <a16:creationId xmlns:a16="http://schemas.microsoft.com/office/drawing/2014/main" id="{0F02535F-000C-497D-E217-FE3003142C92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6408738" y="1384301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29" name="Freeform 485">
              <a:extLst>
                <a:ext uri="{FF2B5EF4-FFF2-40B4-BE49-F238E27FC236}">
                  <a16:creationId xmlns:a16="http://schemas.microsoft.com/office/drawing/2014/main" id="{4A386BFC-6BA2-1FC9-97C4-21C4E9D5C588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424613" y="1146176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0" name="Freeform 486">
              <a:extLst>
                <a:ext uri="{FF2B5EF4-FFF2-40B4-BE49-F238E27FC236}">
                  <a16:creationId xmlns:a16="http://schemas.microsoft.com/office/drawing/2014/main" id="{05836B48-DEA6-3F46-32DC-8561C70A55C6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008438" y="36513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1" name="Freeform 487">
              <a:extLst>
                <a:ext uri="{FF2B5EF4-FFF2-40B4-BE49-F238E27FC236}">
                  <a16:creationId xmlns:a16="http://schemas.microsoft.com/office/drawing/2014/main" id="{F9B1ECC1-799D-2CDC-9CE5-8DCB3FD4B4A8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151313" y="19051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2" name="Freeform 488">
              <a:extLst>
                <a:ext uri="{FF2B5EF4-FFF2-40B4-BE49-F238E27FC236}">
                  <a16:creationId xmlns:a16="http://schemas.microsoft.com/office/drawing/2014/main" id="{15456C60-B9A8-9792-0F7E-18B03D0E79DD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4187825" y="26988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3" name="Freeform 489">
              <a:extLst>
                <a:ext uri="{FF2B5EF4-FFF2-40B4-BE49-F238E27FC236}">
                  <a16:creationId xmlns:a16="http://schemas.microsoft.com/office/drawing/2014/main" id="{5438610F-22F3-929E-9C6B-2C75A31B38BF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4721225" y="212726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4" name="Freeform 490">
              <a:extLst>
                <a:ext uri="{FF2B5EF4-FFF2-40B4-BE49-F238E27FC236}">
                  <a16:creationId xmlns:a16="http://schemas.microsoft.com/office/drawing/2014/main" id="{72614ADC-798A-1350-F534-E0E3754648BF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4630738" y="71438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5" name="Freeform 491">
              <a:extLst>
                <a:ext uri="{FF2B5EF4-FFF2-40B4-BE49-F238E27FC236}">
                  <a16:creationId xmlns:a16="http://schemas.microsoft.com/office/drawing/2014/main" id="{F370F797-79B4-D342-1178-1ED30C8563DD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4652963" y="30163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6" name="Freeform 492">
              <a:extLst>
                <a:ext uri="{FF2B5EF4-FFF2-40B4-BE49-F238E27FC236}">
                  <a16:creationId xmlns:a16="http://schemas.microsoft.com/office/drawing/2014/main" id="{2F8E220D-C5A6-A9D0-0409-9331B4602776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4797425" y="146051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7" name="Freeform 493">
              <a:extLst>
                <a:ext uri="{FF2B5EF4-FFF2-40B4-BE49-F238E27FC236}">
                  <a16:creationId xmlns:a16="http://schemas.microsoft.com/office/drawing/2014/main" id="{16ED81C8-9485-46E8-7AFE-2E343CC5B7A6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4851400" y="30163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8" name="Freeform 494">
              <a:extLst>
                <a:ext uri="{FF2B5EF4-FFF2-40B4-BE49-F238E27FC236}">
                  <a16:creationId xmlns:a16="http://schemas.microsoft.com/office/drawing/2014/main" id="{E7647BE4-3203-1680-5FC1-8003E27EE86B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4911725" y="55563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39" name="Freeform 495">
              <a:extLst>
                <a:ext uri="{FF2B5EF4-FFF2-40B4-BE49-F238E27FC236}">
                  <a16:creationId xmlns:a16="http://schemas.microsoft.com/office/drawing/2014/main" id="{C90631B7-76B0-BD60-89C1-F2B6DBFCB1B1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029200" y="69851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0" name="Freeform 496">
              <a:extLst>
                <a:ext uri="{FF2B5EF4-FFF2-40B4-BE49-F238E27FC236}">
                  <a16:creationId xmlns:a16="http://schemas.microsoft.com/office/drawing/2014/main" id="{A35C94C2-467C-94F5-A77C-021D43AC7FAF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5556250" y="195263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1" name="Freeform 497">
              <a:extLst>
                <a:ext uri="{FF2B5EF4-FFF2-40B4-BE49-F238E27FC236}">
                  <a16:creationId xmlns:a16="http://schemas.microsoft.com/office/drawing/2014/main" id="{9E41D388-66B3-823A-5245-AA6DC1F19D6F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5622925" y="212726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2" name="Freeform 498">
              <a:extLst>
                <a:ext uri="{FF2B5EF4-FFF2-40B4-BE49-F238E27FC236}">
                  <a16:creationId xmlns:a16="http://schemas.microsoft.com/office/drawing/2014/main" id="{8060969D-79F5-BE99-5243-5FEB2DA7D356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5653088" y="223838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3" name="Freeform 499">
              <a:extLst>
                <a:ext uri="{FF2B5EF4-FFF2-40B4-BE49-F238E27FC236}">
                  <a16:creationId xmlns:a16="http://schemas.microsoft.com/office/drawing/2014/main" id="{6D27F339-90FD-5F0B-A944-44EA39C08A13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5424488" y="196851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4" name="Freeform 500">
              <a:extLst>
                <a:ext uri="{FF2B5EF4-FFF2-40B4-BE49-F238E27FC236}">
                  <a16:creationId xmlns:a16="http://schemas.microsoft.com/office/drawing/2014/main" id="{765E3B5F-E6AD-3603-64CE-B51F158DC407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5724525" y="138113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5" name="Freeform 501">
              <a:extLst>
                <a:ext uri="{FF2B5EF4-FFF2-40B4-BE49-F238E27FC236}">
                  <a16:creationId xmlns:a16="http://schemas.microsoft.com/office/drawing/2014/main" id="{FB0A6F1D-9780-64F6-C967-44CDECE5FF92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5884863" y="146051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6" name="Freeform 502">
              <a:extLst>
                <a:ext uri="{FF2B5EF4-FFF2-40B4-BE49-F238E27FC236}">
                  <a16:creationId xmlns:a16="http://schemas.microsoft.com/office/drawing/2014/main" id="{A55B2474-6C11-5A8C-C943-1BE176C51BAB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5845175" y="193676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7" name="Freeform 503">
              <a:extLst>
                <a:ext uri="{FF2B5EF4-FFF2-40B4-BE49-F238E27FC236}">
                  <a16:creationId xmlns:a16="http://schemas.microsoft.com/office/drawing/2014/main" id="{AC0C7A6E-6B77-F9DD-3414-B3D570A5A4B5}"/>
                </a:ext>
              </a:extLst>
            </p:cNvPr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5824538" y="190501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8" name="Line 504">
              <a:extLst>
                <a:ext uri="{FF2B5EF4-FFF2-40B4-BE49-F238E27FC236}">
                  <a16:creationId xmlns:a16="http://schemas.microsoft.com/office/drawing/2014/main" id="{3BB59DCB-8226-A00B-F812-D3A4EB633798}"/>
                </a:ext>
              </a:extLst>
            </p:cNvPr>
            <p:cNvSpPr>
              <a:spLocks noChangeShapeType="1"/>
            </p:cNvSpPr>
            <p:nvPr>
              <p:custDataLst>
                <p:tags r:id="rId343"/>
              </p:custDataLst>
            </p:nvPr>
          </p:nvSpPr>
          <p:spPr bwMode="auto">
            <a:xfrm flipV="1">
              <a:off x="5826125" y="188913"/>
              <a:ext cx="0" cy="158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49" name="Freeform 505">
              <a:extLst>
                <a:ext uri="{FF2B5EF4-FFF2-40B4-BE49-F238E27FC236}">
                  <a16:creationId xmlns:a16="http://schemas.microsoft.com/office/drawing/2014/main" id="{8BF612D5-625F-CD06-9FF9-AC7AB7C4CE7B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4995863" y="117476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0" name="Freeform 506">
              <a:extLst>
                <a:ext uri="{FF2B5EF4-FFF2-40B4-BE49-F238E27FC236}">
                  <a16:creationId xmlns:a16="http://schemas.microsoft.com/office/drawing/2014/main" id="{27DBA696-DB1D-9D5A-E3AB-741A2AAEDAC4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5745163" y="188913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1" name="Freeform 507">
              <a:extLst>
                <a:ext uri="{FF2B5EF4-FFF2-40B4-BE49-F238E27FC236}">
                  <a16:creationId xmlns:a16="http://schemas.microsoft.com/office/drawing/2014/main" id="{6DA0092F-DD00-908A-CBF5-7C5A073837C0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5699125" y="152401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2" name="Freeform 508">
              <a:extLst>
                <a:ext uri="{FF2B5EF4-FFF2-40B4-BE49-F238E27FC236}">
                  <a16:creationId xmlns:a16="http://schemas.microsoft.com/office/drawing/2014/main" id="{5DF50E65-203B-4D5A-12DD-9C677F1470E9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6199188" y="722313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3" name="Freeform 509">
              <a:extLst>
                <a:ext uri="{FF2B5EF4-FFF2-40B4-BE49-F238E27FC236}">
                  <a16:creationId xmlns:a16="http://schemas.microsoft.com/office/drawing/2014/main" id="{59720F5C-E70F-A94F-5D1E-5C4C8164608E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6492875" y="244476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4" name="Freeform 510">
              <a:extLst>
                <a:ext uri="{FF2B5EF4-FFF2-40B4-BE49-F238E27FC236}">
                  <a16:creationId xmlns:a16="http://schemas.microsoft.com/office/drawing/2014/main" id="{00D8A12F-C745-3F14-CAB7-C55BFE15BD34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6629400" y="596901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5" name="Freeform 511">
              <a:extLst>
                <a:ext uri="{FF2B5EF4-FFF2-40B4-BE49-F238E27FC236}">
                  <a16:creationId xmlns:a16="http://schemas.microsoft.com/office/drawing/2014/main" id="{05DBD961-628A-463C-0E17-45F772361CF2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6778625" y="709613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6" name="Freeform 512">
              <a:extLst>
                <a:ext uri="{FF2B5EF4-FFF2-40B4-BE49-F238E27FC236}">
                  <a16:creationId xmlns:a16="http://schemas.microsoft.com/office/drawing/2014/main" id="{1AF3DB4F-0794-BCAA-356F-CD9FEAF4B207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6829425" y="725488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7" name="Freeform 513">
              <a:extLst>
                <a:ext uri="{FF2B5EF4-FFF2-40B4-BE49-F238E27FC236}">
                  <a16:creationId xmlns:a16="http://schemas.microsoft.com/office/drawing/2014/main" id="{37A7061F-C6A9-E3E4-B3E1-BE0F09655DCF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6694488" y="852488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8" name="Freeform 514">
              <a:extLst>
                <a:ext uri="{FF2B5EF4-FFF2-40B4-BE49-F238E27FC236}">
                  <a16:creationId xmlns:a16="http://schemas.microsoft.com/office/drawing/2014/main" id="{419E41DA-A981-B103-B532-8008D5205BA0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6705600" y="881063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9" name="Freeform 515">
              <a:extLst>
                <a:ext uri="{FF2B5EF4-FFF2-40B4-BE49-F238E27FC236}">
                  <a16:creationId xmlns:a16="http://schemas.microsoft.com/office/drawing/2014/main" id="{AFDF95AE-6756-F3CE-D6CF-550F57C7E29D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6692900" y="963613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0" name="Freeform 516">
              <a:extLst>
                <a:ext uri="{FF2B5EF4-FFF2-40B4-BE49-F238E27FC236}">
                  <a16:creationId xmlns:a16="http://schemas.microsoft.com/office/drawing/2014/main" id="{212F00B1-B959-166C-04E4-73C609484A9E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6670675" y="998538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1" name="Freeform 517">
              <a:extLst>
                <a:ext uri="{FF2B5EF4-FFF2-40B4-BE49-F238E27FC236}">
                  <a16:creationId xmlns:a16="http://schemas.microsoft.com/office/drawing/2014/main" id="{8DEE78D9-F247-9EEE-801A-47FF6EE66712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6670675" y="998538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2" name="Freeform 518">
              <a:extLst>
                <a:ext uri="{FF2B5EF4-FFF2-40B4-BE49-F238E27FC236}">
                  <a16:creationId xmlns:a16="http://schemas.microsoft.com/office/drawing/2014/main" id="{F1C25C75-41E2-AAAE-55E9-0BCCA82BD635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6424613" y="585788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3" name="Freeform 519">
              <a:extLst>
                <a:ext uri="{FF2B5EF4-FFF2-40B4-BE49-F238E27FC236}">
                  <a16:creationId xmlns:a16="http://schemas.microsoft.com/office/drawing/2014/main" id="{3EF8644F-A169-6600-D3B2-79A72A3A9BE0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3740150" y="725488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4" name="Freeform 520">
              <a:extLst>
                <a:ext uri="{FF2B5EF4-FFF2-40B4-BE49-F238E27FC236}">
                  <a16:creationId xmlns:a16="http://schemas.microsoft.com/office/drawing/2014/main" id="{9F8309BA-ECDE-2EF2-0C61-74C4630D22D6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189413" y="317501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5" name="Freeform 521">
              <a:extLst>
                <a:ext uri="{FF2B5EF4-FFF2-40B4-BE49-F238E27FC236}">
                  <a16:creationId xmlns:a16="http://schemas.microsoft.com/office/drawing/2014/main" id="{03C269AF-4E6E-4614-B08F-EED0B260278D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224338" y="130176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6" name="Freeform 522">
              <a:extLst>
                <a:ext uri="{FF2B5EF4-FFF2-40B4-BE49-F238E27FC236}">
                  <a16:creationId xmlns:a16="http://schemas.microsoft.com/office/drawing/2014/main" id="{7E957FCE-E2EB-A0B4-46E1-B2A8AD7C2EE5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016375" y="441326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7" name="Freeform 523">
              <a:extLst>
                <a:ext uri="{FF2B5EF4-FFF2-40B4-BE49-F238E27FC236}">
                  <a16:creationId xmlns:a16="http://schemas.microsoft.com/office/drawing/2014/main" id="{7552545E-4CD7-9286-DF06-FBCE1F89EBE9}"/>
                </a:ext>
              </a:extLst>
            </p:cNvPr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6321425" y="738188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968" name="Group 524">
              <a:extLst>
                <a:ext uri="{FF2B5EF4-FFF2-40B4-BE49-F238E27FC236}">
                  <a16:creationId xmlns:a16="http://schemas.microsoft.com/office/drawing/2014/main" id="{6EA669B6-51DA-4B0A-E657-5F90EE32D049}"/>
                </a:ext>
              </a:extLst>
            </p:cNvPr>
            <p:cNvGrpSpPr>
              <a:grpSpLocks/>
            </p:cNvGrpSpPr>
            <p:nvPr>
              <p:custDataLst>
                <p:tags r:id="rId363"/>
              </p:custDataLst>
            </p:nvPr>
          </p:nvGrpSpPr>
          <p:grpSpPr bwMode="auto">
            <a:xfrm>
              <a:off x="5111750" y="693738"/>
              <a:ext cx="671513" cy="384175"/>
              <a:chOff x="4115" y="1551"/>
              <a:chExt cx="504" cy="244"/>
            </a:xfrm>
            <a:grpFill/>
          </p:grpSpPr>
          <p:sp>
            <p:nvSpPr>
              <p:cNvPr id="993" name="Freeform 525">
                <a:extLst>
                  <a:ext uri="{FF2B5EF4-FFF2-40B4-BE49-F238E27FC236}">
                    <a16:creationId xmlns:a16="http://schemas.microsoft.com/office/drawing/2014/main" id="{DEF26774-4060-50A3-6F13-FC853A971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4" name="Freeform 526">
                <a:extLst>
                  <a:ext uri="{FF2B5EF4-FFF2-40B4-BE49-F238E27FC236}">
                    <a16:creationId xmlns:a16="http://schemas.microsoft.com/office/drawing/2014/main" id="{1DD523E7-32D3-C2ED-2F95-AD3A1C040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969" name="Freeform 527">
              <a:extLst>
                <a:ext uri="{FF2B5EF4-FFF2-40B4-BE49-F238E27FC236}">
                  <a16:creationId xmlns:a16="http://schemas.microsoft.com/office/drawing/2014/main" id="{9A1D8EFB-70EF-4BA4-7FF6-AA9F8E788F8E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168775" y="1443038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0" name="Freeform 528">
              <a:extLst>
                <a:ext uri="{FF2B5EF4-FFF2-40B4-BE49-F238E27FC236}">
                  <a16:creationId xmlns:a16="http://schemas.microsoft.com/office/drawing/2014/main" id="{E8AE0879-ACE4-D112-841F-433F99B0DA48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3643313" y="987426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1" name="Freeform 529">
              <a:extLst>
                <a:ext uri="{FF2B5EF4-FFF2-40B4-BE49-F238E27FC236}">
                  <a16:creationId xmlns:a16="http://schemas.microsoft.com/office/drawing/2014/main" id="{38A4C516-5851-733E-D754-5CDC32EC0A3B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382963" y="1200151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2" name="Freeform 530">
              <a:extLst>
                <a:ext uri="{FF2B5EF4-FFF2-40B4-BE49-F238E27FC236}">
                  <a16:creationId xmlns:a16="http://schemas.microsoft.com/office/drawing/2014/main" id="{2D5C091D-E1A4-7A5C-F214-BF648EBBC512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2974975" y="1546226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3" name="Freeform 531">
              <a:extLst>
                <a:ext uri="{FF2B5EF4-FFF2-40B4-BE49-F238E27FC236}">
                  <a16:creationId xmlns:a16="http://schemas.microsoft.com/office/drawing/2014/main" id="{D5D58EC1-55B7-45F8-2C82-CF511F343B59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2916238" y="1562101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4" name="Freeform 532">
              <a:extLst>
                <a:ext uri="{FF2B5EF4-FFF2-40B4-BE49-F238E27FC236}">
                  <a16:creationId xmlns:a16="http://schemas.microsoft.com/office/drawing/2014/main" id="{DB6E382D-9AEC-77BE-8C39-C129096F2B51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2890838" y="1555751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5" name="Freeform 533">
              <a:extLst>
                <a:ext uri="{FF2B5EF4-FFF2-40B4-BE49-F238E27FC236}">
                  <a16:creationId xmlns:a16="http://schemas.microsoft.com/office/drawing/2014/main" id="{93E666C2-7EF6-2A7C-0A87-176A92405F2C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4162425" y="1284288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6" name="Freeform 534">
              <a:extLst>
                <a:ext uri="{FF2B5EF4-FFF2-40B4-BE49-F238E27FC236}">
                  <a16:creationId xmlns:a16="http://schemas.microsoft.com/office/drawing/2014/main" id="{6B77A6BE-74D4-D720-B8C7-956E953CBBD0}"/>
                </a:ext>
              </a:extLst>
            </p:cNvPr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256338" y="1665288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977" name="Group 535">
              <a:extLst>
                <a:ext uri="{FF2B5EF4-FFF2-40B4-BE49-F238E27FC236}">
                  <a16:creationId xmlns:a16="http://schemas.microsoft.com/office/drawing/2014/main" id="{60B09A36-B8F1-0343-61C4-54D2A0A162B2}"/>
                </a:ext>
              </a:extLst>
            </p:cNvPr>
            <p:cNvGrpSpPr>
              <a:grpSpLocks/>
            </p:cNvGrpSpPr>
            <p:nvPr>
              <p:custDataLst>
                <p:tags r:id="rId372"/>
              </p:custDataLst>
            </p:nvPr>
          </p:nvGrpSpPr>
          <p:grpSpPr bwMode="auto">
            <a:xfrm>
              <a:off x="3903663" y="1133476"/>
              <a:ext cx="482600" cy="201612"/>
              <a:chOff x="3289" y="1830"/>
              <a:chExt cx="363" cy="128"/>
            </a:xfrm>
            <a:grpFill/>
          </p:grpSpPr>
          <p:sp>
            <p:nvSpPr>
              <p:cNvPr id="988" name="Freeform 536">
                <a:extLst>
                  <a:ext uri="{FF2B5EF4-FFF2-40B4-BE49-F238E27FC236}">
                    <a16:creationId xmlns:a16="http://schemas.microsoft.com/office/drawing/2014/main" id="{0F6C8E66-FCFA-A7E1-EE1B-A29D60E0E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89" name="Freeform 537">
                <a:extLst>
                  <a:ext uri="{FF2B5EF4-FFF2-40B4-BE49-F238E27FC236}">
                    <a16:creationId xmlns:a16="http://schemas.microsoft.com/office/drawing/2014/main" id="{1A26C55E-6C06-2218-7D48-DD88D541B9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0" name="Freeform 538">
                <a:extLst>
                  <a:ext uri="{FF2B5EF4-FFF2-40B4-BE49-F238E27FC236}">
                    <a16:creationId xmlns:a16="http://schemas.microsoft.com/office/drawing/2014/main" id="{03A3E427-D1CC-35FA-52DA-98DCF425E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1" name="Freeform 539">
                <a:extLst>
                  <a:ext uri="{FF2B5EF4-FFF2-40B4-BE49-F238E27FC236}">
                    <a16:creationId xmlns:a16="http://schemas.microsoft.com/office/drawing/2014/main" id="{9A3A0218-CC63-595C-63FD-C63EA24E6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992" name="Freeform 540">
                <a:extLst>
                  <a:ext uri="{FF2B5EF4-FFF2-40B4-BE49-F238E27FC236}">
                    <a16:creationId xmlns:a16="http://schemas.microsoft.com/office/drawing/2014/main" id="{62C0E995-3B34-F771-1478-C290C50E5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978" name="Freeform 541">
              <a:extLst>
                <a:ext uri="{FF2B5EF4-FFF2-40B4-BE49-F238E27FC236}">
                  <a16:creationId xmlns:a16="http://schemas.microsoft.com/office/drawing/2014/main" id="{76626A05-3FB2-F0CB-2F89-E7C0E0ED6717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1892300" y="2286001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9" name="Freeform 542">
              <a:extLst>
                <a:ext uri="{FF2B5EF4-FFF2-40B4-BE49-F238E27FC236}">
                  <a16:creationId xmlns:a16="http://schemas.microsoft.com/office/drawing/2014/main" id="{C2136847-3356-F349-DD17-2FF1ADF06125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5837238" y="1722438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0" name="Freeform 543">
              <a:extLst>
                <a:ext uri="{FF2B5EF4-FFF2-40B4-BE49-F238E27FC236}">
                  <a16:creationId xmlns:a16="http://schemas.microsoft.com/office/drawing/2014/main" id="{EBC0803A-22C0-CCDE-72D0-22DAF08FABE6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924550" y="2408238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1" name="Freeform 544">
              <a:extLst>
                <a:ext uri="{FF2B5EF4-FFF2-40B4-BE49-F238E27FC236}">
                  <a16:creationId xmlns:a16="http://schemas.microsoft.com/office/drawing/2014/main" id="{BDA14CFC-0166-3E71-C458-25B0AE4EBD9F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616450" y="1666876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2" name="Freeform 545">
              <a:extLst>
                <a:ext uri="{FF2B5EF4-FFF2-40B4-BE49-F238E27FC236}">
                  <a16:creationId xmlns:a16="http://schemas.microsoft.com/office/drawing/2014/main" id="{2DD67B12-EAFD-203D-E123-F86A357E93D3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343275" y="1720851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3" name="Freeform 546">
              <a:extLst>
                <a:ext uri="{FF2B5EF4-FFF2-40B4-BE49-F238E27FC236}">
                  <a16:creationId xmlns:a16="http://schemas.microsoft.com/office/drawing/2014/main" id="{2EDD5714-0F5D-C56B-97F6-A9B67B3B192E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3013075" y="1338263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4" name="Freeform 547">
              <a:extLst>
                <a:ext uri="{FF2B5EF4-FFF2-40B4-BE49-F238E27FC236}">
                  <a16:creationId xmlns:a16="http://schemas.microsoft.com/office/drawing/2014/main" id="{3D61B2BA-0AFB-C066-F91F-00604E41A0DA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3713163" y="268288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5" name="Freeform 548">
              <a:extLst>
                <a:ext uri="{FF2B5EF4-FFF2-40B4-BE49-F238E27FC236}">
                  <a16:creationId xmlns:a16="http://schemas.microsoft.com/office/drawing/2014/main" id="{7C0E2E06-93D7-8CC1-A5C2-2E64F3533DAA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4224338" y="252413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6" name="Freeform 549">
              <a:extLst>
                <a:ext uri="{FF2B5EF4-FFF2-40B4-BE49-F238E27FC236}">
                  <a16:creationId xmlns:a16="http://schemas.microsoft.com/office/drawing/2014/main" id="{36F71D44-55D4-3796-15DF-9ABED44C170C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4367213" y="234951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7" name="Freeform 550">
              <a:extLst>
                <a:ext uri="{FF2B5EF4-FFF2-40B4-BE49-F238E27FC236}">
                  <a16:creationId xmlns:a16="http://schemas.microsoft.com/office/drawing/2014/main" id="{EE142E1F-2B2E-9E24-32EE-D3801A0516C0}"/>
                </a:ext>
              </a:extLst>
            </p:cNvPr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4403725" y="242888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826E6AE7-2038-7C4A-BDD1-BD0E96CD32B9}"/>
              </a:ext>
            </a:extLst>
          </p:cNvPr>
          <p:cNvSpPr txBox="1"/>
          <p:nvPr/>
        </p:nvSpPr>
        <p:spPr>
          <a:xfrm>
            <a:off x="266609" y="96736"/>
            <a:ext cx="2630848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Tenorite" pitchFamily="2" charset="0"/>
              </a:rPr>
              <a:t>In the height of crisi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BAF51F7-DE69-4D48-B0AB-F51D7E20F2F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D8D3A1E-FDE5-8642-B614-68DB74845416}"/>
              </a:ext>
            </a:extLst>
          </p:cNvPr>
          <p:cNvSpPr txBox="1"/>
          <p:nvPr/>
        </p:nvSpPr>
        <p:spPr>
          <a:xfrm>
            <a:off x="142179" y="2224668"/>
            <a:ext cx="18473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H" sz="1050">
              <a:latin typeface="Tenorite" pitchFamily="2" charset="0"/>
            </a:endParaRPr>
          </a:p>
        </p:txBody>
      </p:sp>
      <p:pic>
        <p:nvPicPr>
          <p:cNvPr id="593" name="Picture 592" descr="Logo, company name&#10;&#10;Description automatically generated">
            <a:extLst>
              <a:ext uri="{FF2B5EF4-FFF2-40B4-BE49-F238E27FC236}">
                <a16:creationId xmlns:a16="http://schemas.microsoft.com/office/drawing/2014/main" id="{206EA0C3-7480-083D-E847-19184DA3F810}"/>
              </a:ext>
            </a:extLst>
          </p:cNvPr>
          <p:cNvPicPr>
            <a:picLocks noChangeAspect="1"/>
          </p:cNvPicPr>
          <p:nvPr/>
        </p:nvPicPr>
        <p:blipFill>
          <a:blip r:embed="rId38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591" y="2832031"/>
            <a:ext cx="788495" cy="826862"/>
          </a:xfrm>
          <a:prstGeom prst="roundRect">
            <a:avLst/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03" name="Picture 602" descr="Logo&#10;&#10;Description automatically generated">
            <a:extLst>
              <a:ext uri="{FF2B5EF4-FFF2-40B4-BE49-F238E27FC236}">
                <a16:creationId xmlns:a16="http://schemas.microsoft.com/office/drawing/2014/main" id="{7BD58930-A6E4-4AA3-7901-39494D12F6BC}"/>
              </a:ext>
            </a:extLst>
          </p:cNvPr>
          <p:cNvPicPr>
            <a:picLocks noChangeAspect="1"/>
          </p:cNvPicPr>
          <p:nvPr/>
        </p:nvPicPr>
        <p:blipFill>
          <a:blip r:embed="rId38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838" y="1052621"/>
            <a:ext cx="525360" cy="5253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154" name="Freeform 229">
            <a:extLst>
              <a:ext uri="{FF2B5EF4-FFF2-40B4-BE49-F238E27FC236}">
                <a16:creationId xmlns:a16="http://schemas.microsoft.com/office/drawing/2014/main" id="{AE44309F-E090-930E-8A3D-FCBF6E85FA2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174453" y="1597832"/>
            <a:ext cx="88943" cy="59032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57A7B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A07C08C-D1C5-3C33-B155-FFAEBA7DC686}"/>
              </a:ext>
            </a:extLst>
          </p:cNvPr>
          <p:cNvGrpSpPr/>
          <p:nvPr/>
        </p:nvGrpSpPr>
        <p:grpSpPr>
          <a:xfrm>
            <a:off x="4826558" y="185191"/>
            <a:ext cx="2296422" cy="2943344"/>
            <a:chOff x="4826558" y="185191"/>
            <a:chExt cx="2296422" cy="2943344"/>
          </a:xfrm>
        </p:grpSpPr>
        <p:pic>
          <p:nvPicPr>
            <p:cNvPr id="1155" name="Picture 1154">
              <a:extLst>
                <a:ext uri="{FF2B5EF4-FFF2-40B4-BE49-F238E27FC236}">
                  <a16:creationId xmlns:a16="http://schemas.microsoft.com/office/drawing/2014/main" id="{E7FEC9F3-58F5-791E-E396-E44B1EFD09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47" b="10363"/>
            <a:stretch/>
          </p:blipFill>
          <p:spPr>
            <a:xfrm>
              <a:off x="4826558" y="185191"/>
              <a:ext cx="2216828" cy="2943344"/>
            </a:xfrm>
            <a:prstGeom prst="roundRect">
              <a:avLst>
                <a:gd name="adj" fmla="val 2335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135CC11-E03B-96A9-09F6-CDBBAC20F1D9}"/>
                </a:ext>
              </a:extLst>
            </p:cNvPr>
            <p:cNvSpPr txBox="1"/>
            <p:nvPr/>
          </p:nvSpPr>
          <p:spPr>
            <a:xfrm>
              <a:off x="6271465" y="1063745"/>
              <a:ext cx="85151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CH" sz="900" b="1" dirty="0">
                  <a:solidFill>
                    <a:srgbClr val="9A005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Olivia Keiser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782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Freeform 4">
            <a:extLst>
              <a:ext uri="{FF2B5EF4-FFF2-40B4-BE49-F238E27FC236}">
                <a16:creationId xmlns:a16="http://schemas.microsoft.com/office/drawing/2014/main" id="{3D4E7344-A954-597E-DB5E-EF7627376735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417696" y="4849771"/>
            <a:ext cx="35242" cy="57436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2" name="Freeform 5">
            <a:extLst>
              <a:ext uri="{FF2B5EF4-FFF2-40B4-BE49-F238E27FC236}">
                <a16:creationId xmlns:a16="http://schemas.microsoft.com/office/drawing/2014/main" id="{508977CB-44A3-6F7B-2E55-79C9F555DA6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70994" y="931386"/>
            <a:ext cx="829027" cy="448317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3" name="Freeform 6">
            <a:extLst>
              <a:ext uri="{FF2B5EF4-FFF2-40B4-BE49-F238E27FC236}">
                <a16:creationId xmlns:a16="http://schemas.microsoft.com/office/drawing/2014/main" id="{4F210BC4-C232-4EAA-559F-F0B1C8CE44ED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957670" y="1550414"/>
            <a:ext cx="1460027" cy="773786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4" name="Freeform 7">
            <a:extLst>
              <a:ext uri="{FF2B5EF4-FFF2-40B4-BE49-F238E27FC236}">
                <a16:creationId xmlns:a16="http://schemas.microsoft.com/office/drawing/2014/main" id="{771B81E4-1EC6-767C-4C9D-86B3D6ED465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838720" y="3109154"/>
            <a:ext cx="359133" cy="593501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5" name="Freeform 8">
            <a:extLst>
              <a:ext uri="{FF2B5EF4-FFF2-40B4-BE49-F238E27FC236}">
                <a16:creationId xmlns:a16="http://schemas.microsoft.com/office/drawing/2014/main" id="{0F5D719B-7FA1-2E19-958D-FC0342F5918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155899" y="3675532"/>
            <a:ext cx="276901" cy="1135949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6" name="Freeform 9">
            <a:extLst>
              <a:ext uri="{FF2B5EF4-FFF2-40B4-BE49-F238E27FC236}">
                <a16:creationId xmlns:a16="http://schemas.microsoft.com/office/drawing/2014/main" id="{0A4429C7-DCE1-1819-EDB0-F80C9018FA1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055207" y="2954396"/>
            <a:ext cx="1022018" cy="1209339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7" name="Freeform 10">
            <a:extLst>
              <a:ext uri="{FF2B5EF4-FFF2-40B4-BE49-F238E27FC236}">
                <a16:creationId xmlns:a16="http://schemas.microsoft.com/office/drawing/2014/main" id="{84E8C50C-F078-FD93-2AB7-EDCE2E9778C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8879" y="1895028"/>
            <a:ext cx="73841" cy="49459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8" name="Freeform 11">
            <a:extLst>
              <a:ext uri="{FF2B5EF4-FFF2-40B4-BE49-F238E27FC236}">
                <a16:creationId xmlns:a16="http://schemas.microsoft.com/office/drawing/2014/main" id="{B41DC3EA-CFF1-6060-A401-0BE80515CE7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58571" y="1768990"/>
            <a:ext cx="87266" cy="161138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19" name="Freeform 12">
            <a:extLst>
              <a:ext uri="{FF2B5EF4-FFF2-40B4-BE49-F238E27FC236}">
                <a16:creationId xmlns:a16="http://schemas.microsoft.com/office/drawing/2014/main" id="{68E4BB9F-20CA-B96C-4335-2EA55A279BF5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44158" y="1252069"/>
            <a:ext cx="181245" cy="271224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0" name="Freeform 13">
            <a:extLst>
              <a:ext uri="{FF2B5EF4-FFF2-40B4-BE49-F238E27FC236}">
                <a16:creationId xmlns:a16="http://schemas.microsoft.com/office/drawing/2014/main" id="{0B32FEF9-905D-035A-BB30-D2B54A07B14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3430" y="1556796"/>
            <a:ext cx="179566" cy="76581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1" name="Freeform 14">
            <a:extLst>
              <a:ext uri="{FF2B5EF4-FFF2-40B4-BE49-F238E27FC236}">
                <a16:creationId xmlns:a16="http://schemas.microsoft.com/office/drawing/2014/main" id="{F8503297-87FE-BEDE-1BC5-4C513DC68096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800929" y="1405230"/>
            <a:ext cx="1354300" cy="1043414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2" name="Freeform 15">
            <a:extLst>
              <a:ext uri="{FF2B5EF4-FFF2-40B4-BE49-F238E27FC236}">
                <a16:creationId xmlns:a16="http://schemas.microsoft.com/office/drawing/2014/main" id="{B87C56B0-3745-3701-FB92-77A701E08CB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8100" y="944149"/>
            <a:ext cx="233268" cy="274415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3" name="Freeform 16">
            <a:extLst>
              <a:ext uri="{FF2B5EF4-FFF2-40B4-BE49-F238E27FC236}">
                <a16:creationId xmlns:a16="http://schemas.microsoft.com/office/drawing/2014/main" id="{DAD4BD81-000F-EEC8-B0E3-5EA948C2F183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39520" y="1363750"/>
            <a:ext cx="192992" cy="23931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4" name="Freeform 17">
            <a:extLst>
              <a:ext uri="{FF2B5EF4-FFF2-40B4-BE49-F238E27FC236}">
                <a16:creationId xmlns:a16="http://schemas.microsoft.com/office/drawing/2014/main" id="{57F6F148-2A18-3EAF-D12B-1F7DA130183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66371" y="1622210"/>
            <a:ext cx="265154" cy="276010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5" name="Freeform 18">
            <a:extLst>
              <a:ext uri="{FF2B5EF4-FFF2-40B4-BE49-F238E27FC236}">
                <a16:creationId xmlns:a16="http://schemas.microsoft.com/office/drawing/2014/main" id="{F82BF15A-48A3-AECC-CC9F-D30CF84F972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84830" y="1791326"/>
            <a:ext cx="35243" cy="82963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626" name="Group 19">
            <a:extLst>
              <a:ext uri="{FF2B5EF4-FFF2-40B4-BE49-F238E27FC236}">
                <a16:creationId xmlns:a16="http://schemas.microsoft.com/office/drawing/2014/main" id="{128747C5-AB6D-0C3C-FA3B-66D529C6495B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636669" y="2857075"/>
            <a:ext cx="500101" cy="213788"/>
            <a:chOff x="4488" y="2394"/>
            <a:chExt cx="358" cy="124"/>
          </a:xfrm>
          <a:solidFill>
            <a:schemeClr val="bg1">
              <a:lumMod val="85000"/>
            </a:schemeClr>
          </a:solidFill>
        </p:grpSpPr>
        <p:sp>
          <p:nvSpPr>
            <p:cNvPr id="1156" name="Freeform 20">
              <a:extLst>
                <a:ext uri="{FF2B5EF4-FFF2-40B4-BE49-F238E27FC236}">
                  <a16:creationId xmlns:a16="http://schemas.microsoft.com/office/drawing/2014/main" id="{903989B3-5B3E-0178-BFDD-717EF5107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7" name="Freeform 21">
              <a:extLst>
                <a:ext uri="{FF2B5EF4-FFF2-40B4-BE49-F238E27FC236}">
                  <a16:creationId xmlns:a16="http://schemas.microsoft.com/office/drawing/2014/main" id="{3D31069C-96BD-AF67-91D4-B8F82B24D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627" name="Freeform 22">
            <a:extLst>
              <a:ext uri="{FF2B5EF4-FFF2-40B4-BE49-F238E27FC236}">
                <a16:creationId xmlns:a16="http://schemas.microsoft.com/office/drawing/2014/main" id="{E75BF7F1-BD74-AA4A-F3FD-691207DF1CB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45642" y="722385"/>
            <a:ext cx="3240587" cy="1080108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8" name="Freeform 23">
            <a:extLst>
              <a:ext uri="{FF2B5EF4-FFF2-40B4-BE49-F238E27FC236}">
                <a16:creationId xmlns:a16="http://schemas.microsoft.com/office/drawing/2014/main" id="{B08931AF-E3EB-E28C-935E-89EECC9057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66961" y="1714744"/>
            <a:ext cx="297039" cy="248888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29" name="Freeform 24">
            <a:extLst>
              <a:ext uri="{FF2B5EF4-FFF2-40B4-BE49-F238E27FC236}">
                <a16:creationId xmlns:a16="http://schemas.microsoft.com/office/drawing/2014/main" id="{21322ACC-B9D5-D63B-D9F8-3588312D876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549403" y="2456621"/>
            <a:ext cx="219842" cy="457890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0" name="Freeform 25">
            <a:extLst>
              <a:ext uri="{FF2B5EF4-FFF2-40B4-BE49-F238E27FC236}">
                <a16:creationId xmlns:a16="http://schemas.microsoft.com/office/drawing/2014/main" id="{3039030D-6681-5240-4C1E-58CCF7DFA63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436156" y="4856153"/>
            <a:ext cx="25174" cy="57436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4" name="Freeform 29">
            <a:extLst>
              <a:ext uri="{FF2B5EF4-FFF2-40B4-BE49-F238E27FC236}">
                <a16:creationId xmlns:a16="http://schemas.microsoft.com/office/drawing/2014/main" id="{B7C79A38-4AEE-B409-ABBE-062D847B7B8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189462" y="1808875"/>
            <a:ext cx="52024" cy="57436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5" name="Freeform 30">
            <a:extLst>
              <a:ext uri="{FF2B5EF4-FFF2-40B4-BE49-F238E27FC236}">
                <a16:creationId xmlns:a16="http://schemas.microsoft.com/office/drawing/2014/main" id="{3C3061E3-CA70-38A4-2BAD-D8119A8474A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5084342" y="1363749"/>
            <a:ext cx="924684" cy="454698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6" name="Freeform 31">
            <a:extLst>
              <a:ext uri="{FF2B5EF4-FFF2-40B4-BE49-F238E27FC236}">
                <a16:creationId xmlns:a16="http://schemas.microsoft.com/office/drawing/2014/main" id="{6E0D212E-9278-04B8-1A50-D1DC3725CA7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5327680" y="1668476"/>
            <a:ext cx="432974" cy="250484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7" name="Freeform 32">
            <a:extLst>
              <a:ext uri="{FF2B5EF4-FFF2-40B4-BE49-F238E27FC236}">
                <a16:creationId xmlns:a16="http://schemas.microsoft.com/office/drawing/2014/main" id="{956EA8D6-0954-96AA-2428-023D14C953C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067357" y="2676791"/>
            <a:ext cx="313823" cy="290369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8" name="Freeform 33">
            <a:extLst>
              <a:ext uri="{FF2B5EF4-FFF2-40B4-BE49-F238E27FC236}">
                <a16:creationId xmlns:a16="http://schemas.microsoft.com/office/drawing/2014/main" id="{08C265CC-E1BD-7C51-71F9-FB64C856060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958477" y="2541180"/>
            <a:ext cx="161106" cy="170711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39" name="Freeform 34">
            <a:extLst>
              <a:ext uri="{FF2B5EF4-FFF2-40B4-BE49-F238E27FC236}">
                <a16:creationId xmlns:a16="http://schemas.microsoft.com/office/drawing/2014/main" id="{E6EBF465-884E-C5A7-DA67-A2C5F3DBB0AD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389570" y="1540842"/>
            <a:ext cx="132578" cy="57436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0" name="Freeform 35">
            <a:extLst>
              <a:ext uri="{FF2B5EF4-FFF2-40B4-BE49-F238E27FC236}">
                <a16:creationId xmlns:a16="http://schemas.microsoft.com/office/drawing/2014/main" id="{120C4F1D-6973-056A-9433-F1588BB8DB7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302507" y="2265169"/>
            <a:ext cx="20138" cy="57436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1" name="Freeform 36">
            <a:extLst>
              <a:ext uri="{FF2B5EF4-FFF2-40B4-BE49-F238E27FC236}">
                <a16:creationId xmlns:a16="http://schemas.microsoft.com/office/drawing/2014/main" id="{A69CFFFD-0244-F057-33E2-671DE49B8B51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428371" y="2269956"/>
            <a:ext cx="15104" cy="57436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2" name="Freeform 37">
            <a:extLst>
              <a:ext uri="{FF2B5EF4-FFF2-40B4-BE49-F238E27FC236}">
                <a16:creationId xmlns:a16="http://schemas.microsoft.com/office/drawing/2014/main" id="{069673AC-4489-DE99-D3E8-FB3C29EA4D3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7000835" y="2933656"/>
            <a:ext cx="46989" cy="57436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643" name="Group 38">
            <a:extLst>
              <a:ext uri="{FF2B5EF4-FFF2-40B4-BE49-F238E27FC236}">
                <a16:creationId xmlns:a16="http://schemas.microsoft.com/office/drawing/2014/main" id="{DC2B3E86-0AEB-C3B5-D852-E98AF827971D}"/>
              </a:ext>
            </a:extLst>
          </p:cNvPr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2615723" y="4750854"/>
            <a:ext cx="68805" cy="55841"/>
            <a:chOff x="1654" y="3671"/>
            <a:chExt cx="49" cy="17"/>
          </a:xfrm>
          <a:solidFill>
            <a:schemeClr val="bg1">
              <a:lumMod val="85000"/>
            </a:schemeClr>
          </a:solidFill>
        </p:grpSpPr>
        <p:sp>
          <p:nvSpPr>
            <p:cNvPr id="1154" name="Freeform 39">
              <a:extLst>
                <a:ext uri="{FF2B5EF4-FFF2-40B4-BE49-F238E27FC236}">
                  <a16:creationId xmlns:a16="http://schemas.microsoft.com/office/drawing/2014/main" id="{0984B906-0057-7825-2580-703BF670A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5" name="Freeform 40">
              <a:extLst>
                <a:ext uri="{FF2B5EF4-FFF2-40B4-BE49-F238E27FC236}">
                  <a16:creationId xmlns:a16="http://schemas.microsoft.com/office/drawing/2014/main" id="{6B2A0EE1-58FA-3E7F-A53B-E565667F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644" name="Freeform 41">
            <a:extLst>
              <a:ext uri="{FF2B5EF4-FFF2-40B4-BE49-F238E27FC236}">
                <a16:creationId xmlns:a16="http://schemas.microsoft.com/office/drawing/2014/main" id="{31C3399D-53A8-5A3E-71C8-44A18484A8ED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243164" y="2534798"/>
            <a:ext cx="33564" cy="59030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5" name="Freeform 42">
            <a:extLst>
              <a:ext uri="{FF2B5EF4-FFF2-40B4-BE49-F238E27FC236}">
                <a16:creationId xmlns:a16="http://schemas.microsoft.com/office/drawing/2014/main" id="{512008D4-4515-12DA-F3B5-5C4365487B11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301900" y="2541180"/>
            <a:ext cx="1679" cy="59030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6" name="Freeform 43">
            <a:extLst>
              <a:ext uri="{FF2B5EF4-FFF2-40B4-BE49-F238E27FC236}">
                <a16:creationId xmlns:a16="http://schemas.microsoft.com/office/drawing/2014/main" id="{415D2B94-E0F8-E512-7B9B-3D6EB8F431F1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315326" y="2542774"/>
            <a:ext cx="6713" cy="59032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7" name="Freeform 44">
            <a:extLst>
              <a:ext uri="{FF2B5EF4-FFF2-40B4-BE49-F238E27FC236}">
                <a16:creationId xmlns:a16="http://schemas.microsoft.com/office/drawing/2014/main" id="{AD15BCD5-6534-AEE1-2025-1243832AD3A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30431" y="2533202"/>
            <a:ext cx="8390" cy="57436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8" name="Freeform 45">
            <a:extLst>
              <a:ext uri="{FF2B5EF4-FFF2-40B4-BE49-F238E27FC236}">
                <a16:creationId xmlns:a16="http://schemas.microsoft.com/office/drawing/2014/main" id="{DA69F6FC-49BF-51DE-A3AE-2E7F6677B345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308613" y="2525225"/>
            <a:ext cx="11748" cy="59030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49" name="Freeform 46">
            <a:extLst>
              <a:ext uri="{FF2B5EF4-FFF2-40B4-BE49-F238E27FC236}">
                <a16:creationId xmlns:a16="http://schemas.microsoft.com/office/drawing/2014/main" id="{89F8989A-D86E-D672-5134-B153BCBC486E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360637" y="2553943"/>
            <a:ext cx="15104" cy="60626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0" name="Line 47">
            <a:extLst>
              <a:ext uri="{FF2B5EF4-FFF2-40B4-BE49-F238E27FC236}">
                <a16:creationId xmlns:a16="http://schemas.microsoft.com/office/drawing/2014/main" id="{3E46E8B3-1529-778D-2DB2-01C958C3E5AF}"/>
              </a:ext>
            </a:extLst>
          </p:cNvPr>
          <p:cNvSpPr>
            <a:spLocks noChangeShapeType="1"/>
          </p:cNvSpPr>
          <p:nvPr>
            <p:custDataLst>
              <p:tags r:id="rId37"/>
            </p:custDataLst>
          </p:nvPr>
        </p:nvSpPr>
        <p:spPr bwMode="auto">
          <a:xfrm flipH="1" flipV="1">
            <a:off x="2369028" y="2550752"/>
            <a:ext cx="6713" cy="9572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1" name="Line 48">
            <a:extLst>
              <a:ext uri="{FF2B5EF4-FFF2-40B4-BE49-F238E27FC236}">
                <a16:creationId xmlns:a16="http://schemas.microsoft.com/office/drawing/2014/main" id="{86636CBB-6F4B-5B55-92C7-D75534AA7629}"/>
              </a:ext>
            </a:extLst>
          </p:cNvPr>
          <p:cNvSpPr>
            <a:spLocks noChangeShapeType="1"/>
          </p:cNvSpPr>
          <p:nvPr>
            <p:custDataLst>
              <p:tags r:id="rId38"/>
            </p:custDataLst>
          </p:nvPr>
        </p:nvSpPr>
        <p:spPr bwMode="auto">
          <a:xfrm flipH="1">
            <a:off x="2369028" y="2576278"/>
            <a:ext cx="6713" cy="11168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2" name="Freeform 49">
            <a:extLst>
              <a:ext uri="{FF2B5EF4-FFF2-40B4-BE49-F238E27FC236}">
                <a16:creationId xmlns:a16="http://schemas.microsoft.com/office/drawing/2014/main" id="{E103140B-722A-978C-EDF7-21A51B62350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369028" y="2571492"/>
            <a:ext cx="11748" cy="59032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3" name="Freeform 50">
            <a:extLst>
              <a:ext uri="{FF2B5EF4-FFF2-40B4-BE49-F238E27FC236}">
                <a16:creationId xmlns:a16="http://schemas.microsoft.com/office/drawing/2014/main" id="{23BB4344-1A46-2970-EBC4-EBE71FC93A45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375740" y="2600209"/>
            <a:ext cx="18461" cy="55841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4" name="Freeform 51">
            <a:extLst>
              <a:ext uri="{FF2B5EF4-FFF2-40B4-BE49-F238E27FC236}">
                <a16:creationId xmlns:a16="http://schemas.microsoft.com/office/drawing/2014/main" id="{98D3698C-A327-7A74-309F-28AEB318C3CB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382453" y="2648073"/>
            <a:ext cx="16782" cy="57436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5" name="Freeform 52">
            <a:extLst>
              <a:ext uri="{FF2B5EF4-FFF2-40B4-BE49-F238E27FC236}">
                <a16:creationId xmlns:a16="http://schemas.microsoft.com/office/drawing/2014/main" id="{8B53D6DF-6A7B-B0B1-3439-209D578811E1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392523" y="2673600"/>
            <a:ext cx="3356" cy="57436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6" name="Freeform 53">
            <a:extLst>
              <a:ext uri="{FF2B5EF4-FFF2-40B4-BE49-F238E27FC236}">
                <a16:creationId xmlns:a16="http://schemas.microsoft.com/office/drawing/2014/main" id="{1543C36B-975C-A16E-0C81-1687B97CC5DA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16017" y="2703914"/>
            <a:ext cx="1679" cy="55840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7" name="Freeform 54">
            <a:extLst>
              <a:ext uri="{FF2B5EF4-FFF2-40B4-BE49-F238E27FC236}">
                <a16:creationId xmlns:a16="http://schemas.microsoft.com/office/drawing/2014/main" id="{B96A0A27-8DE8-3938-5C0E-14E199C4697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375741" y="2716678"/>
            <a:ext cx="16782" cy="59030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8" name="Freeform 55">
            <a:extLst>
              <a:ext uri="{FF2B5EF4-FFF2-40B4-BE49-F238E27FC236}">
                <a16:creationId xmlns:a16="http://schemas.microsoft.com/office/drawing/2014/main" id="{BA10C5FF-59EA-7F40-694A-874A6FAD4F3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360638" y="2782089"/>
            <a:ext cx="25172" cy="57436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59" name="Freeform 56">
            <a:extLst>
              <a:ext uri="{FF2B5EF4-FFF2-40B4-BE49-F238E27FC236}">
                <a16:creationId xmlns:a16="http://schemas.microsoft.com/office/drawing/2014/main" id="{332F5B1E-4F1D-3AD6-F535-772795EC971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380776" y="2758158"/>
            <a:ext cx="13426" cy="57436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60" name="Freeform 57">
            <a:extLst>
              <a:ext uri="{FF2B5EF4-FFF2-40B4-BE49-F238E27FC236}">
                <a16:creationId xmlns:a16="http://schemas.microsoft.com/office/drawing/2014/main" id="{4AD2F969-75F6-B842-B9AD-6B4008DBA2EA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833686" y="2427903"/>
            <a:ext cx="16782" cy="57436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661" name="Group 58">
            <a:extLst>
              <a:ext uri="{FF2B5EF4-FFF2-40B4-BE49-F238E27FC236}">
                <a16:creationId xmlns:a16="http://schemas.microsoft.com/office/drawing/2014/main" id="{32671407-1C90-1A3C-E5CA-8D5CB9F9C897}"/>
              </a:ext>
            </a:extLst>
          </p:cNvPr>
          <p:cNvGrpSpPr>
            <a:grpSpLocks/>
          </p:cNvGrpSpPr>
          <p:nvPr>
            <p:custDataLst>
              <p:tags r:id="rId48"/>
            </p:custDataLst>
          </p:nvPr>
        </p:nvGrpSpPr>
        <p:grpSpPr bwMode="auto">
          <a:xfrm>
            <a:off x="1966262" y="2260383"/>
            <a:ext cx="139291" cy="196238"/>
            <a:chOff x="1199" y="2121"/>
            <a:chExt cx="97" cy="123"/>
          </a:xfrm>
          <a:solidFill>
            <a:schemeClr val="bg1">
              <a:lumMod val="85000"/>
            </a:schemeClr>
          </a:solidFill>
        </p:grpSpPr>
        <p:sp>
          <p:nvSpPr>
            <p:cNvPr id="1144" name="Freeform 59">
              <a:extLst>
                <a:ext uri="{FF2B5EF4-FFF2-40B4-BE49-F238E27FC236}">
                  <a16:creationId xmlns:a16="http://schemas.microsoft.com/office/drawing/2014/main" id="{F5CEBF3D-B387-0EF2-38E7-E82B6EFFE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5" name="Freeform 60">
              <a:extLst>
                <a:ext uri="{FF2B5EF4-FFF2-40B4-BE49-F238E27FC236}">
                  <a16:creationId xmlns:a16="http://schemas.microsoft.com/office/drawing/2014/main" id="{3352C94B-2618-68ED-48D7-3E6327C2A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6" name="Freeform 61">
              <a:extLst>
                <a:ext uri="{FF2B5EF4-FFF2-40B4-BE49-F238E27FC236}">
                  <a16:creationId xmlns:a16="http://schemas.microsoft.com/office/drawing/2014/main" id="{8A189721-84DE-C68A-8A7C-EAA18F442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7" name="Freeform 62">
              <a:extLst>
                <a:ext uri="{FF2B5EF4-FFF2-40B4-BE49-F238E27FC236}">
                  <a16:creationId xmlns:a16="http://schemas.microsoft.com/office/drawing/2014/main" id="{08B223BC-23C0-A298-6A05-D26294EF5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8" name="Freeform 63">
              <a:extLst>
                <a:ext uri="{FF2B5EF4-FFF2-40B4-BE49-F238E27FC236}">
                  <a16:creationId xmlns:a16="http://schemas.microsoft.com/office/drawing/2014/main" id="{2A679EA6-5094-3329-0E0B-91FD2B405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9" name="Freeform 64">
              <a:extLst>
                <a:ext uri="{FF2B5EF4-FFF2-40B4-BE49-F238E27FC236}">
                  <a16:creationId xmlns:a16="http://schemas.microsoft.com/office/drawing/2014/main" id="{FFC14D28-280A-BA4A-1734-D2953B8E0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0" name="Freeform 65">
              <a:extLst>
                <a:ext uri="{FF2B5EF4-FFF2-40B4-BE49-F238E27FC236}">
                  <a16:creationId xmlns:a16="http://schemas.microsoft.com/office/drawing/2014/main" id="{F6701344-4B7F-7378-AE9B-C6C128FDE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1" name="Freeform 66">
              <a:extLst>
                <a:ext uri="{FF2B5EF4-FFF2-40B4-BE49-F238E27FC236}">
                  <a16:creationId xmlns:a16="http://schemas.microsoft.com/office/drawing/2014/main" id="{3DB0EC3E-6B3F-5493-E7BF-D978ECB00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2" name="Freeform 67">
              <a:extLst>
                <a:ext uri="{FF2B5EF4-FFF2-40B4-BE49-F238E27FC236}">
                  <a16:creationId xmlns:a16="http://schemas.microsoft.com/office/drawing/2014/main" id="{097BB61F-FB9B-AE69-E5DA-769A6189D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3" name="Freeform 68">
              <a:extLst>
                <a:ext uri="{FF2B5EF4-FFF2-40B4-BE49-F238E27FC236}">
                  <a16:creationId xmlns:a16="http://schemas.microsoft.com/office/drawing/2014/main" id="{19FECD51-15DE-1696-924B-45F376EB5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662" name="Freeform 69">
            <a:extLst>
              <a:ext uri="{FF2B5EF4-FFF2-40B4-BE49-F238E27FC236}">
                <a16:creationId xmlns:a16="http://schemas.microsoft.com/office/drawing/2014/main" id="{0CD3265F-3F74-D6CD-59C9-C6C1F0FB5983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8111799" y="3694677"/>
            <a:ext cx="13426" cy="57436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63" name="Freeform 70">
            <a:extLst>
              <a:ext uri="{FF2B5EF4-FFF2-40B4-BE49-F238E27FC236}">
                <a16:creationId xmlns:a16="http://schemas.microsoft.com/office/drawing/2014/main" id="{3E9BAC22-3355-6D31-75BE-7FC72AA63625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8121867" y="3785618"/>
            <a:ext cx="10070" cy="59030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64" name="Freeform 71">
            <a:extLst>
              <a:ext uri="{FF2B5EF4-FFF2-40B4-BE49-F238E27FC236}">
                <a16:creationId xmlns:a16="http://schemas.microsoft.com/office/drawing/2014/main" id="{EC9EE886-B1E9-8090-671F-B274C1799B59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242698" y="3694677"/>
            <a:ext cx="82232" cy="130826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65" name="Freeform 72">
            <a:extLst>
              <a:ext uri="{FF2B5EF4-FFF2-40B4-BE49-F238E27FC236}">
                <a16:creationId xmlns:a16="http://schemas.microsoft.com/office/drawing/2014/main" id="{8348C3D8-C85C-76D9-8BB2-DA7CB6339E4B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242698" y="3667555"/>
            <a:ext cx="15104" cy="57436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666" name="Group 73">
            <a:extLst>
              <a:ext uri="{FF2B5EF4-FFF2-40B4-BE49-F238E27FC236}">
                <a16:creationId xmlns:a16="http://schemas.microsoft.com/office/drawing/2014/main" id="{4B348CE4-588C-B9C2-CCA2-5BE2E8BE3F32}"/>
              </a:ext>
            </a:extLst>
          </p:cNvPr>
          <p:cNvGrpSpPr>
            <a:grpSpLocks/>
          </p:cNvGrpSpPr>
          <p:nvPr>
            <p:custDataLst>
              <p:tags r:id="rId53"/>
            </p:custDataLst>
          </p:nvPr>
        </p:nvGrpSpPr>
        <p:grpSpPr bwMode="auto">
          <a:xfrm>
            <a:off x="7915450" y="4190858"/>
            <a:ext cx="484997" cy="406835"/>
            <a:chOff x="5372" y="3323"/>
            <a:chExt cx="341" cy="253"/>
          </a:xfrm>
          <a:solidFill>
            <a:schemeClr val="bg1">
              <a:lumMod val="85000"/>
            </a:schemeClr>
          </a:solidFill>
        </p:grpSpPr>
        <p:sp>
          <p:nvSpPr>
            <p:cNvPr id="1141" name="Freeform 74">
              <a:extLst>
                <a:ext uri="{FF2B5EF4-FFF2-40B4-BE49-F238E27FC236}">
                  <a16:creationId xmlns:a16="http://schemas.microsoft.com/office/drawing/2014/main" id="{D4BBAD04-A87F-CC34-487D-1D5632BF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2" name="Freeform 75">
              <a:extLst>
                <a:ext uri="{FF2B5EF4-FFF2-40B4-BE49-F238E27FC236}">
                  <a16:creationId xmlns:a16="http://schemas.microsoft.com/office/drawing/2014/main" id="{5C99B091-B9CA-1D67-CA25-3EE242429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3" name="Freeform 76">
              <a:extLst>
                <a:ext uri="{FF2B5EF4-FFF2-40B4-BE49-F238E27FC236}">
                  <a16:creationId xmlns:a16="http://schemas.microsoft.com/office/drawing/2014/main" id="{198435BE-649A-CF90-CFF4-328329159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667" name="Freeform 77">
            <a:extLst>
              <a:ext uri="{FF2B5EF4-FFF2-40B4-BE49-F238E27FC236}">
                <a16:creationId xmlns:a16="http://schemas.microsoft.com/office/drawing/2014/main" id="{2F89E6FF-67A7-34CD-1BBA-D6D2DEAF5D38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537857" y="2841121"/>
            <a:ext cx="10070" cy="57436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68" name="Freeform 78">
            <a:extLst>
              <a:ext uri="{FF2B5EF4-FFF2-40B4-BE49-F238E27FC236}">
                <a16:creationId xmlns:a16="http://schemas.microsoft.com/office/drawing/2014/main" id="{EFA5658E-A156-ACEB-4DE7-425276FCA02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306469" y="3747327"/>
            <a:ext cx="15104" cy="57436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69" name="Freeform 79">
            <a:extLst>
              <a:ext uri="{FF2B5EF4-FFF2-40B4-BE49-F238E27FC236}">
                <a16:creationId xmlns:a16="http://schemas.microsoft.com/office/drawing/2014/main" id="{C0B61C94-B64C-31DD-BEF7-05ABC6B7B6FC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8329963" y="3756900"/>
            <a:ext cx="18461" cy="59030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0" name="Freeform 80">
            <a:extLst>
              <a:ext uri="{FF2B5EF4-FFF2-40B4-BE49-F238E27FC236}">
                <a16:creationId xmlns:a16="http://schemas.microsoft.com/office/drawing/2014/main" id="{011A6E1D-2419-E996-B9E4-9565C2ABA1DB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604984" y="2829952"/>
            <a:ext cx="1679" cy="55841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1" name="Freeform 81">
            <a:extLst>
              <a:ext uri="{FF2B5EF4-FFF2-40B4-BE49-F238E27FC236}">
                <a16:creationId xmlns:a16="http://schemas.microsoft.com/office/drawing/2014/main" id="{913AC5FF-6C02-C3A9-CB83-3DA89D9BA48D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667078" y="2774112"/>
            <a:ext cx="6713" cy="57436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2" name="Freeform 82">
            <a:extLst>
              <a:ext uri="{FF2B5EF4-FFF2-40B4-BE49-F238E27FC236}">
                <a16:creationId xmlns:a16="http://schemas.microsoft.com/office/drawing/2014/main" id="{008D02AA-79F9-0B96-2045-BA5019AB47A1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786230" y="2662432"/>
            <a:ext cx="5035" cy="57436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3" name="Freeform 83">
            <a:extLst>
              <a:ext uri="{FF2B5EF4-FFF2-40B4-BE49-F238E27FC236}">
                <a16:creationId xmlns:a16="http://schemas.microsoft.com/office/drawing/2014/main" id="{9B001694-3D13-742E-126E-B199259D9781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947335" y="3364423"/>
            <a:ext cx="28530" cy="59030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4" name="Freeform 84">
            <a:extLst>
              <a:ext uri="{FF2B5EF4-FFF2-40B4-BE49-F238E27FC236}">
                <a16:creationId xmlns:a16="http://schemas.microsoft.com/office/drawing/2014/main" id="{44B2FC6D-D473-98A1-E06F-8E4A73E5221D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014464" y="3378782"/>
            <a:ext cx="13426" cy="57436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5" name="Freeform 85">
            <a:extLst>
              <a:ext uri="{FF2B5EF4-FFF2-40B4-BE49-F238E27FC236}">
                <a16:creationId xmlns:a16="http://schemas.microsoft.com/office/drawing/2014/main" id="{A171014C-2192-DE92-9C3A-71DAD545E8F4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863426" y="3153826"/>
            <a:ext cx="26851" cy="55840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6" name="Freeform 86">
            <a:extLst>
              <a:ext uri="{FF2B5EF4-FFF2-40B4-BE49-F238E27FC236}">
                <a16:creationId xmlns:a16="http://schemas.microsoft.com/office/drawing/2014/main" id="{9DCDEA62-DE62-19DC-D25E-7A001DCEF963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803011" y="3128299"/>
            <a:ext cx="11748" cy="57436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7" name="Freeform 87">
            <a:extLst>
              <a:ext uri="{FF2B5EF4-FFF2-40B4-BE49-F238E27FC236}">
                <a16:creationId xmlns:a16="http://schemas.microsoft.com/office/drawing/2014/main" id="{4DCD3F47-DF7D-79E1-67E2-20C6AFBC24B7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014463" y="3461744"/>
            <a:ext cx="33564" cy="57436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8" name="Freeform 88">
            <a:extLst>
              <a:ext uri="{FF2B5EF4-FFF2-40B4-BE49-F238E27FC236}">
                <a16:creationId xmlns:a16="http://schemas.microsoft.com/office/drawing/2014/main" id="{1FBFDAF3-CA27-2A89-968D-34A36E77838F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967473" y="3450576"/>
            <a:ext cx="23495" cy="57436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79" name="Line 89">
            <a:extLst>
              <a:ext uri="{FF2B5EF4-FFF2-40B4-BE49-F238E27FC236}">
                <a16:creationId xmlns:a16="http://schemas.microsoft.com/office/drawing/2014/main" id="{5E1907FE-BB3F-17D2-15C8-5FD5735A3A90}"/>
              </a:ext>
            </a:extLst>
          </p:cNvPr>
          <p:cNvSpPr>
            <a:spLocks noChangeShapeType="1"/>
          </p:cNvSpPr>
          <p:nvPr>
            <p:custDataLst>
              <p:tags r:id="rId66"/>
            </p:custDataLst>
          </p:nvPr>
        </p:nvSpPr>
        <p:spPr bwMode="auto">
          <a:xfrm>
            <a:off x="8002716" y="3436217"/>
            <a:ext cx="21816" cy="6382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0" name="Freeform 90">
            <a:extLst>
              <a:ext uri="{FF2B5EF4-FFF2-40B4-BE49-F238E27FC236}">
                <a16:creationId xmlns:a16="http://schemas.microsoft.com/office/drawing/2014/main" id="{9B107387-1C7C-9D09-7BE5-892F238C1FC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024532" y="3442599"/>
            <a:ext cx="1679" cy="57436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1" name="Freeform 91">
            <a:extLst>
              <a:ext uri="{FF2B5EF4-FFF2-40B4-BE49-F238E27FC236}">
                <a16:creationId xmlns:a16="http://schemas.microsoft.com/office/drawing/2014/main" id="{7055E865-B84A-430A-2F24-AE11BD312DBD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975865" y="3436217"/>
            <a:ext cx="15104" cy="59032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2" name="Freeform 92">
            <a:extLst>
              <a:ext uri="{FF2B5EF4-FFF2-40B4-BE49-F238E27FC236}">
                <a16:creationId xmlns:a16="http://schemas.microsoft.com/office/drawing/2014/main" id="{FE65CBD9-0716-5991-A5C5-42B911EA80B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969153" y="3417072"/>
            <a:ext cx="6713" cy="60626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3" name="Freeform 93">
            <a:extLst>
              <a:ext uri="{FF2B5EF4-FFF2-40B4-BE49-F238E27FC236}">
                <a16:creationId xmlns:a16="http://schemas.microsoft.com/office/drawing/2014/main" id="{4C639CFC-6438-0E5C-A26C-9198484F9856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054740" y="3142657"/>
            <a:ext cx="1679" cy="57436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684" name="Group 94">
            <a:extLst>
              <a:ext uri="{FF2B5EF4-FFF2-40B4-BE49-F238E27FC236}">
                <a16:creationId xmlns:a16="http://schemas.microsoft.com/office/drawing/2014/main" id="{A54C25A5-53D9-486E-D637-D1EA769BDDBC}"/>
              </a:ext>
            </a:extLst>
          </p:cNvPr>
          <p:cNvGrpSpPr>
            <a:grpSpLocks/>
          </p:cNvGrpSpPr>
          <p:nvPr>
            <p:custDataLst>
              <p:tags r:id="rId71"/>
            </p:custDataLst>
          </p:nvPr>
        </p:nvGrpSpPr>
        <p:grpSpPr bwMode="auto">
          <a:xfrm>
            <a:off x="7922164" y="2812402"/>
            <a:ext cx="172853" cy="114872"/>
            <a:chOff x="5379" y="2466"/>
            <a:chExt cx="122" cy="71"/>
          </a:xfrm>
          <a:solidFill>
            <a:schemeClr val="bg1">
              <a:lumMod val="85000"/>
            </a:schemeClr>
          </a:solidFill>
        </p:grpSpPr>
        <p:sp>
          <p:nvSpPr>
            <p:cNvPr id="1132" name="Freeform 95">
              <a:extLst>
                <a:ext uri="{FF2B5EF4-FFF2-40B4-BE49-F238E27FC236}">
                  <a16:creationId xmlns:a16="http://schemas.microsoft.com/office/drawing/2014/main" id="{E1D7712A-53CD-BC45-CF87-9FAF87C38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3" name="Freeform 96">
              <a:extLst>
                <a:ext uri="{FF2B5EF4-FFF2-40B4-BE49-F238E27FC236}">
                  <a16:creationId xmlns:a16="http://schemas.microsoft.com/office/drawing/2014/main" id="{EFFF6ECE-D7B5-5AC1-5CC5-D84103E3D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4" name="Freeform 97">
              <a:extLst>
                <a:ext uri="{FF2B5EF4-FFF2-40B4-BE49-F238E27FC236}">
                  <a16:creationId xmlns:a16="http://schemas.microsoft.com/office/drawing/2014/main" id="{61D15461-3F89-6997-4FAF-8FDA9EE68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5" name="Freeform 98">
              <a:extLst>
                <a:ext uri="{FF2B5EF4-FFF2-40B4-BE49-F238E27FC236}">
                  <a16:creationId xmlns:a16="http://schemas.microsoft.com/office/drawing/2014/main" id="{44F766CD-AAA9-8B2A-8351-259AA538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6" name="Freeform 99">
              <a:extLst>
                <a:ext uri="{FF2B5EF4-FFF2-40B4-BE49-F238E27FC236}">
                  <a16:creationId xmlns:a16="http://schemas.microsoft.com/office/drawing/2014/main" id="{C6AFB742-12CE-1C9D-F966-1CDA60979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7" name="Line 100">
              <a:extLst>
                <a:ext uri="{FF2B5EF4-FFF2-40B4-BE49-F238E27FC236}">
                  <a16:creationId xmlns:a16="http://schemas.microsoft.com/office/drawing/2014/main" id="{2C5FA95D-5FE6-A669-D4B9-64BDF3CB80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8" name="Freeform 101">
              <a:extLst>
                <a:ext uri="{FF2B5EF4-FFF2-40B4-BE49-F238E27FC236}">
                  <a16:creationId xmlns:a16="http://schemas.microsoft.com/office/drawing/2014/main" id="{C52C828F-8C0F-9C08-E5D9-045E24E01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9" name="Line 102">
              <a:extLst>
                <a:ext uri="{FF2B5EF4-FFF2-40B4-BE49-F238E27FC236}">
                  <a16:creationId xmlns:a16="http://schemas.microsoft.com/office/drawing/2014/main" id="{081860AC-204A-A25A-5585-78B626586E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0" name="Freeform 103">
              <a:extLst>
                <a:ext uri="{FF2B5EF4-FFF2-40B4-BE49-F238E27FC236}">
                  <a16:creationId xmlns:a16="http://schemas.microsoft.com/office/drawing/2014/main" id="{3F4403FA-7A66-812D-8C67-51DD826D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685" name="Freeform 104">
            <a:extLst>
              <a:ext uri="{FF2B5EF4-FFF2-40B4-BE49-F238E27FC236}">
                <a16:creationId xmlns:a16="http://schemas.microsoft.com/office/drawing/2014/main" id="{70712CC5-2EDC-8288-4B8F-50C63492BDEE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6425216" y="2673600"/>
            <a:ext cx="6713" cy="57436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6" name="Freeform 105">
            <a:extLst>
              <a:ext uri="{FF2B5EF4-FFF2-40B4-BE49-F238E27FC236}">
                <a16:creationId xmlns:a16="http://schemas.microsoft.com/office/drawing/2014/main" id="{94B38E2C-0192-C607-5B36-33653A38DCEB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147709" y="4824244"/>
            <a:ext cx="57059" cy="59032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7" name="Freeform 106">
            <a:extLst>
              <a:ext uri="{FF2B5EF4-FFF2-40B4-BE49-F238E27FC236}">
                <a16:creationId xmlns:a16="http://schemas.microsoft.com/office/drawing/2014/main" id="{F4BB89BA-BC8C-23DA-F08C-D526F8A146B7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5581087" y="4661509"/>
            <a:ext cx="31886" cy="55841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8" name="Freeform 107">
            <a:extLst>
              <a:ext uri="{FF2B5EF4-FFF2-40B4-BE49-F238E27FC236}">
                <a16:creationId xmlns:a16="http://schemas.microsoft.com/office/drawing/2014/main" id="{FEB2A648-1910-4723-7897-2865FCB7E036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858392" y="1416398"/>
            <a:ext cx="21816" cy="57436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89" name="Freeform 108">
            <a:extLst>
              <a:ext uri="{FF2B5EF4-FFF2-40B4-BE49-F238E27FC236}">
                <a16:creationId xmlns:a16="http://schemas.microsoft.com/office/drawing/2014/main" id="{D0E6BCF6-AA40-497E-8708-F07E9D0749EA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8044670" y="1449903"/>
            <a:ext cx="16782" cy="57436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0" name="Freeform 109">
            <a:extLst>
              <a:ext uri="{FF2B5EF4-FFF2-40B4-BE49-F238E27FC236}">
                <a16:creationId xmlns:a16="http://schemas.microsoft.com/office/drawing/2014/main" id="{C7AE1194-D89F-ED23-A94E-33F17E6E4653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462339" y="1681240"/>
            <a:ext cx="5034" cy="59032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1" name="Freeform 110">
            <a:extLst>
              <a:ext uri="{FF2B5EF4-FFF2-40B4-BE49-F238E27FC236}">
                <a16:creationId xmlns:a16="http://schemas.microsoft.com/office/drawing/2014/main" id="{A19C15AD-6EC5-9A8B-58ED-85B844DFB1DB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265990" y="2246024"/>
            <a:ext cx="15104" cy="59032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2" name="Freeform 111">
            <a:extLst>
              <a:ext uri="{FF2B5EF4-FFF2-40B4-BE49-F238E27FC236}">
                <a16:creationId xmlns:a16="http://schemas.microsoft.com/office/drawing/2014/main" id="{F0524F5C-E435-AF0D-E91D-469D3604D26E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284450" y="2180611"/>
            <a:ext cx="16782" cy="57436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3" name="Freeform 112">
            <a:extLst>
              <a:ext uri="{FF2B5EF4-FFF2-40B4-BE49-F238E27FC236}">
                <a16:creationId xmlns:a16="http://schemas.microsoft.com/office/drawing/2014/main" id="{29EBA8A4-334D-BD52-7B73-A0AA9C7D6C6F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166977" y="2029045"/>
            <a:ext cx="1678" cy="60626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4" name="Freeform 113">
            <a:extLst>
              <a:ext uri="{FF2B5EF4-FFF2-40B4-BE49-F238E27FC236}">
                <a16:creationId xmlns:a16="http://schemas.microsoft.com/office/drawing/2014/main" id="{E51065D2-5043-2BCD-8FDB-1F51765F46E3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3839123" y="1151556"/>
            <a:ext cx="10070" cy="57436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5" name="Freeform 114">
            <a:extLst>
              <a:ext uri="{FF2B5EF4-FFF2-40B4-BE49-F238E27FC236}">
                <a16:creationId xmlns:a16="http://schemas.microsoft.com/office/drawing/2014/main" id="{C1AAA800-60CB-7389-2ACC-69DC7E82E054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3824020" y="918623"/>
            <a:ext cx="3356" cy="57436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6" name="Freeform 115">
            <a:extLst>
              <a:ext uri="{FF2B5EF4-FFF2-40B4-BE49-F238E27FC236}">
                <a16:creationId xmlns:a16="http://schemas.microsoft.com/office/drawing/2014/main" id="{6F0E804C-7DFF-9912-4371-7C27B04FA64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389773" y="2705508"/>
            <a:ext cx="26851" cy="55841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697" name="Freeform 116">
            <a:extLst>
              <a:ext uri="{FF2B5EF4-FFF2-40B4-BE49-F238E27FC236}">
                <a16:creationId xmlns:a16="http://schemas.microsoft.com/office/drawing/2014/main" id="{9EEDF724-C81F-6C64-12F8-BD2049578755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075951" y="2566707"/>
            <a:ext cx="20138" cy="59030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698" name="Group 117">
            <a:extLst>
              <a:ext uri="{FF2B5EF4-FFF2-40B4-BE49-F238E27FC236}">
                <a16:creationId xmlns:a16="http://schemas.microsoft.com/office/drawing/2014/main" id="{0F2B5165-6F45-3912-2F72-C4A50ADA90CB}"/>
              </a:ext>
            </a:extLst>
          </p:cNvPr>
          <p:cNvGrpSpPr>
            <a:grpSpLocks/>
          </p:cNvGrpSpPr>
          <p:nvPr>
            <p:custDataLst>
              <p:tags r:id="rId85"/>
            </p:custDataLst>
          </p:nvPr>
        </p:nvGrpSpPr>
        <p:grpSpPr bwMode="auto">
          <a:xfrm>
            <a:off x="5891552" y="2754967"/>
            <a:ext cx="48667" cy="376523"/>
            <a:chOff x="3950" y="2430"/>
            <a:chExt cx="36" cy="234"/>
          </a:xfrm>
          <a:solidFill>
            <a:schemeClr val="bg1">
              <a:lumMod val="85000"/>
            </a:schemeClr>
          </a:solidFill>
        </p:grpSpPr>
        <p:sp>
          <p:nvSpPr>
            <p:cNvPr id="1101" name="Freeform 118">
              <a:extLst>
                <a:ext uri="{FF2B5EF4-FFF2-40B4-BE49-F238E27FC236}">
                  <a16:creationId xmlns:a16="http://schemas.microsoft.com/office/drawing/2014/main" id="{A8C1BD38-1F73-29C3-CB5D-3D325BB59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2" name="Freeform 119">
              <a:extLst>
                <a:ext uri="{FF2B5EF4-FFF2-40B4-BE49-F238E27FC236}">
                  <a16:creationId xmlns:a16="http://schemas.microsoft.com/office/drawing/2014/main" id="{2B22D509-33ED-E510-9EC6-CD135553A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3" name="Freeform 120">
              <a:extLst>
                <a:ext uri="{FF2B5EF4-FFF2-40B4-BE49-F238E27FC236}">
                  <a16:creationId xmlns:a16="http://schemas.microsoft.com/office/drawing/2014/main" id="{E4435B67-6078-A775-0FDC-28ED6A7E2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4" name="Rectangle 121">
              <a:extLst>
                <a:ext uri="{FF2B5EF4-FFF2-40B4-BE49-F238E27FC236}">
                  <a16:creationId xmlns:a16="http://schemas.microsoft.com/office/drawing/2014/main" id="{3BC87E2F-3DCA-56AE-0ABA-9EA1A1370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CH" sz="1050">
                <a:latin typeface="Tenorite" pitchFamily="2" charset="0"/>
              </a:endParaRPr>
            </a:p>
          </p:txBody>
        </p:sp>
        <p:sp>
          <p:nvSpPr>
            <p:cNvPr id="1105" name="Line 122">
              <a:extLst>
                <a:ext uri="{FF2B5EF4-FFF2-40B4-BE49-F238E27FC236}">
                  <a16:creationId xmlns:a16="http://schemas.microsoft.com/office/drawing/2014/main" id="{8340A5B3-A5F9-CADE-92A4-3903920130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6" name="Freeform 123">
              <a:extLst>
                <a:ext uri="{FF2B5EF4-FFF2-40B4-BE49-F238E27FC236}">
                  <a16:creationId xmlns:a16="http://schemas.microsoft.com/office/drawing/2014/main" id="{EC96FCDA-B2EB-18E7-CB6A-0D2FC94E6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7" name="Freeform 124">
              <a:extLst>
                <a:ext uri="{FF2B5EF4-FFF2-40B4-BE49-F238E27FC236}">
                  <a16:creationId xmlns:a16="http://schemas.microsoft.com/office/drawing/2014/main" id="{A9A0823E-182E-27B6-513D-190066790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8" name="Line 125">
              <a:extLst>
                <a:ext uri="{FF2B5EF4-FFF2-40B4-BE49-F238E27FC236}">
                  <a16:creationId xmlns:a16="http://schemas.microsoft.com/office/drawing/2014/main" id="{8197D6DF-6ED3-4EC1-3CCF-D6F443FD63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9" name="Freeform 126">
              <a:extLst>
                <a:ext uri="{FF2B5EF4-FFF2-40B4-BE49-F238E27FC236}">
                  <a16:creationId xmlns:a16="http://schemas.microsoft.com/office/drawing/2014/main" id="{01CF6A9E-BC96-718B-C1B9-C36B04D61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0" name="Freeform 127">
              <a:extLst>
                <a:ext uri="{FF2B5EF4-FFF2-40B4-BE49-F238E27FC236}">
                  <a16:creationId xmlns:a16="http://schemas.microsoft.com/office/drawing/2014/main" id="{5E17C6CC-8C47-B2CA-33F6-C4D4FBFEF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1" name="Line 128">
              <a:extLst>
                <a:ext uri="{FF2B5EF4-FFF2-40B4-BE49-F238E27FC236}">
                  <a16:creationId xmlns:a16="http://schemas.microsoft.com/office/drawing/2014/main" id="{66FA68E1-8C16-396F-4A46-F7AB745FDE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2" name="Freeform 129">
              <a:extLst>
                <a:ext uri="{FF2B5EF4-FFF2-40B4-BE49-F238E27FC236}">
                  <a16:creationId xmlns:a16="http://schemas.microsoft.com/office/drawing/2014/main" id="{88A363B4-0A68-335C-EAEF-D3397EEDD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3" name="Freeform 130">
              <a:extLst>
                <a:ext uri="{FF2B5EF4-FFF2-40B4-BE49-F238E27FC236}">
                  <a16:creationId xmlns:a16="http://schemas.microsoft.com/office/drawing/2014/main" id="{6A560379-0F17-6903-ECC2-B1F598D7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4" name="Freeform 131">
              <a:extLst>
                <a:ext uri="{FF2B5EF4-FFF2-40B4-BE49-F238E27FC236}">
                  <a16:creationId xmlns:a16="http://schemas.microsoft.com/office/drawing/2014/main" id="{F0075BAA-B418-33B7-86AF-7F9BBD269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5" name="Freeform 132">
              <a:extLst>
                <a:ext uri="{FF2B5EF4-FFF2-40B4-BE49-F238E27FC236}">
                  <a16:creationId xmlns:a16="http://schemas.microsoft.com/office/drawing/2014/main" id="{E404FB08-82FF-35B9-C86B-28D31FB90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6" name="Freeform 133">
              <a:extLst>
                <a:ext uri="{FF2B5EF4-FFF2-40B4-BE49-F238E27FC236}">
                  <a16:creationId xmlns:a16="http://schemas.microsoft.com/office/drawing/2014/main" id="{4FAFE0CB-9184-DAC3-BAF7-384B876BC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7" name="Freeform 134">
              <a:extLst>
                <a:ext uri="{FF2B5EF4-FFF2-40B4-BE49-F238E27FC236}">
                  <a16:creationId xmlns:a16="http://schemas.microsoft.com/office/drawing/2014/main" id="{0AEF7CDE-37D2-9454-047A-32168D38E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8" name="Freeform 135">
              <a:extLst>
                <a:ext uri="{FF2B5EF4-FFF2-40B4-BE49-F238E27FC236}">
                  <a16:creationId xmlns:a16="http://schemas.microsoft.com/office/drawing/2014/main" id="{FD337A32-5761-5CA2-B736-553F49B7C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9" name="Rectangle 136">
              <a:extLst>
                <a:ext uri="{FF2B5EF4-FFF2-40B4-BE49-F238E27FC236}">
                  <a16:creationId xmlns:a16="http://schemas.microsoft.com/office/drawing/2014/main" id="{99ED2CC4-EA23-F4CE-A040-17FD87867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CH" sz="1050">
                <a:latin typeface="Tenorite" pitchFamily="2" charset="0"/>
              </a:endParaRPr>
            </a:p>
          </p:txBody>
        </p:sp>
        <p:sp>
          <p:nvSpPr>
            <p:cNvPr id="1120" name="Line 137">
              <a:extLst>
                <a:ext uri="{FF2B5EF4-FFF2-40B4-BE49-F238E27FC236}">
                  <a16:creationId xmlns:a16="http://schemas.microsoft.com/office/drawing/2014/main" id="{26E8D663-7994-3BD5-E7BC-4FB2C52E52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1" name="Freeform 138">
              <a:extLst>
                <a:ext uri="{FF2B5EF4-FFF2-40B4-BE49-F238E27FC236}">
                  <a16:creationId xmlns:a16="http://schemas.microsoft.com/office/drawing/2014/main" id="{F52B287B-48B0-55D9-9644-BC05D784A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2" name="Freeform 139">
              <a:extLst>
                <a:ext uri="{FF2B5EF4-FFF2-40B4-BE49-F238E27FC236}">
                  <a16:creationId xmlns:a16="http://schemas.microsoft.com/office/drawing/2014/main" id="{D6167311-2B90-70A4-4EC5-7E0BB7F23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3" name="Line 140">
              <a:extLst>
                <a:ext uri="{FF2B5EF4-FFF2-40B4-BE49-F238E27FC236}">
                  <a16:creationId xmlns:a16="http://schemas.microsoft.com/office/drawing/2014/main" id="{8473DA72-D145-B61E-9EFD-01D019D51B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4" name="Freeform 141">
              <a:extLst>
                <a:ext uri="{FF2B5EF4-FFF2-40B4-BE49-F238E27FC236}">
                  <a16:creationId xmlns:a16="http://schemas.microsoft.com/office/drawing/2014/main" id="{6D131A45-1046-15A5-0704-13E0C657B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5" name="Freeform 142">
              <a:extLst>
                <a:ext uri="{FF2B5EF4-FFF2-40B4-BE49-F238E27FC236}">
                  <a16:creationId xmlns:a16="http://schemas.microsoft.com/office/drawing/2014/main" id="{30FA24A7-4B9B-690C-9D60-C6C4AEC09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6" name="Line 143">
              <a:extLst>
                <a:ext uri="{FF2B5EF4-FFF2-40B4-BE49-F238E27FC236}">
                  <a16:creationId xmlns:a16="http://schemas.microsoft.com/office/drawing/2014/main" id="{AA1E5897-280C-5B7E-81F8-24AF1C8E8E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7" name="Freeform 144">
              <a:extLst>
                <a:ext uri="{FF2B5EF4-FFF2-40B4-BE49-F238E27FC236}">
                  <a16:creationId xmlns:a16="http://schemas.microsoft.com/office/drawing/2014/main" id="{C04B5709-0372-B341-638A-6195002A4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8" name="Freeform 145">
              <a:extLst>
                <a:ext uri="{FF2B5EF4-FFF2-40B4-BE49-F238E27FC236}">
                  <a16:creationId xmlns:a16="http://schemas.microsoft.com/office/drawing/2014/main" id="{301FE6AF-77ED-6A78-E64F-45C011637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9" name="Freeform 146">
              <a:extLst>
                <a:ext uri="{FF2B5EF4-FFF2-40B4-BE49-F238E27FC236}">
                  <a16:creationId xmlns:a16="http://schemas.microsoft.com/office/drawing/2014/main" id="{BF20A982-3356-B2B9-9283-CDCFEABD2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0" name="Freeform 147">
              <a:extLst>
                <a:ext uri="{FF2B5EF4-FFF2-40B4-BE49-F238E27FC236}">
                  <a16:creationId xmlns:a16="http://schemas.microsoft.com/office/drawing/2014/main" id="{87DF66F3-D6C4-F5D1-44ED-F9896B35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1" name="Freeform 148">
              <a:extLst>
                <a:ext uri="{FF2B5EF4-FFF2-40B4-BE49-F238E27FC236}">
                  <a16:creationId xmlns:a16="http://schemas.microsoft.com/office/drawing/2014/main" id="{75CEF5A3-F13D-8510-62F3-F0AA01EC8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grpSp>
        <p:nvGrpSpPr>
          <p:cNvPr id="699" name="Group 149">
            <a:extLst>
              <a:ext uri="{FF2B5EF4-FFF2-40B4-BE49-F238E27FC236}">
                <a16:creationId xmlns:a16="http://schemas.microsoft.com/office/drawing/2014/main" id="{408F8C61-6A9F-DBE0-EA0D-6ECA941EB1D3}"/>
              </a:ext>
            </a:extLst>
          </p:cNvPr>
          <p:cNvGrpSpPr>
            <a:grpSpLocks/>
          </p:cNvGrpSpPr>
          <p:nvPr>
            <p:custDataLst>
              <p:tags r:id="rId86"/>
            </p:custDataLst>
          </p:nvPr>
        </p:nvGrpSpPr>
        <p:grpSpPr bwMode="auto">
          <a:xfrm>
            <a:off x="8074879" y="3257529"/>
            <a:ext cx="196349" cy="215384"/>
            <a:chOff x="5486" y="2743"/>
            <a:chExt cx="137" cy="132"/>
          </a:xfrm>
          <a:solidFill>
            <a:schemeClr val="bg1">
              <a:lumMod val="85000"/>
            </a:schemeClr>
          </a:solidFill>
        </p:grpSpPr>
        <p:sp>
          <p:nvSpPr>
            <p:cNvPr id="1092" name="Freeform 150">
              <a:extLst>
                <a:ext uri="{FF2B5EF4-FFF2-40B4-BE49-F238E27FC236}">
                  <a16:creationId xmlns:a16="http://schemas.microsoft.com/office/drawing/2014/main" id="{0F67D46E-92BB-E0F8-499A-AF1178B41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3" name="Freeform 151">
              <a:extLst>
                <a:ext uri="{FF2B5EF4-FFF2-40B4-BE49-F238E27FC236}">
                  <a16:creationId xmlns:a16="http://schemas.microsoft.com/office/drawing/2014/main" id="{51277415-C032-0677-4019-23067B85B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4" name="Freeform 152">
              <a:extLst>
                <a:ext uri="{FF2B5EF4-FFF2-40B4-BE49-F238E27FC236}">
                  <a16:creationId xmlns:a16="http://schemas.microsoft.com/office/drawing/2014/main" id="{AAD1C253-9C2E-7BA2-2163-89E44B00C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5" name="Freeform 153">
              <a:extLst>
                <a:ext uri="{FF2B5EF4-FFF2-40B4-BE49-F238E27FC236}">
                  <a16:creationId xmlns:a16="http://schemas.microsoft.com/office/drawing/2014/main" id="{2DC865EE-1F08-059E-FC21-D39381F8F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6" name="Freeform 154">
              <a:extLst>
                <a:ext uri="{FF2B5EF4-FFF2-40B4-BE49-F238E27FC236}">
                  <a16:creationId xmlns:a16="http://schemas.microsoft.com/office/drawing/2014/main" id="{E9E5823B-0497-6E4A-60D5-3C6218362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7" name="Freeform 155">
              <a:extLst>
                <a:ext uri="{FF2B5EF4-FFF2-40B4-BE49-F238E27FC236}">
                  <a16:creationId xmlns:a16="http://schemas.microsoft.com/office/drawing/2014/main" id="{4346CE09-6E45-8012-84A7-EC347013C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8" name="Freeform 156">
              <a:extLst>
                <a:ext uri="{FF2B5EF4-FFF2-40B4-BE49-F238E27FC236}">
                  <a16:creationId xmlns:a16="http://schemas.microsoft.com/office/drawing/2014/main" id="{577B07E9-4287-8ED7-4944-CFEC1B44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9" name="Freeform 157">
              <a:extLst>
                <a:ext uri="{FF2B5EF4-FFF2-40B4-BE49-F238E27FC236}">
                  <a16:creationId xmlns:a16="http://schemas.microsoft.com/office/drawing/2014/main" id="{6960EFEC-D16E-5185-A447-24BDE29E5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0" name="Freeform 158">
              <a:extLst>
                <a:ext uri="{FF2B5EF4-FFF2-40B4-BE49-F238E27FC236}">
                  <a16:creationId xmlns:a16="http://schemas.microsoft.com/office/drawing/2014/main" id="{0B67C3DF-F8B8-2E3E-7A16-B22F65EAA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700" name="Freeform 159">
            <a:extLst>
              <a:ext uri="{FF2B5EF4-FFF2-40B4-BE49-F238E27FC236}">
                <a16:creationId xmlns:a16="http://schemas.microsoft.com/office/drawing/2014/main" id="{23898137-05A7-5D09-6609-DBCF50B7D113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4211682" y="2994282"/>
            <a:ext cx="11748" cy="55840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1" name="Freeform 160">
            <a:extLst>
              <a:ext uri="{FF2B5EF4-FFF2-40B4-BE49-F238E27FC236}">
                <a16:creationId xmlns:a16="http://schemas.microsoft.com/office/drawing/2014/main" id="{290ECE75-A154-551E-B979-99E117A11C81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4131129" y="3134681"/>
            <a:ext cx="15104" cy="57436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2" name="Freeform 161">
            <a:extLst>
              <a:ext uri="{FF2B5EF4-FFF2-40B4-BE49-F238E27FC236}">
                <a16:creationId xmlns:a16="http://schemas.microsoft.com/office/drawing/2014/main" id="{EF52A61A-860D-F0B4-E365-0550978A701A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6032520" y="1453094"/>
            <a:ext cx="770289" cy="333445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3" name="Freeform 162">
            <a:extLst>
              <a:ext uri="{FF2B5EF4-FFF2-40B4-BE49-F238E27FC236}">
                <a16:creationId xmlns:a16="http://schemas.microsoft.com/office/drawing/2014/main" id="{3859A2F2-7D10-0596-D4CE-75E75530922C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2149185" y="3429835"/>
            <a:ext cx="347385" cy="418004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4" name="Freeform 163">
            <a:extLst>
              <a:ext uri="{FF2B5EF4-FFF2-40B4-BE49-F238E27FC236}">
                <a16:creationId xmlns:a16="http://schemas.microsoft.com/office/drawing/2014/main" id="{B662D737-8C98-C44E-031C-52ED52A4170D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2375741" y="2857075"/>
            <a:ext cx="125865" cy="216979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705" name="Group 164">
            <a:extLst>
              <a:ext uri="{FF2B5EF4-FFF2-40B4-BE49-F238E27FC236}">
                <a16:creationId xmlns:a16="http://schemas.microsoft.com/office/drawing/2014/main" id="{09E03F78-4A15-C837-F7B8-4D4213805DCD}"/>
              </a:ext>
            </a:extLst>
          </p:cNvPr>
          <p:cNvGrpSpPr>
            <a:grpSpLocks/>
          </p:cNvGrpSpPr>
          <p:nvPr>
            <p:custDataLst>
              <p:tags r:id="rId92"/>
            </p:custDataLst>
          </p:nvPr>
        </p:nvGrpSpPr>
        <p:grpSpPr bwMode="auto">
          <a:xfrm>
            <a:off x="2073666" y="2691150"/>
            <a:ext cx="342351" cy="403644"/>
            <a:chOff x="1486" y="2412"/>
            <a:chExt cx="244" cy="256"/>
          </a:xfrm>
          <a:solidFill>
            <a:schemeClr val="bg1">
              <a:lumMod val="85000"/>
            </a:schemeClr>
          </a:solidFill>
        </p:grpSpPr>
        <p:sp>
          <p:nvSpPr>
            <p:cNvPr id="1088" name="Freeform 165">
              <a:extLst>
                <a:ext uri="{FF2B5EF4-FFF2-40B4-BE49-F238E27FC236}">
                  <a16:creationId xmlns:a16="http://schemas.microsoft.com/office/drawing/2014/main" id="{677C0B71-6EFA-5391-22CD-63E10EB3C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9" name="Freeform 166">
              <a:extLst>
                <a:ext uri="{FF2B5EF4-FFF2-40B4-BE49-F238E27FC236}">
                  <a16:creationId xmlns:a16="http://schemas.microsoft.com/office/drawing/2014/main" id="{460563E6-4E2C-C512-1501-64E546C83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0" name="Freeform 167">
              <a:extLst>
                <a:ext uri="{FF2B5EF4-FFF2-40B4-BE49-F238E27FC236}">
                  <a16:creationId xmlns:a16="http://schemas.microsoft.com/office/drawing/2014/main" id="{D77475E2-F5D8-63E9-EF7B-E526C3236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1" name="Freeform 168">
              <a:extLst>
                <a:ext uri="{FF2B5EF4-FFF2-40B4-BE49-F238E27FC236}">
                  <a16:creationId xmlns:a16="http://schemas.microsoft.com/office/drawing/2014/main" id="{C8E11799-D4FB-59D3-6AA0-51D9EF121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706" name="Freeform 169">
            <a:extLst>
              <a:ext uri="{FF2B5EF4-FFF2-40B4-BE49-F238E27FC236}">
                <a16:creationId xmlns:a16="http://schemas.microsoft.com/office/drawing/2014/main" id="{74853CBF-4684-1BAB-A915-4F8DB2DF8BAC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7381786" y="4238720"/>
            <a:ext cx="33564" cy="11168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7" name="Freeform 170">
            <a:extLst>
              <a:ext uri="{FF2B5EF4-FFF2-40B4-BE49-F238E27FC236}">
                <a16:creationId xmlns:a16="http://schemas.microsoft.com/office/drawing/2014/main" id="{B80358F4-FD30-B7F1-CE74-8AFA4D73896F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504293" y="4372737"/>
            <a:ext cx="1679" cy="4786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8" name="Line 171">
            <a:extLst>
              <a:ext uri="{FF2B5EF4-FFF2-40B4-BE49-F238E27FC236}">
                <a16:creationId xmlns:a16="http://schemas.microsoft.com/office/drawing/2014/main" id="{A9B73451-CBF4-7723-52BF-E0040A59DD55}"/>
              </a:ext>
            </a:extLst>
          </p:cNvPr>
          <p:cNvSpPr>
            <a:spLocks noChangeShapeType="1"/>
          </p:cNvSpPr>
          <p:nvPr>
            <p:custDataLst>
              <p:tags r:id="rId95"/>
            </p:custDataLst>
          </p:nvPr>
        </p:nvSpPr>
        <p:spPr bwMode="auto">
          <a:xfrm flipV="1">
            <a:off x="7599951" y="4371141"/>
            <a:ext cx="1678" cy="12764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09" name="Freeform 172">
            <a:extLst>
              <a:ext uri="{FF2B5EF4-FFF2-40B4-BE49-F238E27FC236}">
                <a16:creationId xmlns:a16="http://schemas.microsoft.com/office/drawing/2014/main" id="{95C860CE-ED94-FFC9-2CE3-526404298D73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599951" y="4371141"/>
            <a:ext cx="3356" cy="15954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0" name="Freeform 173">
            <a:extLst>
              <a:ext uri="{FF2B5EF4-FFF2-40B4-BE49-F238E27FC236}">
                <a16:creationId xmlns:a16="http://schemas.microsoft.com/office/drawing/2014/main" id="{B139B604-D895-E083-102A-1DB5A7423F15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915450" y="3838266"/>
            <a:ext cx="23495" cy="28718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1" name="Freeform 174">
            <a:extLst>
              <a:ext uri="{FF2B5EF4-FFF2-40B4-BE49-F238E27FC236}">
                <a16:creationId xmlns:a16="http://schemas.microsoft.com/office/drawing/2014/main" id="{0F811E06-742A-CFFE-42A2-995BD1ABC600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7922163" y="3764876"/>
            <a:ext cx="28529" cy="39887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2" name="Freeform 175">
            <a:extLst>
              <a:ext uri="{FF2B5EF4-FFF2-40B4-BE49-F238E27FC236}">
                <a16:creationId xmlns:a16="http://schemas.microsoft.com/office/drawing/2014/main" id="{F351472C-797B-C32A-669B-317B4A8E42BB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896990" y="3740946"/>
            <a:ext cx="18461" cy="30313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3" name="Freeform 176">
            <a:extLst>
              <a:ext uri="{FF2B5EF4-FFF2-40B4-BE49-F238E27FC236}">
                <a16:creationId xmlns:a16="http://schemas.microsoft.com/office/drawing/2014/main" id="{1C986236-6B18-3634-6586-81FD5AD701AD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811402" y="3618097"/>
            <a:ext cx="72162" cy="13880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4" name="Line 177">
            <a:extLst>
              <a:ext uri="{FF2B5EF4-FFF2-40B4-BE49-F238E27FC236}">
                <a16:creationId xmlns:a16="http://schemas.microsoft.com/office/drawing/2014/main" id="{96F5B1C1-800B-ABDD-F70B-35A912B0959C}"/>
              </a:ext>
            </a:extLst>
          </p:cNvPr>
          <p:cNvSpPr>
            <a:spLocks noChangeShapeType="1"/>
          </p:cNvSpPr>
          <p:nvPr>
            <p:custDataLst>
              <p:tags r:id="rId101"/>
            </p:custDataLst>
          </p:nvPr>
        </p:nvSpPr>
        <p:spPr bwMode="auto">
          <a:xfrm flipH="1" flipV="1">
            <a:off x="7804690" y="3584593"/>
            <a:ext cx="6713" cy="33503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5" name="Freeform 178">
            <a:extLst>
              <a:ext uri="{FF2B5EF4-FFF2-40B4-BE49-F238E27FC236}">
                <a16:creationId xmlns:a16="http://schemas.microsoft.com/office/drawing/2014/main" id="{119E86FB-BC87-9E9F-B271-A6F5E02BED3E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804690" y="3568638"/>
            <a:ext cx="6713" cy="15954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6" name="Line 179">
            <a:extLst>
              <a:ext uri="{FF2B5EF4-FFF2-40B4-BE49-F238E27FC236}">
                <a16:creationId xmlns:a16="http://schemas.microsoft.com/office/drawing/2014/main" id="{5C165FB8-196B-5011-39C7-A34B46C0E6AF}"/>
              </a:ext>
            </a:extLst>
          </p:cNvPr>
          <p:cNvSpPr>
            <a:spLocks noChangeShapeType="1"/>
          </p:cNvSpPr>
          <p:nvPr>
            <p:custDataLst>
              <p:tags r:id="rId103"/>
            </p:custDataLst>
          </p:nvPr>
        </p:nvSpPr>
        <p:spPr bwMode="auto">
          <a:xfrm flipV="1">
            <a:off x="7811402" y="3555874"/>
            <a:ext cx="0" cy="12764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7" name="Freeform 180">
            <a:extLst>
              <a:ext uri="{FF2B5EF4-FFF2-40B4-BE49-F238E27FC236}">
                <a16:creationId xmlns:a16="http://schemas.microsoft.com/office/drawing/2014/main" id="{404245D1-AB06-04F8-C914-3531EC29B1AB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7762735" y="3488867"/>
            <a:ext cx="48668" cy="67008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8" name="Freeform 181">
            <a:extLst>
              <a:ext uri="{FF2B5EF4-FFF2-40B4-BE49-F238E27FC236}">
                <a16:creationId xmlns:a16="http://schemas.microsoft.com/office/drawing/2014/main" id="{A4F08267-9114-F6C5-85F8-7B844163B750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777839" y="3431431"/>
            <a:ext cx="1678" cy="51054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19" name="Freeform 182">
            <a:extLst>
              <a:ext uri="{FF2B5EF4-FFF2-40B4-BE49-F238E27FC236}">
                <a16:creationId xmlns:a16="http://schemas.microsoft.com/office/drawing/2014/main" id="{F44BE01C-72DE-7CDD-9247-861B006B64D2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7784552" y="3425049"/>
            <a:ext cx="8390" cy="36695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0" name="Freeform 183">
            <a:extLst>
              <a:ext uri="{FF2B5EF4-FFF2-40B4-BE49-F238E27FC236}">
                <a16:creationId xmlns:a16="http://schemas.microsoft.com/office/drawing/2014/main" id="{70E37B45-35A3-AFA2-E9EF-7E1D050F0D40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801334" y="3405904"/>
            <a:ext cx="1678" cy="22336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1" name="Line 184">
            <a:extLst>
              <a:ext uri="{FF2B5EF4-FFF2-40B4-BE49-F238E27FC236}">
                <a16:creationId xmlns:a16="http://schemas.microsoft.com/office/drawing/2014/main" id="{FF2E8C43-09AE-D463-B287-A85A5B56A521}"/>
              </a:ext>
            </a:extLst>
          </p:cNvPr>
          <p:cNvSpPr>
            <a:spLocks noChangeShapeType="1"/>
          </p:cNvSpPr>
          <p:nvPr>
            <p:custDataLst>
              <p:tags r:id="rId108"/>
            </p:custDataLst>
          </p:nvPr>
        </p:nvSpPr>
        <p:spPr bwMode="auto">
          <a:xfrm flipV="1">
            <a:off x="7801334" y="3425049"/>
            <a:ext cx="1678" cy="3191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2" name="Freeform 185">
            <a:extLst>
              <a:ext uri="{FF2B5EF4-FFF2-40B4-BE49-F238E27FC236}">
                <a16:creationId xmlns:a16="http://schemas.microsoft.com/office/drawing/2014/main" id="{58666BA2-EEFF-29B1-40FC-FB24DB67E0B8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784552" y="3409095"/>
            <a:ext cx="1678" cy="15954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3" name="Freeform 186">
            <a:extLst>
              <a:ext uri="{FF2B5EF4-FFF2-40B4-BE49-F238E27FC236}">
                <a16:creationId xmlns:a16="http://schemas.microsoft.com/office/drawing/2014/main" id="{2B7CA491-D5EA-A8C9-A3B1-1AFC83F61A48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489190" y="4403050"/>
            <a:ext cx="102369" cy="87749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4" name="Freeform 187">
            <a:extLst>
              <a:ext uri="{FF2B5EF4-FFF2-40B4-BE49-F238E27FC236}">
                <a16:creationId xmlns:a16="http://schemas.microsoft.com/office/drawing/2014/main" id="{698B7F6E-D372-16EC-82BD-C453D73F9C6F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7635193" y="3618096"/>
            <a:ext cx="3356" cy="17550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5" name="Freeform 188">
            <a:extLst>
              <a:ext uri="{FF2B5EF4-FFF2-40B4-BE49-F238E27FC236}">
                <a16:creationId xmlns:a16="http://schemas.microsoft.com/office/drawing/2014/main" id="{48372CEB-BAE4-D1A5-C7AA-ED42960EAF8F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64708" y="3539921"/>
            <a:ext cx="16782" cy="15954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6" name="Freeform 189">
            <a:extLst>
              <a:ext uri="{FF2B5EF4-FFF2-40B4-BE49-F238E27FC236}">
                <a16:creationId xmlns:a16="http://schemas.microsoft.com/office/drawing/2014/main" id="{6B98F9A0-F0EE-4785-2BF4-ED5A03B72B96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581490" y="3452172"/>
            <a:ext cx="3356" cy="9572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7" name="Freeform 190">
            <a:extLst>
              <a:ext uri="{FF2B5EF4-FFF2-40B4-BE49-F238E27FC236}">
                <a16:creationId xmlns:a16="http://schemas.microsoft.com/office/drawing/2014/main" id="{3DB49C78-ED60-C84A-08D7-1CE1DA3D49A7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11993" y="3455362"/>
            <a:ext cx="38598" cy="22336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8" name="Freeform 191">
            <a:extLst>
              <a:ext uri="{FF2B5EF4-FFF2-40B4-BE49-F238E27FC236}">
                <a16:creationId xmlns:a16="http://schemas.microsoft.com/office/drawing/2014/main" id="{7A1BE0F3-76FB-6774-C9DF-6ECE43E28CB6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670435" y="3921229"/>
            <a:ext cx="1678" cy="14360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29" name="Freeform 192">
            <a:extLst>
              <a:ext uri="{FF2B5EF4-FFF2-40B4-BE49-F238E27FC236}">
                <a16:creationId xmlns:a16="http://schemas.microsoft.com/office/drawing/2014/main" id="{B0607786-6D96-1BFD-90C1-3EEAF8EF087D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6863224" y="3425049"/>
            <a:ext cx="1077399" cy="912588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0" name="Freeform 193">
            <a:extLst>
              <a:ext uri="{FF2B5EF4-FFF2-40B4-BE49-F238E27FC236}">
                <a16:creationId xmlns:a16="http://schemas.microsoft.com/office/drawing/2014/main" id="{E13030EC-FC26-140C-323D-ACC40B5FA30F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1034867" y="2084885"/>
            <a:ext cx="706518" cy="583929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1" name="Freeform 194">
            <a:extLst>
              <a:ext uri="{FF2B5EF4-FFF2-40B4-BE49-F238E27FC236}">
                <a16:creationId xmlns:a16="http://schemas.microsoft.com/office/drawing/2014/main" id="{2B6CA5BA-FF28-0671-A4D0-852167A491C2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2382453" y="3732968"/>
            <a:ext cx="223200" cy="266438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2" name="Freeform 195">
            <a:extLst>
              <a:ext uri="{FF2B5EF4-FFF2-40B4-BE49-F238E27FC236}">
                <a16:creationId xmlns:a16="http://schemas.microsoft.com/office/drawing/2014/main" id="{9762A4E9-6641-3CB1-A974-4A2DCB3FBE00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2562021" y="2933656"/>
            <a:ext cx="77197" cy="110084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3" name="Freeform 196">
            <a:extLst>
              <a:ext uri="{FF2B5EF4-FFF2-40B4-BE49-F238E27FC236}">
                <a16:creationId xmlns:a16="http://schemas.microsoft.com/office/drawing/2014/main" id="{106916C9-BAC8-8F28-DE76-CF3940754253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048494" y="2490126"/>
            <a:ext cx="73841" cy="59030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4" name="Freeform 197">
            <a:extLst>
              <a:ext uri="{FF2B5EF4-FFF2-40B4-BE49-F238E27FC236}">
                <a16:creationId xmlns:a16="http://schemas.microsoft.com/office/drawing/2014/main" id="{8E194470-2824-F24B-1982-06C41B40AEB7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36156" y="4856153"/>
            <a:ext cx="25174" cy="57436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5" name="Freeform 198">
            <a:extLst>
              <a:ext uri="{FF2B5EF4-FFF2-40B4-BE49-F238E27FC236}">
                <a16:creationId xmlns:a16="http://schemas.microsoft.com/office/drawing/2014/main" id="{1355896E-3C76-317D-4FD9-414828EA8606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399236" y="4835413"/>
            <a:ext cx="36920" cy="59030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6" name="Freeform 199">
            <a:extLst>
              <a:ext uri="{FF2B5EF4-FFF2-40B4-BE49-F238E27FC236}">
                <a16:creationId xmlns:a16="http://schemas.microsoft.com/office/drawing/2014/main" id="{60E01C94-8C95-49F5-D521-18FA31911BBE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399235" y="4814672"/>
            <a:ext cx="23495" cy="60626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7" name="Freeform 200">
            <a:extLst>
              <a:ext uri="{FF2B5EF4-FFF2-40B4-BE49-F238E27FC236}">
                <a16:creationId xmlns:a16="http://schemas.microsoft.com/office/drawing/2014/main" id="{36F090F4-0939-72BE-CFD7-521F0D68649A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367351" y="4808290"/>
            <a:ext cx="26851" cy="60626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8" name="Freeform 201">
            <a:extLst>
              <a:ext uri="{FF2B5EF4-FFF2-40B4-BE49-F238E27FC236}">
                <a16:creationId xmlns:a16="http://schemas.microsoft.com/office/drawing/2014/main" id="{54036AD9-816D-6E51-83BE-BB84FBDA76EB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340499" y="4798717"/>
            <a:ext cx="30208" cy="59032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39" name="Freeform 202">
            <a:extLst>
              <a:ext uri="{FF2B5EF4-FFF2-40B4-BE49-F238E27FC236}">
                <a16:creationId xmlns:a16="http://schemas.microsoft.com/office/drawing/2014/main" id="{C9E0EA46-4D54-8F04-5B44-EAD9633B6D26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315326" y="4785954"/>
            <a:ext cx="35243" cy="57436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0" name="Freeform 203">
            <a:extLst>
              <a:ext uri="{FF2B5EF4-FFF2-40B4-BE49-F238E27FC236}">
                <a16:creationId xmlns:a16="http://schemas.microsoft.com/office/drawing/2014/main" id="{A810A0C5-9C7D-9D4D-6BD4-EE30456D4110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308613" y="4766808"/>
            <a:ext cx="31886" cy="57436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1" name="Freeform 204">
            <a:extLst>
              <a:ext uri="{FF2B5EF4-FFF2-40B4-BE49-F238E27FC236}">
                <a16:creationId xmlns:a16="http://schemas.microsoft.com/office/drawing/2014/main" id="{99C1C60C-0D94-9BA2-BBE7-D6EF448B5885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202888" y="4455700"/>
            <a:ext cx="26851" cy="60626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2" name="Freeform 205">
            <a:extLst>
              <a:ext uri="{FF2B5EF4-FFF2-40B4-BE49-F238E27FC236}">
                <a16:creationId xmlns:a16="http://schemas.microsoft.com/office/drawing/2014/main" id="{9F5046C4-78B2-5198-6540-51470676F586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234773" y="4551425"/>
            <a:ext cx="18461" cy="5424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3" name="Freeform 206">
            <a:extLst>
              <a:ext uri="{FF2B5EF4-FFF2-40B4-BE49-F238E27FC236}">
                <a16:creationId xmlns:a16="http://schemas.microsoft.com/office/drawing/2014/main" id="{8ED5C4BA-2D01-6944-7328-C4C84788A04E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239808" y="4573762"/>
            <a:ext cx="8390" cy="59030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4" name="Freeform 207">
            <a:extLst>
              <a:ext uri="{FF2B5EF4-FFF2-40B4-BE49-F238E27FC236}">
                <a16:creationId xmlns:a16="http://schemas.microsoft.com/office/drawing/2014/main" id="{D4B14158-B41A-8B18-D2ED-1995E079CDD2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254911" y="4635983"/>
            <a:ext cx="18461" cy="60626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5" name="Freeform 208">
            <a:extLst>
              <a:ext uri="{FF2B5EF4-FFF2-40B4-BE49-F238E27FC236}">
                <a16:creationId xmlns:a16="http://schemas.microsoft.com/office/drawing/2014/main" id="{E482C3DE-5791-959B-4389-33A702FAA15B}"/>
              </a:ext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241485" y="4648746"/>
            <a:ext cx="28530" cy="59032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6" name="Freeform 209">
            <a:extLst>
              <a:ext uri="{FF2B5EF4-FFF2-40B4-BE49-F238E27FC236}">
                <a16:creationId xmlns:a16="http://schemas.microsoft.com/office/drawing/2014/main" id="{20B91A4B-A799-3205-581D-13BA07E002DD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273371" y="4682251"/>
            <a:ext cx="11747" cy="59030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7" name="Freeform 210">
            <a:extLst>
              <a:ext uri="{FF2B5EF4-FFF2-40B4-BE49-F238E27FC236}">
                <a16:creationId xmlns:a16="http://schemas.microsoft.com/office/drawing/2014/main" id="{EEFDD369-736B-DC2D-63DE-294888FF5A59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270015" y="4715755"/>
            <a:ext cx="21816" cy="55841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8" name="Freeform 211">
            <a:extLst>
              <a:ext uri="{FF2B5EF4-FFF2-40B4-BE49-F238E27FC236}">
                <a16:creationId xmlns:a16="http://schemas.microsoft.com/office/drawing/2014/main" id="{7355DFD7-0C08-DBAC-28A0-F304B772DC00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295187" y="4730115"/>
            <a:ext cx="18461" cy="57436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49" name="Freeform 212">
            <a:extLst>
              <a:ext uri="{FF2B5EF4-FFF2-40B4-BE49-F238E27FC236}">
                <a16:creationId xmlns:a16="http://schemas.microsoft.com/office/drawing/2014/main" id="{05AA1ADA-21B8-E812-EB63-5562D43F1025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296866" y="4758832"/>
            <a:ext cx="6713" cy="57436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0" name="Freeform 213">
            <a:extLst>
              <a:ext uri="{FF2B5EF4-FFF2-40B4-BE49-F238E27FC236}">
                <a16:creationId xmlns:a16="http://schemas.microsoft.com/office/drawing/2014/main" id="{E941D62E-02C6-FCCF-1CE8-7BEF4B2A37DA}"/>
              </a:ext>
            </a:extLst>
          </p:cNvPr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5741" y="4829031"/>
            <a:ext cx="36920" cy="57436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1" name="Freeform 214">
            <a:extLst>
              <a:ext uri="{FF2B5EF4-FFF2-40B4-BE49-F238E27FC236}">
                <a16:creationId xmlns:a16="http://schemas.microsoft.com/office/drawing/2014/main" id="{1DF229FE-4C6D-2542-4643-222F917579B9}"/>
              </a:ext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16017" y="4770000"/>
            <a:ext cx="130899" cy="1005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2" name="Freeform 215">
            <a:extLst>
              <a:ext uri="{FF2B5EF4-FFF2-40B4-BE49-F238E27FC236}">
                <a16:creationId xmlns:a16="http://schemas.microsoft.com/office/drawing/2014/main" id="{6764CB0D-F60D-F0DF-5C63-EAF4898E38F8}"/>
              </a:ext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1942767" y="2525225"/>
            <a:ext cx="55381" cy="59030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3" name="Freeform 216">
            <a:extLst>
              <a:ext uri="{FF2B5EF4-FFF2-40B4-BE49-F238E27FC236}">
                <a16:creationId xmlns:a16="http://schemas.microsoft.com/office/drawing/2014/main" id="{870D34DC-A8C7-7E54-29CD-8532916AEAAF}"/>
              </a:ext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1791730" y="2386422"/>
            <a:ext cx="265154" cy="110086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4" name="Freeform 217">
            <a:extLst>
              <a:ext uri="{FF2B5EF4-FFF2-40B4-BE49-F238E27FC236}">
                <a16:creationId xmlns:a16="http://schemas.microsoft.com/office/drawing/2014/main" id="{0474E446-3B38-7FD2-1368-E3D47DB130A7}"/>
              </a:ext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113943" y="2490126"/>
            <a:ext cx="93979" cy="70199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5" name="Freeform 218">
            <a:extLst>
              <a:ext uri="{FF2B5EF4-FFF2-40B4-BE49-F238E27FC236}">
                <a16:creationId xmlns:a16="http://schemas.microsoft.com/office/drawing/2014/main" id="{3DB86085-F12B-29BF-0359-962CAB673BC5}"/>
              </a:ext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1657474" y="2550752"/>
            <a:ext cx="35243" cy="8455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6" name="Freeform 219">
            <a:extLst>
              <a:ext uri="{FF2B5EF4-FFF2-40B4-BE49-F238E27FC236}">
                <a16:creationId xmlns:a16="http://schemas.microsoft.com/office/drawing/2014/main" id="{1D851AF9-0184-7DE7-F9C1-C85DF75A4C62}"/>
              </a:ext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573565" y="2550752"/>
            <a:ext cx="99014" cy="14678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7" name="Freeform 220">
            <a:extLst>
              <a:ext uri="{FF2B5EF4-FFF2-40B4-BE49-F238E27FC236}">
                <a16:creationId xmlns:a16="http://schemas.microsoft.com/office/drawing/2014/main" id="{B66DC616-CE9D-18E7-108A-43EB8B7829C9}"/>
              </a:ext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1623911" y="2662432"/>
            <a:ext cx="75519" cy="57436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8" name="Freeform 221">
            <a:extLst>
              <a:ext uri="{FF2B5EF4-FFF2-40B4-BE49-F238E27FC236}">
                <a16:creationId xmlns:a16="http://schemas.microsoft.com/office/drawing/2014/main" id="{F472A5E4-6900-FF1B-33F1-79DA45C1420D}"/>
              </a:ext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657475" y="2624141"/>
            <a:ext cx="151037" cy="87749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59" name="Freeform 222">
            <a:extLst>
              <a:ext uri="{FF2B5EF4-FFF2-40B4-BE49-F238E27FC236}">
                <a16:creationId xmlns:a16="http://schemas.microsoft.com/office/drawing/2014/main" id="{F642684E-ED96-39C6-495C-B6B303A4F588}"/>
              </a:ext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675935" y="2654455"/>
            <a:ext cx="132577" cy="122849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0" name="Freeform 223">
            <a:extLst>
              <a:ext uri="{FF2B5EF4-FFF2-40B4-BE49-F238E27FC236}">
                <a16:creationId xmlns:a16="http://schemas.microsoft.com/office/drawing/2014/main" id="{486B92B4-2BD2-B1A0-DD99-AFA12FC5C575}"/>
              </a:ext>
            </a:extLst>
          </p:cNvPr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29638" y="2767730"/>
            <a:ext cx="88943" cy="1005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1" name="Freeform 224">
            <a:extLst>
              <a:ext uri="{FF2B5EF4-FFF2-40B4-BE49-F238E27FC236}">
                <a16:creationId xmlns:a16="http://schemas.microsoft.com/office/drawing/2014/main" id="{C9FCE025-FA7D-2E6C-2229-1A9BCE2717B3}"/>
              </a:ext>
            </a:extLst>
          </p:cNvPr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15226" y="2821975"/>
            <a:ext cx="151037" cy="79772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2" name="Freeform 225">
            <a:extLst>
              <a:ext uri="{FF2B5EF4-FFF2-40B4-BE49-F238E27FC236}">
                <a16:creationId xmlns:a16="http://schemas.microsoft.com/office/drawing/2014/main" id="{615C1DF0-AD79-5EC0-2F05-B379A7852083}"/>
              </a:ext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535170" y="4082368"/>
            <a:ext cx="140968" cy="156353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3" name="Freeform 226">
            <a:extLst>
              <a:ext uri="{FF2B5EF4-FFF2-40B4-BE49-F238E27FC236}">
                <a16:creationId xmlns:a16="http://schemas.microsoft.com/office/drawing/2014/main" id="{C1CA3881-51E8-3393-59FA-A0A11954E35E}"/>
              </a:ext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4169728" y="682499"/>
            <a:ext cx="250050" cy="9253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4" name="Freeform 227">
            <a:extLst>
              <a:ext uri="{FF2B5EF4-FFF2-40B4-BE49-F238E27FC236}">
                <a16:creationId xmlns:a16="http://schemas.microsoft.com/office/drawing/2014/main" id="{9F1152CF-1BD3-76C4-CA18-9A7CC5E0BD63}"/>
              </a:ext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4092531" y="913837"/>
            <a:ext cx="474928" cy="363759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5" name="Freeform 228">
            <a:extLst>
              <a:ext uri="{FF2B5EF4-FFF2-40B4-BE49-F238E27FC236}">
                <a16:creationId xmlns:a16="http://schemas.microsoft.com/office/drawing/2014/main" id="{4843DE6F-592A-C759-85E7-80EB75587DFF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4451664" y="1759417"/>
            <a:ext cx="52024" cy="90939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6" name="Freeform 229">
            <a:extLst>
              <a:ext uri="{FF2B5EF4-FFF2-40B4-BE49-F238E27FC236}">
                <a16:creationId xmlns:a16="http://schemas.microsoft.com/office/drawing/2014/main" id="{F5AC23F6-5A51-4B7C-D3BA-9402A4D1BFFC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42877" y="1598277"/>
            <a:ext cx="88943" cy="59032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7" name="Freeform 230">
            <a:extLst>
              <a:ext uri="{FF2B5EF4-FFF2-40B4-BE49-F238E27FC236}">
                <a16:creationId xmlns:a16="http://schemas.microsoft.com/office/drawing/2014/main" id="{9F8057E5-4D0E-1989-B9A9-F94143F11E77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077427" y="1416398"/>
            <a:ext cx="88945" cy="73390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8" name="Freeform 231">
            <a:extLst>
              <a:ext uri="{FF2B5EF4-FFF2-40B4-BE49-F238E27FC236}">
                <a16:creationId xmlns:a16="http://schemas.microsoft.com/office/drawing/2014/main" id="{249C52CA-EBBF-F92E-DD43-779BFC57E05C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057288" y="1480215"/>
            <a:ext cx="88945" cy="57436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69" name="Freeform 232">
            <a:extLst>
              <a:ext uri="{FF2B5EF4-FFF2-40B4-BE49-F238E27FC236}">
                <a16:creationId xmlns:a16="http://schemas.microsoft.com/office/drawing/2014/main" id="{604678F9-E79F-17C6-1FC9-7286F792E7D9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861143" y="2037022"/>
            <a:ext cx="35242" cy="132421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0" name="Freeform 233">
            <a:extLst>
              <a:ext uri="{FF2B5EF4-FFF2-40B4-BE49-F238E27FC236}">
                <a16:creationId xmlns:a16="http://schemas.microsoft.com/office/drawing/2014/main" id="{69F7F4F5-C747-3AF4-12A9-BBE5E03ABA58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807440" y="2089671"/>
            <a:ext cx="73841" cy="130826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1" name="Freeform 234">
            <a:extLst>
              <a:ext uri="{FF2B5EF4-FFF2-40B4-BE49-F238E27FC236}">
                <a16:creationId xmlns:a16="http://schemas.microsoft.com/office/drawing/2014/main" id="{E3909AA5-1468-0773-7C5B-2AA2DC559F43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3751857" y="1339817"/>
            <a:ext cx="102371" cy="145185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2" name="Freeform 235">
            <a:extLst>
              <a:ext uri="{FF2B5EF4-FFF2-40B4-BE49-F238E27FC236}">
                <a16:creationId xmlns:a16="http://schemas.microsoft.com/office/drawing/2014/main" id="{D7308FF3-EB4D-8A0B-346A-6C5891E11B52}"/>
              </a:ext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3553831" y="2255596"/>
            <a:ext cx="323891" cy="392477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3" name="Freeform 236">
            <a:extLst>
              <a:ext uri="{FF2B5EF4-FFF2-40B4-BE49-F238E27FC236}">
                <a16:creationId xmlns:a16="http://schemas.microsoft.com/office/drawing/2014/main" id="{910549E2-3C64-3619-8B21-D2CEDBC1747F}"/>
              </a:ext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3676339" y="2316222"/>
            <a:ext cx="438008" cy="470654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4" name="Freeform 237">
            <a:extLst>
              <a:ext uri="{FF2B5EF4-FFF2-40B4-BE49-F238E27FC236}">
                <a16:creationId xmlns:a16="http://schemas.microsoft.com/office/drawing/2014/main" id="{9BA2892B-1E9C-0248-B1EC-5779601DD271}"/>
              </a:ext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0387" y="1920555"/>
            <a:ext cx="521917" cy="582334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5" name="Freeform 238">
            <a:extLst>
              <a:ext uri="{FF2B5EF4-FFF2-40B4-BE49-F238E27FC236}">
                <a16:creationId xmlns:a16="http://schemas.microsoft.com/office/drawing/2014/main" id="{EA4604FF-7CB6-B369-C895-7AD05BE94E1E}"/>
              </a:ext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4241889" y="2056167"/>
            <a:ext cx="406122" cy="438744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6" name="Freeform 239">
            <a:extLst>
              <a:ext uri="{FF2B5EF4-FFF2-40B4-BE49-F238E27FC236}">
                <a16:creationId xmlns:a16="http://schemas.microsoft.com/office/drawing/2014/main" id="{912C3698-BA9C-3EFE-D44C-968C5571DE85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4191544" y="1920555"/>
            <a:ext cx="99014" cy="237720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7" name="Freeform 240">
            <a:extLst>
              <a:ext uri="{FF2B5EF4-FFF2-40B4-BE49-F238E27FC236}">
                <a16:creationId xmlns:a16="http://schemas.microsoft.com/office/drawing/2014/main" id="{0BF608B3-56F1-8517-1B36-D768D973F4A5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538727" y="2233260"/>
            <a:ext cx="245016" cy="216979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8" name="Freeform 241">
            <a:extLst>
              <a:ext uri="{FF2B5EF4-FFF2-40B4-BE49-F238E27FC236}">
                <a16:creationId xmlns:a16="http://schemas.microsoft.com/office/drawing/2014/main" id="{F9F48578-B8C9-A9BA-9B92-D075D27E00A1}"/>
              </a:ext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3505165" y="1035091"/>
            <a:ext cx="201383" cy="94130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79" name="Freeform 242">
            <a:extLst>
              <a:ext uri="{FF2B5EF4-FFF2-40B4-BE49-F238E27FC236}">
                <a16:creationId xmlns:a16="http://schemas.microsoft.com/office/drawing/2014/main" id="{8BE355DF-969C-45A3-8ED0-0E8CD8FF7534}"/>
              </a:ext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342581" y="1299932"/>
            <a:ext cx="15104" cy="57436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0" name="Freeform 243">
            <a:extLst>
              <a:ext uri="{FF2B5EF4-FFF2-40B4-BE49-F238E27FC236}">
                <a16:creationId xmlns:a16="http://schemas.microsoft.com/office/drawing/2014/main" id="{9E8FABD2-974D-1DE2-90E5-33DA99CC1AE6}"/>
              </a:ext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4223430" y="961700"/>
            <a:ext cx="248372" cy="397262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1" name="Freeform 244">
            <a:extLst>
              <a:ext uri="{FF2B5EF4-FFF2-40B4-BE49-F238E27FC236}">
                <a16:creationId xmlns:a16="http://schemas.microsoft.com/office/drawing/2014/main" id="{DC8B1977-255D-1011-E14A-B90588328B2B}"/>
              </a:ext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4369432" y="1277596"/>
            <a:ext cx="28530" cy="57436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2" name="Freeform 245">
            <a:extLst>
              <a:ext uri="{FF2B5EF4-FFF2-40B4-BE49-F238E27FC236}">
                <a16:creationId xmlns:a16="http://schemas.microsoft.com/office/drawing/2014/main" id="{78E3FD6A-2C80-C1DC-D8D4-F43B769806C1}"/>
              </a:ext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3782065" y="1440330"/>
            <a:ext cx="30208" cy="57436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3" name="Freeform 246">
            <a:extLst>
              <a:ext uri="{FF2B5EF4-FFF2-40B4-BE49-F238E27FC236}">
                <a16:creationId xmlns:a16="http://schemas.microsoft.com/office/drawing/2014/main" id="{6AC2F35B-DD0F-E696-EE36-928C64AFD688}"/>
              </a:ext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788980" y="1971609"/>
            <a:ext cx="53702" cy="57436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4" name="Freeform 247">
            <a:extLst>
              <a:ext uri="{FF2B5EF4-FFF2-40B4-BE49-F238E27FC236}">
                <a16:creationId xmlns:a16="http://schemas.microsoft.com/office/drawing/2014/main" id="{586C4996-DBDF-4DAF-2E98-CC5722A0C5B6}"/>
              </a:ext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74467" y="2767730"/>
            <a:ext cx="344029" cy="245697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5" name="Freeform 248">
            <a:extLst>
              <a:ext uri="{FF2B5EF4-FFF2-40B4-BE49-F238E27FC236}">
                <a16:creationId xmlns:a16="http://schemas.microsoft.com/office/drawing/2014/main" id="{9A455745-8B40-4690-7F20-727C3F9DD609}"/>
              </a:ext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307339" y="2936847"/>
            <a:ext cx="528630" cy="555211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6" name="Freeform 249">
            <a:extLst>
              <a:ext uri="{FF2B5EF4-FFF2-40B4-BE49-F238E27FC236}">
                <a16:creationId xmlns:a16="http://schemas.microsoft.com/office/drawing/2014/main" id="{89CA67C8-46E5-E724-2315-247408150F5D}"/>
              </a:ext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240212" y="3037358"/>
            <a:ext cx="58736" cy="55841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7" name="Freeform 250">
            <a:extLst>
              <a:ext uri="{FF2B5EF4-FFF2-40B4-BE49-F238E27FC236}">
                <a16:creationId xmlns:a16="http://schemas.microsoft.com/office/drawing/2014/main" id="{6211C697-F0A6-54C7-47A4-A518826391D6}"/>
              </a:ext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221751" y="3037359"/>
            <a:ext cx="161106" cy="202621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8" name="Freeform 251">
            <a:extLst>
              <a:ext uri="{FF2B5EF4-FFF2-40B4-BE49-F238E27FC236}">
                <a16:creationId xmlns:a16="http://schemas.microsoft.com/office/drawing/2014/main" id="{414BB16F-C33D-4ECD-7071-2DF87D1169D0}"/>
              </a:ext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785623" y="3444194"/>
            <a:ext cx="275223" cy="523302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89" name="Freeform 252">
            <a:extLst>
              <a:ext uri="{FF2B5EF4-FFF2-40B4-BE49-F238E27FC236}">
                <a16:creationId xmlns:a16="http://schemas.microsoft.com/office/drawing/2014/main" id="{1FC5A580-85BA-673D-E0F1-EC4AC7C38158}"/>
              </a:ext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505365" y="3685105"/>
            <a:ext cx="251729" cy="288774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0" name="Freeform 253">
            <a:extLst>
              <a:ext uri="{FF2B5EF4-FFF2-40B4-BE49-F238E27FC236}">
                <a16:creationId xmlns:a16="http://schemas.microsoft.com/office/drawing/2014/main" id="{79895F36-6C3C-418B-1E61-3DE665E23695}"/>
              </a:ext>
            </a:extLst>
          </p:cNvPr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5111193" y="3485676"/>
            <a:ext cx="208096" cy="437149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1" name="Freeform 254">
            <a:extLst>
              <a:ext uri="{FF2B5EF4-FFF2-40B4-BE49-F238E27FC236}">
                <a16:creationId xmlns:a16="http://schemas.microsoft.com/office/drawing/2014/main" id="{92A3D2E3-FCA2-5062-98F6-A4A1FAE86D37}"/>
              </a:ext>
            </a:extLst>
          </p:cNvPr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68842" y="3182543"/>
            <a:ext cx="38599" cy="67008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2" name="Freeform 255">
            <a:extLst>
              <a:ext uri="{FF2B5EF4-FFF2-40B4-BE49-F238E27FC236}">
                <a16:creationId xmlns:a16="http://schemas.microsoft.com/office/drawing/2014/main" id="{A70F3C75-4277-CF05-A0EE-FE8A2594FDE4}"/>
              </a:ext>
            </a:extLst>
          </p:cNvPr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757095" y="3142657"/>
            <a:ext cx="58736" cy="60626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3" name="Freeform 256">
            <a:extLst>
              <a:ext uri="{FF2B5EF4-FFF2-40B4-BE49-F238E27FC236}">
                <a16:creationId xmlns:a16="http://schemas.microsoft.com/office/drawing/2014/main" id="{E6FBCFB5-C6CD-DC39-07A6-C6AF838739AA}"/>
              </a:ext>
            </a:extLst>
          </p:cNvPr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84342" y="1835998"/>
            <a:ext cx="531987" cy="475439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4" name="Freeform 257">
            <a:extLst>
              <a:ext uri="{FF2B5EF4-FFF2-40B4-BE49-F238E27FC236}">
                <a16:creationId xmlns:a16="http://schemas.microsoft.com/office/drawing/2014/main" id="{1CAFDFC9-64D0-9808-BE34-AA528E63CA53}"/>
              </a:ext>
            </a:extLst>
          </p:cNvPr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5109515" y="2496508"/>
            <a:ext cx="261798" cy="229742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5" name="Freeform 258">
            <a:extLst>
              <a:ext uri="{FF2B5EF4-FFF2-40B4-BE49-F238E27FC236}">
                <a16:creationId xmlns:a16="http://schemas.microsoft.com/office/drawing/2014/main" id="{A2A882AF-0B91-3C4A-E3C5-3A3574920944}"/>
              </a:ext>
            </a:extLst>
          </p:cNvPr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315932" y="2269956"/>
            <a:ext cx="127543" cy="121253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6" name="Freeform 259">
            <a:extLst>
              <a:ext uri="{FF2B5EF4-FFF2-40B4-BE49-F238E27FC236}">
                <a16:creationId xmlns:a16="http://schemas.microsoft.com/office/drawing/2014/main" id="{76BA4EB3-8440-7131-C255-F1A55E831C35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4985329" y="1920556"/>
            <a:ext cx="234947" cy="264842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7" name="Freeform 260">
            <a:extLst>
              <a:ext uri="{FF2B5EF4-FFF2-40B4-BE49-F238E27FC236}">
                <a16:creationId xmlns:a16="http://schemas.microsoft.com/office/drawing/2014/main" id="{BBC6445D-AFA6-D5E9-7F9B-4E06BC0976E8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513958" y="1880670"/>
            <a:ext cx="350743" cy="291964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8" name="Freeform 261">
            <a:extLst>
              <a:ext uri="{FF2B5EF4-FFF2-40B4-BE49-F238E27FC236}">
                <a16:creationId xmlns:a16="http://schemas.microsoft.com/office/drawing/2014/main" id="{7BCD2E02-C774-94E0-63B0-41B4F73AD938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547522" y="1930128"/>
            <a:ext cx="385984" cy="425981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799" name="Freeform 262">
            <a:extLst>
              <a:ext uri="{FF2B5EF4-FFF2-40B4-BE49-F238E27FC236}">
                <a16:creationId xmlns:a16="http://schemas.microsoft.com/office/drawing/2014/main" id="{C2C1AB2C-1AA6-164F-79CD-7343DF27B521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6383262" y="2199756"/>
            <a:ext cx="233269" cy="588715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0" name="Freeform 263">
            <a:extLst>
              <a:ext uri="{FF2B5EF4-FFF2-40B4-BE49-F238E27FC236}">
                <a16:creationId xmlns:a16="http://schemas.microsoft.com/office/drawing/2014/main" id="{A18C0450-0844-C7D6-E14D-41C7BA832447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3553831" y="2711890"/>
            <a:ext cx="85589" cy="59032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1" name="Freeform 264">
            <a:extLst>
              <a:ext uri="{FF2B5EF4-FFF2-40B4-BE49-F238E27FC236}">
                <a16:creationId xmlns:a16="http://schemas.microsoft.com/office/drawing/2014/main" id="{C4826E04-C5A9-2D15-67EB-C3FDE1C5EB47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3642775" y="2794853"/>
            <a:ext cx="78875" cy="1005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2" name="Freeform 265">
            <a:extLst>
              <a:ext uri="{FF2B5EF4-FFF2-40B4-BE49-F238E27FC236}">
                <a16:creationId xmlns:a16="http://schemas.microsoft.com/office/drawing/2014/main" id="{E29D8136-ECB0-59CF-C1AC-E2CCAAACA5AD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3688086" y="2845906"/>
            <a:ext cx="110761" cy="132422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3" name="Freeform 266">
            <a:extLst>
              <a:ext uri="{FF2B5EF4-FFF2-40B4-BE49-F238E27FC236}">
                <a16:creationId xmlns:a16="http://schemas.microsoft.com/office/drawing/2014/main" id="{3ECF2E0F-7AD1-6302-9FD8-7C0E48530BEA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914643" y="2764540"/>
            <a:ext cx="110761" cy="202619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4" name="Freeform 267">
            <a:extLst>
              <a:ext uri="{FF2B5EF4-FFF2-40B4-BE49-F238E27FC236}">
                <a16:creationId xmlns:a16="http://schemas.microsoft.com/office/drawing/2014/main" id="{08803F69-24DD-0DAC-8476-8A1BDBD2CB6E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547118" y="2679981"/>
            <a:ext cx="92301" cy="59032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5" name="Freeform 268">
            <a:extLst>
              <a:ext uri="{FF2B5EF4-FFF2-40B4-BE49-F238E27FC236}">
                <a16:creationId xmlns:a16="http://schemas.microsoft.com/office/drawing/2014/main" id="{A0928F2C-FCA5-D27C-E724-1EC07019F87B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996873" y="2758158"/>
            <a:ext cx="45312" cy="156353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6" name="Freeform 269">
            <a:extLst>
              <a:ext uri="{FF2B5EF4-FFF2-40B4-BE49-F238E27FC236}">
                <a16:creationId xmlns:a16="http://schemas.microsoft.com/office/drawing/2014/main" id="{FD2A1C65-DE58-88F6-D109-6E7E260FE81D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023725" y="2719868"/>
            <a:ext cx="80553" cy="189856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7" name="Freeform 270">
            <a:extLst>
              <a:ext uri="{FF2B5EF4-FFF2-40B4-BE49-F238E27FC236}">
                <a16:creationId xmlns:a16="http://schemas.microsoft.com/office/drawing/2014/main" id="{95A57B7F-7847-06E3-F31C-5E06A16E125D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4794015" y="3930802"/>
            <a:ext cx="26851" cy="60626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8" name="Freeform 271">
            <a:extLst>
              <a:ext uri="{FF2B5EF4-FFF2-40B4-BE49-F238E27FC236}">
                <a16:creationId xmlns:a16="http://schemas.microsoft.com/office/drawing/2014/main" id="{50657926-B1B7-EEB7-3928-0AF94AC00BE8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683255" y="4028124"/>
            <a:ext cx="65449" cy="57436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09" name="Freeform 272">
            <a:extLst>
              <a:ext uri="{FF2B5EF4-FFF2-40B4-BE49-F238E27FC236}">
                <a16:creationId xmlns:a16="http://schemas.microsoft.com/office/drawing/2014/main" id="{F764DCBF-8B2F-A31A-081B-F8B77B6BB32C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7027687" y="1730698"/>
            <a:ext cx="127543" cy="172307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0" name="Freeform 273">
            <a:extLst>
              <a:ext uri="{FF2B5EF4-FFF2-40B4-BE49-F238E27FC236}">
                <a16:creationId xmlns:a16="http://schemas.microsoft.com/office/drawing/2014/main" id="{EB5A816C-97EE-5CE9-B3EE-30DE16AC9A11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6045945" y="2147107"/>
            <a:ext cx="218165" cy="124444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1" name="Freeform 274">
            <a:extLst>
              <a:ext uri="{FF2B5EF4-FFF2-40B4-BE49-F238E27FC236}">
                <a16:creationId xmlns:a16="http://schemas.microsoft.com/office/drawing/2014/main" id="{E5E6F223-C902-5A45-9A5C-D5772E3CBAD5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274179" y="2202947"/>
            <a:ext cx="77197" cy="65412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2" name="Freeform 275">
            <a:extLst>
              <a:ext uri="{FF2B5EF4-FFF2-40B4-BE49-F238E27FC236}">
                <a16:creationId xmlns:a16="http://schemas.microsoft.com/office/drawing/2014/main" id="{9BEC61EC-9475-13C1-E1B1-0EE638BDCE5C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264111" y="2274741"/>
            <a:ext cx="140968" cy="167521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3" name="Freeform 276">
            <a:extLst>
              <a:ext uri="{FF2B5EF4-FFF2-40B4-BE49-F238E27FC236}">
                <a16:creationId xmlns:a16="http://schemas.microsoft.com/office/drawing/2014/main" id="{F827CDC9-CA9C-1FB4-488F-5BD768B53D00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599748" y="2391209"/>
            <a:ext cx="213130" cy="271224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4" name="Freeform 277">
            <a:extLst>
              <a:ext uri="{FF2B5EF4-FFF2-40B4-BE49-F238E27FC236}">
                <a16:creationId xmlns:a16="http://schemas.microsoft.com/office/drawing/2014/main" id="{5BCC6C2E-E2FA-D9FF-D17A-C3E766A54409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687015" y="2643286"/>
            <a:ext cx="140968" cy="130826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5" name="Freeform 278">
            <a:extLst>
              <a:ext uri="{FF2B5EF4-FFF2-40B4-BE49-F238E27FC236}">
                <a16:creationId xmlns:a16="http://schemas.microsoft.com/office/drawing/2014/main" id="{4F247367-477B-D4AF-1119-41050A50A187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7111596" y="1875883"/>
            <a:ext cx="90623" cy="130826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6" name="Freeform 279">
            <a:extLst>
              <a:ext uri="{FF2B5EF4-FFF2-40B4-BE49-F238E27FC236}">
                <a16:creationId xmlns:a16="http://schemas.microsoft.com/office/drawing/2014/main" id="{8715DA20-794E-CFA9-D0AE-31DD6D8DC946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7712389" y="3179353"/>
            <a:ext cx="245016" cy="255269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7" name="Freeform 280">
            <a:extLst>
              <a:ext uri="{FF2B5EF4-FFF2-40B4-BE49-F238E27FC236}">
                <a16:creationId xmlns:a16="http://schemas.microsoft.com/office/drawing/2014/main" id="{C1563FF9-8B04-F6A7-5C94-A20D10922DE6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7915450" y="3163398"/>
            <a:ext cx="112439" cy="129230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18" name="Freeform 281">
            <a:extLst>
              <a:ext uri="{FF2B5EF4-FFF2-40B4-BE49-F238E27FC236}">
                <a16:creationId xmlns:a16="http://schemas.microsoft.com/office/drawing/2014/main" id="{224DCAD4-F595-3E86-F834-C34A9AA47269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092935" y="2794853"/>
            <a:ext cx="67128" cy="119658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819" name="Group 282">
            <a:extLst>
              <a:ext uri="{FF2B5EF4-FFF2-40B4-BE49-F238E27FC236}">
                <a16:creationId xmlns:a16="http://schemas.microsoft.com/office/drawing/2014/main" id="{FF0A6BB3-36ED-2057-8AB1-05FA31ECAE7F}"/>
              </a:ext>
            </a:extLst>
          </p:cNvPr>
          <p:cNvGrpSpPr>
            <a:grpSpLocks/>
          </p:cNvGrpSpPr>
          <p:nvPr>
            <p:custDataLst>
              <p:tags r:id="rId206"/>
            </p:custDataLst>
          </p:nvPr>
        </p:nvGrpSpPr>
        <p:grpSpPr bwMode="auto">
          <a:xfrm>
            <a:off x="7086424" y="2504484"/>
            <a:ext cx="246694" cy="441935"/>
            <a:chOff x="5062" y="2295"/>
            <a:chExt cx="177" cy="279"/>
          </a:xfrm>
          <a:solidFill>
            <a:schemeClr val="bg1">
              <a:lumMod val="85000"/>
            </a:schemeClr>
          </a:solidFill>
        </p:grpSpPr>
        <p:sp>
          <p:nvSpPr>
            <p:cNvPr id="1064" name="Freeform 283">
              <a:extLst>
                <a:ext uri="{FF2B5EF4-FFF2-40B4-BE49-F238E27FC236}">
                  <a16:creationId xmlns:a16="http://schemas.microsoft.com/office/drawing/2014/main" id="{6CF95062-1173-07CC-5546-8E431F0AD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5" name="Freeform 284">
              <a:extLst>
                <a:ext uri="{FF2B5EF4-FFF2-40B4-BE49-F238E27FC236}">
                  <a16:creationId xmlns:a16="http://schemas.microsoft.com/office/drawing/2014/main" id="{E01FE7EA-9311-4732-079D-D65E80A2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6" name="Freeform 285">
              <a:extLst>
                <a:ext uri="{FF2B5EF4-FFF2-40B4-BE49-F238E27FC236}">
                  <a16:creationId xmlns:a16="http://schemas.microsoft.com/office/drawing/2014/main" id="{07F61662-0792-02C8-553E-AFD8315B2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7" name="Freeform 286">
              <a:extLst>
                <a:ext uri="{FF2B5EF4-FFF2-40B4-BE49-F238E27FC236}">
                  <a16:creationId xmlns:a16="http://schemas.microsoft.com/office/drawing/2014/main" id="{39170953-629C-99F0-FD85-45E75EDF0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8" name="Freeform 287">
              <a:extLst>
                <a:ext uri="{FF2B5EF4-FFF2-40B4-BE49-F238E27FC236}">
                  <a16:creationId xmlns:a16="http://schemas.microsoft.com/office/drawing/2014/main" id="{99129201-7844-1F2F-EDF1-C8EC3C662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9" name="Freeform 288">
              <a:extLst>
                <a:ext uri="{FF2B5EF4-FFF2-40B4-BE49-F238E27FC236}">
                  <a16:creationId xmlns:a16="http://schemas.microsoft.com/office/drawing/2014/main" id="{C50C02D0-5732-A589-4CCB-0C3B41506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0" name="Freeform 289">
              <a:extLst>
                <a:ext uri="{FF2B5EF4-FFF2-40B4-BE49-F238E27FC236}">
                  <a16:creationId xmlns:a16="http://schemas.microsoft.com/office/drawing/2014/main" id="{B12CC510-C063-717A-0FD8-8DC5A63DF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1" name="Freeform 290">
              <a:extLst>
                <a:ext uri="{FF2B5EF4-FFF2-40B4-BE49-F238E27FC236}">
                  <a16:creationId xmlns:a16="http://schemas.microsoft.com/office/drawing/2014/main" id="{03F68B8B-8F87-3F37-E7FF-4D185C441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2" name="Freeform 291">
              <a:extLst>
                <a:ext uri="{FF2B5EF4-FFF2-40B4-BE49-F238E27FC236}">
                  <a16:creationId xmlns:a16="http://schemas.microsoft.com/office/drawing/2014/main" id="{FA659A42-6621-5828-F52D-75B710543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3" name="Freeform 292">
              <a:extLst>
                <a:ext uri="{FF2B5EF4-FFF2-40B4-BE49-F238E27FC236}">
                  <a16:creationId xmlns:a16="http://schemas.microsoft.com/office/drawing/2014/main" id="{E0B7F0C2-D4DA-C61B-83A4-DCF33D5E1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4" name="Freeform 293">
              <a:extLst>
                <a:ext uri="{FF2B5EF4-FFF2-40B4-BE49-F238E27FC236}">
                  <a16:creationId xmlns:a16="http://schemas.microsoft.com/office/drawing/2014/main" id="{7593B7DD-F8FD-48C7-CF00-5D006C619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5" name="Freeform 294">
              <a:extLst>
                <a:ext uri="{FF2B5EF4-FFF2-40B4-BE49-F238E27FC236}">
                  <a16:creationId xmlns:a16="http://schemas.microsoft.com/office/drawing/2014/main" id="{9FC3B739-26E8-F990-E2AA-C8EF17381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6" name="Freeform 295">
              <a:extLst>
                <a:ext uri="{FF2B5EF4-FFF2-40B4-BE49-F238E27FC236}">
                  <a16:creationId xmlns:a16="http://schemas.microsoft.com/office/drawing/2014/main" id="{4C4C7F9B-A708-3956-621D-CCC9AAA19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7" name="Freeform 296">
              <a:extLst>
                <a:ext uri="{FF2B5EF4-FFF2-40B4-BE49-F238E27FC236}">
                  <a16:creationId xmlns:a16="http://schemas.microsoft.com/office/drawing/2014/main" id="{02D730EA-210D-475D-97C1-5F0F35160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8" name="Freeform 297">
              <a:extLst>
                <a:ext uri="{FF2B5EF4-FFF2-40B4-BE49-F238E27FC236}">
                  <a16:creationId xmlns:a16="http://schemas.microsoft.com/office/drawing/2014/main" id="{9F6377FE-DA1F-6AFF-61F9-D93A01B74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9" name="Line 298">
              <a:extLst>
                <a:ext uri="{FF2B5EF4-FFF2-40B4-BE49-F238E27FC236}">
                  <a16:creationId xmlns:a16="http://schemas.microsoft.com/office/drawing/2014/main" id="{CFD59C84-6E18-C3B2-A390-89792DDC3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0" name="Freeform 299">
              <a:extLst>
                <a:ext uri="{FF2B5EF4-FFF2-40B4-BE49-F238E27FC236}">
                  <a16:creationId xmlns:a16="http://schemas.microsoft.com/office/drawing/2014/main" id="{2AD38E5E-4610-9D80-CC7A-627735348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1" name="Line 300">
              <a:extLst>
                <a:ext uri="{FF2B5EF4-FFF2-40B4-BE49-F238E27FC236}">
                  <a16:creationId xmlns:a16="http://schemas.microsoft.com/office/drawing/2014/main" id="{335224E8-CB36-E1CC-83E2-43300E881A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2" name="Freeform 301">
              <a:extLst>
                <a:ext uri="{FF2B5EF4-FFF2-40B4-BE49-F238E27FC236}">
                  <a16:creationId xmlns:a16="http://schemas.microsoft.com/office/drawing/2014/main" id="{FB7F891C-898E-BB1A-E588-17F129FD4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3" name="Freeform 302">
              <a:extLst>
                <a:ext uri="{FF2B5EF4-FFF2-40B4-BE49-F238E27FC236}">
                  <a16:creationId xmlns:a16="http://schemas.microsoft.com/office/drawing/2014/main" id="{881CD91B-D6A6-65D6-152B-D5B61D71C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4" name="Freeform 303">
              <a:extLst>
                <a:ext uri="{FF2B5EF4-FFF2-40B4-BE49-F238E27FC236}">
                  <a16:creationId xmlns:a16="http://schemas.microsoft.com/office/drawing/2014/main" id="{B6242092-C22D-D7F8-9CC3-D6ECE3D6D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5" name="Freeform 304">
              <a:extLst>
                <a:ext uri="{FF2B5EF4-FFF2-40B4-BE49-F238E27FC236}">
                  <a16:creationId xmlns:a16="http://schemas.microsoft.com/office/drawing/2014/main" id="{331FD505-C160-6089-7118-16ACA592D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6" name="Freeform 305">
              <a:extLst>
                <a:ext uri="{FF2B5EF4-FFF2-40B4-BE49-F238E27FC236}">
                  <a16:creationId xmlns:a16="http://schemas.microsoft.com/office/drawing/2014/main" id="{CB305BF5-E3AC-5EDC-B76E-C208C1FC1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7" name="Line 306">
              <a:extLst>
                <a:ext uri="{FF2B5EF4-FFF2-40B4-BE49-F238E27FC236}">
                  <a16:creationId xmlns:a16="http://schemas.microsoft.com/office/drawing/2014/main" id="{BCB38BCF-8AFE-3D10-F893-CCE9589E39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820" name="Freeform 307">
            <a:extLst>
              <a:ext uri="{FF2B5EF4-FFF2-40B4-BE49-F238E27FC236}">
                <a16:creationId xmlns:a16="http://schemas.microsoft.com/office/drawing/2014/main" id="{B07F3C2E-A9DD-C831-96F1-C4027968609B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450591" y="3327727"/>
            <a:ext cx="15104" cy="55841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1" name="Freeform 308">
            <a:extLst>
              <a:ext uri="{FF2B5EF4-FFF2-40B4-BE49-F238E27FC236}">
                <a16:creationId xmlns:a16="http://schemas.microsoft.com/office/drawing/2014/main" id="{C02531A5-C08D-0A8C-C1D5-BD50EC79A6EF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7531144" y="3267101"/>
            <a:ext cx="23495" cy="59032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2" name="Freeform 309">
            <a:extLst>
              <a:ext uri="{FF2B5EF4-FFF2-40B4-BE49-F238E27FC236}">
                <a16:creationId xmlns:a16="http://schemas.microsoft.com/office/drawing/2014/main" id="{CC748219-8009-9BA0-D75E-DE98635C9502}"/>
              </a:ext>
            </a:extLst>
          </p:cNvPr>
          <p:cNvSpPr>
            <a:spLocks/>
          </p:cNvSpPr>
          <p:nvPr>
            <p:custDataLst>
              <p:tags r:id="rId209"/>
            </p:custDataLst>
          </p:nvPr>
        </p:nvSpPr>
        <p:spPr bwMode="auto">
          <a:xfrm>
            <a:off x="7581490" y="3145848"/>
            <a:ext cx="25174" cy="57436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3" name="Freeform 310">
            <a:extLst>
              <a:ext uri="{FF2B5EF4-FFF2-40B4-BE49-F238E27FC236}">
                <a16:creationId xmlns:a16="http://schemas.microsoft.com/office/drawing/2014/main" id="{99773D5F-9B0D-FDD8-B5D8-A2061FBAC8E7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564708" y="3115536"/>
            <a:ext cx="26851" cy="57436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4" name="Freeform 311">
            <a:extLst>
              <a:ext uri="{FF2B5EF4-FFF2-40B4-BE49-F238E27FC236}">
                <a16:creationId xmlns:a16="http://schemas.microsoft.com/office/drawing/2014/main" id="{3525F550-25ED-722A-306E-559E796DE591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80107" y="3011832"/>
            <a:ext cx="8392" cy="57436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5" name="Freeform 312">
            <a:extLst>
              <a:ext uri="{FF2B5EF4-FFF2-40B4-BE49-F238E27FC236}">
                <a16:creationId xmlns:a16="http://schemas.microsoft.com/office/drawing/2014/main" id="{41A8E56C-A6B2-043B-50B5-BB3EF35B34F1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302910" y="3147445"/>
            <a:ext cx="31886" cy="59030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6" name="Freeform 313">
            <a:extLst>
              <a:ext uri="{FF2B5EF4-FFF2-40B4-BE49-F238E27FC236}">
                <a16:creationId xmlns:a16="http://schemas.microsoft.com/office/drawing/2014/main" id="{DCC6A14B-1826-ADDD-CACC-D9990C0F0D90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11302" y="3334109"/>
            <a:ext cx="20138" cy="55841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7" name="Freeform 314">
            <a:extLst>
              <a:ext uri="{FF2B5EF4-FFF2-40B4-BE49-F238E27FC236}">
                <a16:creationId xmlns:a16="http://schemas.microsoft.com/office/drawing/2014/main" id="{8FF16E9A-B91E-75BC-FDF6-D1FD5A56887F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430453" y="3152230"/>
            <a:ext cx="11748" cy="57436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8" name="Freeform 315">
            <a:extLst>
              <a:ext uri="{FF2B5EF4-FFF2-40B4-BE49-F238E27FC236}">
                <a16:creationId xmlns:a16="http://schemas.microsoft.com/office/drawing/2014/main" id="{D4B78CFF-59CA-99FC-44D5-258115035B92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282772" y="3147445"/>
            <a:ext cx="20138" cy="59030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29" name="Freeform 316">
            <a:extLst>
              <a:ext uri="{FF2B5EF4-FFF2-40B4-BE49-F238E27FC236}">
                <a16:creationId xmlns:a16="http://schemas.microsoft.com/office/drawing/2014/main" id="{CC818EEB-3782-7105-86CE-8AD124081A4A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329762" y="3195307"/>
            <a:ext cx="31886" cy="57436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0" name="Freeform 317">
            <a:extLst>
              <a:ext uri="{FF2B5EF4-FFF2-40B4-BE49-F238E27FC236}">
                <a16:creationId xmlns:a16="http://schemas.microsoft.com/office/drawing/2014/main" id="{7F754AFA-CC7B-7AA1-1E3E-8A27CA984FBB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119988" y="3399523"/>
            <a:ext cx="48667" cy="59030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1" name="Freeform 318">
            <a:extLst>
              <a:ext uri="{FF2B5EF4-FFF2-40B4-BE49-F238E27FC236}">
                <a16:creationId xmlns:a16="http://schemas.microsoft.com/office/drawing/2014/main" id="{870ABEA9-450B-D683-F969-9FC71C41248F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224035" y="3437813"/>
            <a:ext cx="15104" cy="59030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2" name="Freeform 319">
            <a:extLst>
              <a:ext uri="{FF2B5EF4-FFF2-40B4-BE49-F238E27FC236}">
                <a16:creationId xmlns:a16="http://schemas.microsoft.com/office/drawing/2014/main" id="{8B5F1BAE-A9CA-F996-5342-004F15A6EC26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047825" y="3369208"/>
            <a:ext cx="38599" cy="55841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3" name="Freeform 320">
            <a:extLst>
              <a:ext uri="{FF2B5EF4-FFF2-40B4-BE49-F238E27FC236}">
                <a16:creationId xmlns:a16="http://schemas.microsoft.com/office/drawing/2014/main" id="{8F689DE8-EFB6-5E9B-8090-E24CACD7C4E0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094814" y="3354851"/>
            <a:ext cx="41955" cy="55840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4" name="Freeform 321">
            <a:extLst>
              <a:ext uri="{FF2B5EF4-FFF2-40B4-BE49-F238E27FC236}">
                <a16:creationId xmlns:a16="http://schemas.microsoft.com/office/drawing/2014/main" id="{9D7A6F88-B8F4-10E3-5096-B1E51F733B9C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150195" y="3364423"/>
            <a:ext cx="38598" cy="59030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5" name="Freeform 322">
            <a:extLst>
              <a:ext uri="{FF2B5EF4-FFF2-40B4-BE49-F238E27FC236}">
                <a16:creationId xmlns:a16="http://schemas.microsoft.com/office/drawing/2014/main" id="{29C7D535-64CF-3170-6E55-B54AAA8919C1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205575" y="3369208"/>
            <a:ext cx="26851" cy="55841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6" name="Freeform 323">
            <a:extLst>
              <a:ext uri="{FF2B5EF4-FFF2-40B4-BE49-F238E27FC236}">
                <a16:creationId xmlns:a16="http://schemas.microsoft.com/office/drawing/2014/main" id="{2AD3DD5A-0D32-818A-9A0C-BD040D937445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282771" y="3361232"/>
            <a:ext cx="1679" cy="55840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7" name="Freeform 324">
            <a:extLst>
              <a:ext uri="{FF2B5EF4-FFF2-40B4-BE49-F238E27FC236}">
                <a16:creationId xmlns:a16="http://schemas.microsoft.com/office/drawing/2014/main" id="{E143E50D-FC56-66CC-1D53-462839CB9591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833017" y="3174566"/>
            <a:ext cx="21817" cy="59032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8" name="Freeform 325">
            <a:extLst>
              <a:ext uri="{FF2B5EF4-FFF2-40B4-BE49-F238E27FC236}">
                <a16:creationId xmlns:a16="http://schemas.microsoft.com/office/drawing/2014/main" id="{46151978-06EA-C45D-1CD2-C06B32B60EFA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6775959" y="3147445"/>
            <a:ext cx="31886" cy="59030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39" name="Freeform 326">
            <a:extLst>
              <a:ext uri="{FF2B5EF4-FFF2-40B4-BE49-F238E27FC236}">
                <a16:creationId xmlns:a16="http://schemas.microsoft.com/office/drawing/2014/main" id="{8D3AA5CD-3D62-766F-4EAE-70167A8E0373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6601426" y="3131490"/>
            <a:ext cx="8392" cy="57436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0" name="Line 327" descr="Horizontal dunkel">
            <a:extLst>
              <a:ext uri="{FF2B5EF4-FFF2-40B4-BE49-F238E27FC236}">
                <a16:creationId xmlns:a16="http://schemas.microsoft.com/office/drawing/2014/main" id="{DB31CC3B-FDDE-22BD-A426-AF38F0117F73}"/>
              </a:ext>
            </a:extLst>
          </p:cNvPr>
          <p:cNvSpPr>
            <a:spLocks noChangeShapeType="1"/>
          </p:cNvSpPr>
          <p:nvPr>
            <p:custDataLst>
              <p:tags r:id="rId227"/>
            </p:custDataLst>
          </p:nvPr>
        </p:nvSpPr>
        <p:spPr bwMode="auto">
          <a:xfrm>
            <a:off x="6628278" y="3168184"/>
            <a:ext cx="5035" cy="6382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1" name="Freeform 328">
            <a:extLst>
              <a:ext uri="{FF2B5EF4-FFF2-40B4-BE49-F238E27FC236}">
                <a16:creationId xmlns:a16="http://schemas.microsoft.com/office/drawing/2014/main" id="{B92635FD-33B1-FB31-A1CF-95710BB56715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24921" y="3168184"/>
            <a:ext cx="8392" cy="57436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2" name="Freeform 329">
            <a:extLst>
              <a:ext uri="{FF2B5EF4-FFF2-40B4-BE49-F238E27FC236}">
                <a16:creationId xmlns:a16="http://schemas.microsoft.com/office/drawing/2014/main" id="{54C3D30D-558A-8EEE-6DC5-3728BF0D64E2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520873" y="3011832"/>
            <a:ext cx="23495" cy="57436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3" name="Freeform 330">
            <a:extLst>
              <a:ext uri="{FF2B5EF4-FFF2-40B4-BE49-F238E27FC236}">
                <a16:creationId xmlns:a16="http://schemas.microsoft.com/office/drawing/2014/main" id="{CE4FCF6C-3EF1-FD46-DBAF-F0CB39580F5F}"/>
              </a:ext>
            </a:extLst>
          </p:cNvPr>
          <p:cNvSpPr>
            <a:spLocks/>
          </p:cNvSpPr>
          <p:nvPr>
            <p:custDataLst>
              <p:tags r:id="rId230"/>
            </p:custDataLst>
          </p:nvPr>
        </p:nvSpPr>
        <p:spPr bwMode="auto">
          <a:xfrm>
            <a:off x="7079711" y="3377187"/>
            <a:ext cx="11747" cy="57436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4" name="Freeform 331">
            <a:extLst>
              <a:ext uri="{FF2B5EF4-FFF2-40B4-BE49-F238E27FC236}">
                <a16:creationId xmlns:a16="http://schemas.microsoft.com/office/drawing/2014/main" id="{C8072A11-B806-CFB0-1313-5557657476EB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7625123" y="3334109"/>
            <a:ext cx="30208" cy="55841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5" name="Freeform 332">
            <a:extLst>
              <a:ext uri="{FF2B5EF4-FFF2-40B4-BE49-F238E27FC236}">
                <a16:creationId xmlns:a16="http://schemas.microsoft.com/office/drawing/2014/main" id="{D59C6D66-A204-45BE-ACBD-A2CECDB3738F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502413" y="2914511"/>
            <a:ext cx="290327" cy="370141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6" name="Freeform 333">
            <a:extLst>
              <a:ext uri="{FF2B5EF4-FFF2-40B4-BE49-F238E27FC236}">
                <a16:creationId xmlns:a16="http://schemas.microsoft.com/office/drawing/2014/main" id="{72253E37-6BE9-B7FC-6E2A-65909675F92F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863224" y="2963968"/>
            <a:ext cx="268511" cy="258461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7" name="Freeform 334">
            <a:extLst>
              <a:ext uri="{FF2B5EF4-FFF2-40B4-BE49-F238E27FC236}">
                <a16:creationId xmlns:a16="http://schemas.microsoft.com/office/drawing/2014/main" id="{473E0F74-5766-CBBC-6167-FC688FF19696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239139" y="3372400"/>
            <a:ext cx="97335" cy="57436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8" name="Freeform 335">
            <a:extLst>
              <a:ext uri="{FF2B5EF4-FFF2-40B4-BE49-F238E27FC236}">
                <a16:creationId xmlns:a16="http://schemas.microsoft.com/office/drawing/2014/main" id="{153B830D-4C4D-D675-3125-352E99623807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361647" y="3037358"/>
            <a:ext cx="45311" cy="89345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49" name="Freeform 336">
            <a:extLst>
              <a:ext uri="{FF2B5EF4-FFF2-40B4-BE49-F238E27FC236}">
                <a16:creationId xmlns:a16="http://schemas.microsoft.com/office/drawing/2014/main" id="{85E4033F-0E34-4A4E-DC47-05E609524ABE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375073" y="3182544"/>
            <a:ext cx="75518" cy="55840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0" name="Freeform 337">
            <a:extLst>
              <a:ext uri="{FF2B5EF4-FFF2-40B4-BE49-F238E27FC236}">
                <a16:creationId xmlns:a16="http://schemas.microsoft.com/office/drawing/2014/main" id="{D7881572-C89F-5394-B4B0-C2ACAC27EE90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455625" y="3105962"/>
            <a:ext cx="90623" cy="63818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1" name="Freeform 338">
            <a:extLst>
              <a:ext uri="{FF2B5EF4-FFF2-40B4-BE49-F238E27FC236}">
                <a16:creationId xmlns:a16="http://schemas.microsoft.com/office/drawing/2014/main" id="{7A1A4F03-B074-7C9F-720C-D3E3288BF5DE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26700" y="3043741"/>
            <a:ext cx="176210" cy="23133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2" name="Freeform 339">
            <a:extLst>
              <a:ext uri="{FF2B5EF4-FFF2-40B4-BE49-F238E27FC236}">
                <a16:creationId xmlns:a16="http://schemas.microsoft.com/office/drawing/2014/main" id="{0ED54999-2FEC-1BDD-982E-9C2D52C403D7}"/>
              </a:ext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6772602" y="3286246"/>
            <a:ext cx="265154" cy="95726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3" name="Freeform 340">
            <a:extLst>
              <a:ext uri="{FF2B5EF4-FFF2-40B4-BE49-F238E27FC236}">
                <a16:creationId xmlns:a16="http://schemas.microsoft.com/office/drawing/2014/main" id="{F9BB8C4F-97A2-B37D-3319-5A9AD5C9F446}"/>
              </a:ext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492546" y="3142657"/>
            <a:ext cx="226556" cy="253675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4" name="Freeform 341">
            <a:extLst>
              <a:ext uri="{FF2B5EF4-FFF2-40B4-BE49-F238E27FC236}">
                <a16:creationId xmlns:a16="http://schemas.microsoft.com/office/drawing/2014/main" id="{F93A5CF5-E526-481D-C106-EF782CAB46DB}"/>
              </a:ext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5940219" y="1968418"/>
            <a:ext cx="57059" cy="60626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5" name="Freeform 342">
            <a:extLst>
              <a:ext uri="{FF2B5EF4-FFF2-40B4-BE49-F238E27FC236}">
                <a16:creationId xmlns:a16="http://schemas.microsoft.com/office/drawing/2014/main" id="{0588D4B7-CAF9-059F-34EF-9ADE63E938FD}"/>
              </a:ext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4309017" y="1370131"/>
            <a:ext cx="233269" cy="178688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6" name="Freeform 343">
            <a:extLst>
              <a:ext uri="{FF2B5EF4-FFF2-40B4-BE49-F238E27FC236}">
                <a16:creationId xmlns:a16="http://schemas.microsoft.com/office/drawing/2014/main" id="{5EDBAACB-7D68-85CA-1C4C-085CF5736FA8}"/>
              </a:ext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4376144" y="1575942"/>
            <a:ext cx="154394" cy="71795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7" name="Freeform 344">
            <a:extLst>
              <a:ext uri="{FF2B5EF4-FFF2-40B4-BE49-F238E27FC236}">
                <a16:creationId xmlns:a16="http://schemas.microsoft.com/office/drawing/2014/main" id="{15C8DB35-CA91-F858-C80D-131CB017CF21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4481872" y="1229732"/>
            <a:ext cx="117473" cy="65412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8" name="Freeform 345">
            <a:extLst>
              <a:ext uri="{FF2B5EF4-FFF2-40B4-BE49-F238E27FC236}">
                <a16:creationId xmlns:a16="http://schemas.microsoft.com/office/drawing/2014/main" id="{0C2053D0-493A-F1B5-F34F-A2097B5CADD5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495297" y="1579132"/>
            <a:ext cx="189635" cy="143589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59" name="Freeform 346">
            <a:extLst>
              <a:ext uri="{FF2B5EF4-FFF2-40B4-BE49-F238E27FC236}">
                <a16:creationId xmlns:a16="http://schemas.microsoft.com/office/drawing/2014/main" id="{BB15917D-5DEF-A7C0-CCBA-BE98A4B4B337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2380775" y="2622545"/>
            <a:ext cx="15104" cy="55841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0" name="Freeform 347">
            <a:extLst>
              <a:ext uri="{FF2B5EF4-FFF2-40B4-BE49-F238E27FC236}">
                <a16:creationId xmlns:a16="http://schemas.microsoft.com/office/drawing/2014/main" id="{CCD5CB43-ACC4-A72C-93B7-0CA054598832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606057" y="1571155"/>
            <a:ext cx="90623" cy="79772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1" name="Freeform 348">
            <a:extLst>
              <a:ext uri="{FF2B5EF4-FFF2-40B4-BE49-F238E27FC236}">
                <a16:creationId xmlns:a16="http://schemas.microsoft.com/office/drawing/2014/main" id="{3A9176BE-B52B-8CF9-1BF6-FBA97712E674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518792" y="1453093"/>
            <a:ext cx="402766" cy="248888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2" name="Freeform 349">
            <a:extLst>
              <a:ext uri="{FF2B5EF4-FFF2-40B4-BE49-F238E27FC236}">
                <a16:creationId xmlns:a16="http://schemas.microsoft.com/office/drawing/2014/main" id="{0E486E51-3946-C94B-4CB5-9A84430707BC}"/>
              </a:ext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5059169" y="1797707"/>
            <a:ext cx="50346" cy="63818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3" name="Freeform 350">
            <a:extLst>
              <a:ext uri="{FF2B5EF4-FFF2-40B4-BE49-F238E27FC236}">
                <a16:creationId xmlns:a16="http://schemas.microsoft.com/office/drawing/2014/main" id="{9F0A1978-E69A-1E3F-2840-3AC0DE01FC5D}"/>
              </a:ext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5633111" y="1812066"/>
            <a:ext cx="219842" cy="122849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4" name="Freeform 351">
            <a:extLst>
              <a:ext uri="{FF2B5EF4-FFF2-40B4-BE49-F238E27FC236}">
                <a16:creationId xmlns:a16="http://schemas.microsoft.com/office/drawing/2014/main" id="{381394AC-7199-0666-F366-73698312F0EE}"/>
              </a:ext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5685133" y="1740272"/>
            <a:ext cx="238304" cy="126039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5" name="Freeform 352">
            <a:extLst>
              <a:ext uri="{FF2B5EF4-FFF2-40B4-BE49-F238E27FC236}">
                <a16:creationId xmlns:a16="http://schemas.microsoft.com/office/drawing/2014/main" id="{B7E15258-9972-A0BA-1527-19BA4B7B2D50}"/>
              </a:ext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268943" y="1756226"/>
            <a:ext cx="362489" cy="228146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6" name="Freeform 353">
            <a:extLst>
              <a:ext uri="{FF2B5EF4-FFF2-40B4-BE49-F238E27FC236}">
                <a16:creationId xmlns:a16="http://schemas.microsoft.com/office/drawing/2014/main" id="{7D5B6A32-4F3D-A7F5-D6E2-81EF82E2C4A8}"/>
              </a:ext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4433203" y="1642950"/>
            <a:ext cx="114117" cy="149971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7" name="Freeform 354">
            <a:extLst>
              <a:ext uri="{FF2B5EF4-FFF2-40B4-BE49-F238E27FC236}">
                <a16:creationId xmlns:a16="http://schemas.microsoft.com/office/drawing/2014/main" id="{92A0BD28-5A66-0FB4-96DB-049A65833E0D}"/>
              </a:ext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4483549" y="1751440"/>
            <a:ext cx="72163" cy="60626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8" name="Freeform 355">
            <a:extLst>
              <a:ext uri="{FF2B5EF4-FFF2-40B4-BE49-F238E27FC236}">
                <a16:creationId xmlns:a16="http://schemas.microsoft.com/office/drawing/2014/main" id="{F19C3E51-7DC0-2B1F-3851-BE6DC204B543}"/>
              </a:ext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4572494" y="2378445"/>
            <a:ext cx="434651" cy="614242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69" name="Freeform 356">
            <a:extLst>
              <a:ext uri="{FF2B5EF4-FFF2-40B4-BE49-F238E27FC236}">
                <a16:creationId xmlns:a16="http://schemas.microsoft.com/office/drawing/2014/main" id="{D4F0A146-8EC5-3B8F-FD28-D1C5205A777F}"/>
              </a:ext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5084342" y="2719868"/>
            <a:ext cx="258442" cy="433958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70" name="Freeform 357">
            <a:extLst>
              <a:ext uri="{FF2B5EF4-FFF2-40B4-BE49-F238E27FC236}">
                <a16:creationId xmlns:a16="http://schemas.microsoft.com/office/drawing/2014/main" id="{CE717C89-E7AE-0392-7BA5-613AD0AA7794}"/>
              </a:ext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092732" y="2707105"/>
            <a:ext cx="40277" cy="59030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71" name="Freeform 358">
            <a:extLst>
              <a:ext uri="{FF2B5EF4-FFF2-40B4-BE49-F238E27FC236}">
                <a16:creationId xmlns:a16="http://schemas.microsoft.com/office/drawing/2014/main" id="{D005A601-AFCD-F08C-F0EA-F566E17C5ED0}"/>
              </a:ext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879602" y="2617760"/>
            <a:ext cx="384306" cy="37811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72" name="Line 359">
            <a:extLst>
              <a:ext uri="{FF2B5EF4-FFF2-40B4-BE49-F238E27FC236}">
                <a16:creationId xmlns:a16="http://schemas.microsoft.com/office/drawing/2014/main" id="{A5E4F781-4388-26BE-BE39-196C551D336E}"/>
              </a:ext>
            </a:extLst>
          </p:cNvPr>
          <p:cNvSpPr>
            <a:spLocks noChangeShapeType="1"/>
          </p:cNvSpPr>
          <p:nvPr>
            <p:custDataLst>
              <p:tags r:id="rId259"/>
            </p:custDataLst>
          </p:nvPr>
        </p:nvSpPr>
        <p:spPr bwMode="auto">
          <a:xfrm flipH="1">
            <a:off x="1560140" y="3139467"/>
            <a:ext cx="5035" cy="7978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73" name="Freeform 360">
            <a:extLst>
              <a:ext uri="{FF2B5EF4-FFF2-40B4-BE49-F238E27FC236}">
                <a16:creationId xmlns:a16="http://schemas.microsoft.com/office/drawing/2014/main" id="{751D7C4B-3B6C-AFF5-FAEA-CAB07A08A8D5}"/>
              </a:ext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1560140" y="3147445"/>
            <a:ext cx="13426" cy="59030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74" name="Freeform 361">
            <a:extLst>
              <a:ext uri="{FF2B5EF4-FFF2-40B4-BE49-F238E27FC236}">
                <a16:creationId xmlns:a16="http://schemas.microsoft.com/office/drawing/2014/main" id="{F925DF22-ECD2-F1A4-9CB8-8EFAEB8F69FE}"/>
              </a:ext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1568531" y="3134681"/>
            <a:ext cx="5034" cy="57436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875" name="Group 362">
            <a:extLst>
              <a:ext uri="{FF2B5EF4-FFF2-40B4-BE49-F238E27FC236}">
                <a16:creationId xmlns:a16="http://schemas.microsoft.com/office/drawing/2014/main" id="{C46A7A75-48CA-0213-3E65-FF4D0A357E8E}"/>
              </a:ext>
            </a:extLst>
          </p:cNvPr>
          <p:cNvGrpSpPr>
            <a:grpSpLocks/>
          </p:cNvGrpSpPr>
          <p:nvPr>
            <p:custDataLst>
              <p:tags r:id="rId262"/>
            </p:custDataLst>
          </p:nvPr>
        </p:nvGrpSpPr>
        <p:grpSpPr bwMode="auto">
          <a:xfrm>
            <a:off x="1560139" y="3069267"/>
            <a:ext cx="441365" cy="202621"/>
            <a:chOff x="912" y="2626"/>
            <a:chExt cx="311" cy="127"/>
          </a:xfrm>
          <a:solidFill>
            <a:schemeClr val="bg1">
              <a:lumMod val="85000"/>
            </a:schemeClr>
          </a:solidFill>
        </p:grpSpPr>
        <p:sp>
          <p:nvSpPr>
            <p:cNvPr id="1061" name="Freeform 363">
              <a:extLst>
                <a:ext uri="{FF2B5EF4-FFF2-40B4-BE49-F238E27FC236}">
                  <a16:creationId xmlns:a16="http://schemas.microsoft.com/office/drawing/2014/main" id="{C2D20187-3918-073A-3CA6-074B6D5D9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2" name="Freeform 364">
              <a:extLst>
                <a:ext uri="{FF2B5EF4-FFF2-40B4-BE49-F238E27FC236}">
                  <a16:creationId xmlns:a16="http://schemas.microsoft.com/office/drawing/2014/main" id="{FB871F4A-60F9-5976-EBBE-B7B0C4DF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3" name="Freeform 365">
              <a:extLst>
                <a:ext uri="{FF2B5EF4-FFF2-40B4-BE49-F238E27FC236}">
                  <a16:creationId xmlns:a16="http://schemas.microsoft.com/office/drawing/2014/main" id="{0A94D9F1-2394-E299-D1DA-B5926765A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876" name="Freeform 366">
            <a:extLst>
              <a:ext uri="{FF2B5EF4-FFF2-40B4-BE49-F238E27FC236}">
                <a16:creationId xmlns:a16="http://schemas.microsoft.com/office/drawing/2014/main" id="{7B684863-0C30-78AF-5D4C-DE51099D90BE}"/>
              </a:ext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5416624" y="3790404"/>
            <a:ext cx="20138" cy="59032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77" name="Freeform 367">
            <a:extLst>
              <a:ext uri="{FF2B5EF4-FFF2-40B4-BE49-F238E27FC236}">
                <a16:creationId xmlns:a16="http://schemas.microsoft.com/office/drawing/2014/main" id="{E85A959A-6076-B7E9-2057-B84E738D20DA}"/>
              </a:ext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5386416" y="3817527"/>
            <a:ext cx="25174" cy="57436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878" name="Group 368">
            <a:extLst>
              <a:ext uri="{FF2B5EF4-FFF2-40B4-BE49-F238E27FC236}">
                <a16:creationId xmlns:a16="http://schemas.microsoft.com/office/drawing/2014/main" id="{ECCC36AE-EAEB-DAF8-3759-886AAEF4339E}"/>
              </a:ext>
            </a:extLst>
          </p:cNvPr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5218597" y="3306987"/>
            <a:ext cx="177888" cy="103703"/>
            <a:chOff x="3481" y="2773"/>
            <a:chExt cx="125" cy="65"/>
          </a:xfrm>
          <a:solidFill>
            <a:schemeClr val="bg1">
              <a:lumMod val="85000"/>
            </a:schemeClr>
          </a:solidFill>
        </p:grpSpPr>
        <p:sp>
          <p:nvSpPr>
            <p:cNvPr id="1050" name="Freeform 369">
              <a:extLst>
                <a:ext uri="{FF2B5EF4-FFF2-40B4-BE49-F238E27FC236}">
                  <a16:creationId xmlns:a16="http://schemas.microsoft.com/office/drawing/2014/main" id="{C2F18E1D-0A04-5979-569F-A8B064588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1" name="Line 370">
              <a:extLst>
                <a:ext uri="{FF2B5EF4-FFF2-40B4-BE49-F238E27FC236}">
                  <a16:creationId xmlns:a16="http://schemas.microsoft.com/office/drawing/2014/main" id="{50A261F5-CF30-0E19-3775-6412A20EAA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2" name="Freeform 371">
              <a:extLst>
                <a:ext uri="{FF2B5EF4-FFF2-40B4-BE49-F238E27FC236}">
                  <a16:creationId xmlns:a16="http://schemas.microsoft.com/office/drawing/2014/main" id="{12815480-62E2-012C-22A3-6D44E20FB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3" name="Freeform 372">
              <a:extLst>
                <a:ext uri="{FF2B5EF4-FFF2-40B4-BE49-F238E27FC236}">
                  <a16:creationId xmlns:a16="http://schemas.microsoft.com/office/drawing/2014/main" id="{7BEFCD5B-C887-9BA9-DA1C-67F1E1D0C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4" name="Freeform 373">
              <a:extLst>
                <a:ext uri="{FF2B5EF4-FFF2-40B4-BE49-F238E27FC236}">
                  <a16:creationId xmlns:a16="http://schemas.microsoft.com/office/drawing/2014/main" id="{FA8FCC62-AA46-A465-CDF2-750150CE5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5" name="Line 374">
              <a:extLst>
                <a:ext uri="{FF2B5EF4-FFF2-40B4-BE49-F238E27FC236}">
                  <a16:creationId xmlns:a16="http://schemas.microsoft.com/office/drawing/2014/main" id="{FE4F6AC0-8D39-FC38-6CE7-5337B25520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6" name="Freeform 375">
              <a:extLst>
                <a:ext uri="{FF2B5EF4-FFF2-40B4-BE49-F238E27FC236}">
                  <a16:creationId xmlns:a16="http://schemas.microsoft.com/office/drawing/2014/main" id="{0F27C109-665F-B967-D98A-EB3CB244A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7" name="Freeform 376">
              <a:extLst>
                <a:ext uri="{FF2B5EF4-FFF2-40B4-BE49-F238E27FC236}">
                  <a16:creationId xmlns:a16="http://schemas.microsoft.com/office/drawing/2014/main" id="{CCD434F6-FC84-B062-F247-7AE8DB468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8" name="Freeform 377">
              <a:extLst>
                <a:ext uri="{FF2B5EF4-FFF2-40B4-BE49-F238E27FC236}">
                  <a16:creationId xmlns:a16="http://schemas.microsoft.com/office/drawing/2014/main" id="{3B21C1C4-23F9-28F4-0C77-5652D7A85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9" name="Freeform 378">
              <a:extLst>
                <a:ext uri="{FF2B5EF4-FFF2-40B4-BE49-F238E27FC236}">
                  <a16:creationId xmlns:a16="http://schemas.microsoft.com/office/drawing/2014/main" id="{B25322A8-330A-A8FC-6782-8E36F3CD0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0" name="Freeform 379">
              <a:extLst>
                <a:ext uri="{FF2B5EF4-FFF2-40B4-BE49-F238E27FC236}">
                  <a16:creationId xmlns:a16="http://schemas.microsoft.com/office/drawing/2014/main" id="{D5C135F8-E68D-56A1-C45B-79868269A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879" name="Freeform 380">
            <a:extLst>
              <a:ext uri="{FF2B5EF4-FFF2-40B4-BE49-F238E27FC236}">
                <a16:creationId xmlns:a16="http://schemas.microsoft.com/office/drawing/2014/main" id="{8DD063E0-D057-3FD5-08BD-D6D3987CD6C3}"/>
              </a:ext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4297270" y="3299009"/>
            <a:ext cx="337316" cy="381309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80" name="Freeform 381">
            <a:extLst>
              <a:ext uri="{FF2B5EF4-FFF2-40B4-BE49-F238E27FC236}">
                <a16:creationId xmlns:a16="http://schemas.microsoft.com/office/drawing/2014/main" id="{F9C36508-8790-F5BB-7B84-DBCBA4F7A7BD}"/>
              </a:ext>
            </a:extLst>
          </p:cNvPr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4309017" y="3271888"/>
            <a:ext cx="16782" cy="60626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81" name="Freeform 382">
            <a:extLst>
              <a:ext uri="{FF2B5EF4-FFF2-40B4-BE49-F238E27FC236}">
                <a16:creationId xmlns:a16="http://schemas.microsoft.com/office/drawing/2014/main" id="{8372C4FF-AECE-08BD-0C58-42AE53D0BEDC}"/>
              </a:ext>
            </a:extLst>
          </p:cNvPr>
          <p:cNvSpPr>
            <a:spLocks/>
          </p:cNvSpPr>
          <p:nvPr>
            <p:custDataLst>
              <p:tags r:id="rId268"/>
            </p:custDataLst>
          </p:nvPr>
        </p:nvSpPr>
        <p:spPr bwMode="auto">
          <a:xfrm>
            <a:off x="4416421" y="3817526"/>
            <a:ext cx="419548" cy="400454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82" name="Freeform 383">
            <a:extLst>
              <a:ext uri="{FF2B5EF4-FFF2-40B4-BE49-F238E27FC236}">
                <a16:creationId xmlns:a16="http://schemas.microsoft.com/office/drawing/2014/main" id="{1AEA01B9-5C3C-3713-2B5C-840D61F090CD}"/>
              </a:ext>
            </a:extLst>
          </p:cNvPr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572494" y="2378445"/>
            <a:ext cx="434651" cy="614242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883" name="Group 384">
            <a:extLst>
              <a:ext uri="{FF2B5EF4-FFF2-40B4-BE49-F238E27FC236}">
                <a16:creationId xmlns:a16="http://schemas.microsoft.com/office/drawing/2014/main" id="{40EC03CF-A849-C98F-405B-89CD1ACB179E}"/>
              </a:ext>
            </a:extLst>
          </p:cNvPr>
          <p:cNvGrpSpPr>
            <a:grpSpLocks/>
          </p:cNvGrpSpPr>
          <p:nvPr>
            <p:custDataLst>
              <p:tags r:id="rId270"/>
            </p:custDataLst>
          </p:nvPr>
        </p:nvGrpSpPr>
        <p:grpSpPr bwMode="auto">
          <a:xfrm>
            <a:off x="3286999" y="2581065"/>
            <a:ext cx="85587" cy="82963"/>
            <a:chOff x="2352" y="2343"/>
            <a:chExt cx="65" cy="53"/>
          </a:xfrm>
          <a:solidFill>
            <a:schemeClr val="bg1">
              <a:lumMod val="85000"/>
            </a:schemeClr>
          </a:solidFill>
        </p:grpSpPr>
        <p:sp>
          <p:nvSpPr>
            <p:cNvPr id="1044" name="Freeform 385">
              <a:extLst>
                <a:ext uri="{FF2B5EF4-FFF2-40B4-BE49-F238E27FC236}">
                  <a16:creationId xmlns:a16="http://schemas.microsoft.com/office/drawing/2014/main" id="{4E6AA23F-1382-5CE2-35B8-F32FD459B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5" name="Freeform 386">
              <a:extLst>
                <a:ext uri="{FF2B5EF4-FFF2-40B4-BE49-F238E27FC236}">
                  <a16:creationId xmlns:a16="http://schemas.microsoft.com/office/drawing/2014/main" id="{3F5A2117-C383-1DA5-AC87-D1DFC0926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6" name="Freeform 387">
              <a:extLst>
                <a:ext uri="{FF2B5EF4-FFF2-40B4-BE49-F238E27FC236}">
                  <a16:creationId xmlns:a16="http://schemas.microsoft.com/office/drawing/2014/main" id="{DDA6FE67-FC76-106F-18C6-80867EADC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7" name="Freeform 388">
              <a:extLst>
                <a:ext uri="{FF2B5EF4-FFF2-40B4-BE49-F238E27FC236}">
                  <a16:creationId xmlns:a16="http://schemas.microsoft.com/office/drawing/2014/main" id="{6AC035EC-B21F-6A87-AD7E-CBBB486AE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8" name="Freeform 389">
              <a:extLst>
                <a:ext uri="{FF2B5EF4-FFF2-40B4-BE49-F238E27FC236}">
                  <a16:creationId xmlns:a16="http://schemas.microsoft.com/office/drawing/2014/main" id="{860A5AA5-4EB3-8A7A-4746-E4F407E6A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9" name="Freeform 390">
              <a:extLst>
                <a:ext uri="{FF2B5EF4-FFF2-40B4-BE49-F238E27FC236}">
                  <a16:creationId xmlns:a16="http://schemas.microsoft.com/office/drawing/2014/main" id="{1FFBB410-B2D5-C511-5555-CAC29485A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grpSp>
        <p:nvGrpSpPr>
          <p:cNvPr id="884" name="Group 391">
            <a:extLst>
              <a:ext uri="{FF2B5EF4-FFF2-40B4-BE49-F238E27FC236}">
                <a16:creationId xmlns:a16="http://schemas.microsoft.com/office/drawing/2014/main" id="{6770AC97-E3FF-0E95-9A33-7173BB20877A}"/>
              </a:ext>
            </a:extLst>
          </p:cNvPr>
          <p:cNvGrpSpPr>
            <a:grpSpLocks/>
          </p:cNvGrpSpPr>
          <p:nvPr>
            <p:custDataLst>
              <p:tags r:id="rId271"/>
            </p:custDataLst>
          </p:nvPr>
        </p:nvGrpSpPr>
        <p:grpSpPr bwMode="auto">
          <a:xfrm>
            <a:off x="1009693" y="631445"/>
            <a:ext cx="2005439" cy="1139140"/>
            <a:chOff x="527" y="1110"/>
            <a:chExt cx="1410" cy="709"/>
          </a:xfrm>
          <a:solidFill>
            <a:schemeClr val="bg1">
              <a:lumMod val="85000"/>
            </a:schemeClr>
          </a:solidFill>
        </p:grpSpPr>
        <p:sp>
          <p:nvSpPr>
            <p:cNvPr id="1002" name="Freeform 392">
              <a:extLst>
                <a:ext uri="{FF2B5EF4-FFF2-40B4-BE49-F238E27FC236}">
                  <a16:creationId xmlns:a16="http://schemas.microsoft.com/office/drawing/2014/main" id="{28CD3C4A-9C3D-DA73-DE01-B90F188E3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3" name="Freeform 393">
              <a:extLst>
                <a:ext uri="{FF2B5EF4-FFF2-40B4-BE49-F238E27FC236}">
                  <a16:creationId xmlns:a16="http://schemas.microsoft.com/office/drawing/2014/main" id="{AA027E2F-53E9-9853-893B-DA072C0EE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4" name="Freeform 394">
              <a:extLst>
                <a:ext uri="{FF2B5EF4-FFF2-40B4-BE49-F238E27FC236}">
                  <a16:creationId xmlns:a16="http://schemas.microsoft.com/office/drawing/2014/main" id="{4176B0FE-B2C5-2403-76C8-6FAFF87E9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5" name="Freeform 395">
              <a:extLst>
                <a:ext uri="{FF2B5EF4-FFF2-40B4-BE49-F238E27FC236}">
                  <a16:creationId xmlns:a16="http://schemas.microsoft.com/office/drawing/2014/main" id="{D210EE2F-21BF-2639-A787-AF9F42317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6" name="Freeform 396">
              <a:extLst>
                <a:ext uri="{FF2B5EF4-FFF2-40B4-BE49-F238E27FC236}">
                  <a16:creationId xmlns:a16="http://schemas.microsoft.com/office/drawing/2014/main" id="{185F9CDA-5424-C66B-2CBB-3A6F49D10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7" name="Freeform 397">
              <a:extLst>
                <a:ext uri="{FF2B5EF4-FFF2-40B4-BE49-F238E27FC236}">
                  <a16:creationId xmlns:a16="http://schemas.microsoft.com/office/drawing/2014/main" id="{0211079D-B15C-63BB-32F4-826D8BE94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8" name="Freeform 398">
              <a:extLst>
                <a:ext uri="{FF2B5EF4-FFF2-40B4-BE49-F238E27FC236}">
                  <a16:creationId xmlns:a16="http://schemas.microsoft.com/office/drawing/2014/main" id="{8DEDAB20-6084-CE68-79D8-E392C4A30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9" name="Freeform 399">
              <a:extLst>
                <a:ext uri="{FF2B5EF4-FFF2-40B4-BE49-F238E27FC236}">
                  <a16:creationId xmlns:a16="http://schemas.microsoft.com/office/drawing/2014/main" id="{950C32F6-73E6-C074-6BB8-684B0CA42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0" name="Freeform 400">
              <a:extLst>
                <a:ext uri="{FF2B5EF4-FFF2-40B4-BE49-F238E27FC236}">
                  <a16:creationId xmlns:a16="http://schemas.microsoft.com/office/drawing/2014/main" id="{666D0750-AB47-F000-7140-10C196D9C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1" name="Freeform 401">
              <a:extLst>
                <a:ext uri="{FF2B5EF4-FFF2-40B4-BE49-F238E27FC236}">
                  <a16:creationId xmlns:a16="http://schemas.microsoft.com/office/drawing/2014/main" id="{0FD685EA-C70F-F09A-4336-44EE77DBB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2" name="Freeform 402">
              <a:extLst>
                <a:ext uri="{FF2B5EF4-FFF2-40B4-BE49-F238E27FC236}">
                  <a16:creationId xmlns:a16="http://schemas.microsoft.com/office/drawing/2014/main" id="{AB2FC144-B38B-6BBD-718F-4B1463F0F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3" name="Freeform 403">
              <a:extLst>
                <a:ext uri="{FF2B5EF4-FFF2-40B4-BE49-F238E27FC236}">
                  <a16:creationId xmlns:a16="http://schemas.microsoft.com/office/drawing/2014/main" id="{D968FB30-FF00-DB55-3625-6E2B04259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4" name="Freeform 404">
              <a:extLst>
                <a:ext uri="{FF2B5EF4-FFF2-40B4-BE49-F238E27FC236}">
                  <a16:creationId xmlns:a16="http://schemas.microsoft.com/office/drawing/2014/main" id="{49A8966B-47DC-DB47-9B26-543651853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5" name="Freeform 405">
              <a:extLst>
                <a:ext uri="{FF2B5EF4-FFF2-40B4-BE49-F238E27FC236}">
                  <a16:creationId xmlns:a16="http://schemas.microsoft.com/office/drawing/2014/main" id="{F3786109-54E9-095C-DA4F-94BB327CB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6" name="Freeform 406">
              <a:extLst>
                <a:ext uri="{FF2B5EF4-FFF2-40B4-BE49-F238E27FC236}">
                  <a16:creationId xmlns:a16="http://schemas.microsoft.com/office/drawing/2014/main" id="{3921D9DD-80C2-C295-B4A1-E523DC1F0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7" name="Freeform 407">
              <a:extLst>
                <a:ext uri="{FF2B5EF4-FFF2-40B4-BE49-F238E27FC236}">
                  <a16:creationId xmlns:a16="http://schemas.microsoft.com/office/drawing/2014/main" id="{04D92527-E485-A30A-7351-C13727E31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8" name="Freeform 408">
              <a:extLst>
                <a:ext uri="{FF2B5EF4-FFF2-40B4-BE49-F238E27FC236}">
                  <a16:creationId xmlns:a16="http://schemas.microsoft.com/office/drawing/2014/main" id="{BC2E9D63-45A5-F1F7-A7A5-0BFBEF6E2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9" name="Freeform 409">
              <a:extLst>
                <a:ext uri="{FF2B5EF4-FFF2-40B4-BE49-F238E27FC236}">
                  <a16:creationId xmlns:a16="http://schemas.microsoft.com/office/drawing/2014/main" id="{177D67C2-8238-24C1-AE03-67F4210F9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0" name="Freeform 410">
              <a:extLst>
                <a:ext uri="{FF2B5EF4-FFF2-40B4-BE49-F238E27FC236}">
                  <a16:creationId xmlns:a16="http://schemas.microsoft.com/office/drawing/2014/main" id="{6F546617-2984-6654-650A-0B7B0666E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1" name="Freeform 411">
              <a:extLst>
                <a:ext uri="{FF2B5EF4-FFF2-40B4-BE49-F238E27FC236}">
                  <a16:creationId xmlns:a16="http://schemas.microsoft.com/office/drawing/2014/main" id="{67B8E930-C505-B913-3101-B9E17EA44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2" name="Freeform 412">
              <a:extLst>
                <a:ext uri="{FF2B5EF4-FFF2-40B4-BE49-F238E27FC236}">
                  <a16:creationId xmlns:a16="http://schemas.microsoft.com/office/drawing/2014/main" id="{796A9D7A-DAC4-3140-32CB-3FEA50BB0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3" name="Freeform 413">
              <a:extLst>
                <a:ext uri="{FF2B5EF4-FFF2-40B4-BE49-F238E27FC236}">
                  <a16:creationId xmlns:a16="http://schemas.microsoft.com/office/drawing/2014/main" id="{DFD93E20-9F7B-341D-E665-90DE96029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4" name="Freeform 414">
              <a:extLst>
                <a:ext uri="{FF2B5EF4-FFF2-40B4-BE49-F238E27FC236}">
                  <a16:creationId xmlns:a16="http://schemas.microsoft.com/office/drawing/2014/main" id="{973558AC-D9A1-3B30-0139-61B65262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5" name="Freeform 415">
              <a:extLst>
                <a:ext uri="{FF2B5EF4-FFF2-40B4-BE49-F238E27FC236}">
                  <a16:creationId xmlns:a16="http://schemas.microsoft.com/office/drawing/2014/main" id="{9142B4E8-28CE-61C7-4288-E34B1D014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6" name="Freeform 416">
              <a:extLst>
                <a:ext uri="{FF2B5EF4-FFF2-40B4-BE49-F238E27FC236}">
                  <a16:creationId xmlns:a16="http://schemas.microsoft.com/office/drawing/2014/main" id="{1B24EA0B-E629-3E74-1CB6-1D0555112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7" name="Freeform 417">
              <a:extLst>
                <a:ext uri="{FF2B5EF4-FFF2-40B4-BE49-F238E27FC236}">
                  <a16:creationId xmlns:a16="http://schemas.microsoft.com/office/drawing/2014/main" id="{18D9EEEE-24A5-6BC0-CE55-E3F476395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8" name="Freeform 418">
              <a:extLst>
                <a:ext uri="{FF2B5EF4-FFF2-40B4-BE49-F238E27FC236}">
                  <a16:creationId xmlns:a16="http://schemas.microsoft.com/office/drawing/2014/main" id="{7331E9F0-8806-6C35-0D55-6ECA0B0F9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9" name="Freeform 419">
              <a:extLst>
                <a:ext uri="{FF2B5EF4-FFF2-40B4-BE49-F238E27FC236}">
                  <a16:creationId xmlns:a16="http://schemas.microsoft.com/office/drawing/2014/main" id="{F24A632E-F100-FF8A-89EA-823D21765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0" name="Freeform 420">
              <a:extLst>
                <a:ext uri="{FF2B5EF4-FFF2-40B4-BE49-F238E27FC236}">
                  <a16:creationId xmlns:a16="http://schemas.microsoft.com/office/drawing/2014/main" id="{3536CB72-BD4D-5D71-4948-604144F19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1" name="Freeform 421">
              <a:extLst>
                <a:ext uri="{FF2B5EF4-FFF2-40B4-BE49-F238E27FC236}">
                  <a16:creationId xmlns:a16="http://schemas.microsoft.com/office/drawing/2014/main" id="{DE01FCFB-418E-E373-65E0-C7A6D1346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2" name="Freeform 422">
              <a:extLst>
                <a:ext uri="{FF2B5EF4-FFF2-40B4-BE49-F238E27FC236}">
                  <a16:creationId xmlns:a16="http://schemas.microsoft.com/office/drawing/2014/main" id="{484F554F-DCF2-4BA9-7B89-235C0611B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3" name="Freeform 423">
              <a:extLst>
                <a:ext uri="{FF2B5EF4-FFF2-40B4-BE49-F238E27FC236}">
                  <a16:creationId xmlns:a16="http://schemas.microsoft.com/office/drawing/2014/main" id="{AF352B4A-9DE5-C722-0998-C62CC0B1A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4" name="Freeform 424">
              <a:extLst>
                <a:ext uri="{FF2B5EF4-FFF2-40B4-BE49-F238E27FC236}">
                  <a16:creationId xmlns:a16="http://schemas.microsoft.com/office/drawing/2014/main" id="{5EE92AF1-47FD-D132-43B1-276DBAC9C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5" name="Freeform 425">
              <a:extLst>
                <a:ext uri="{FF2B5EF4-FFF2-40B4-BE49-F238E27FC236}">
                  <a16:creationId xmlns:a16="http://schemas.microsoft.com/office/drawing/2014/main" id="{395FC84B-7721-2634-5000-B8DE31818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6" name="Freeform 426">
              <a:extLst>
                <a:ext uri="{FF2B5EF4-FFF2-40B4-BE49-F238E27FC236}">
                  <a16:creationId xmlns:a16="http://schemas.microsoft.com/office/drawing/2014/main" id="{1955237A-AC55-AB98-030C-5B20EA678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7" name="Freeform 427">
              <a:extLst>
                <a:ext uri="{FF2B5EF4-FFF2-40B4-BE49-F238E27FC236}">
                  <a16:creationId xmlns:a16="http://schemas.microsoft.com/office/drawing/2014/main" id="{F0EF453E-84EA-2EF5-9E69-83B9BA1D7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8" name="Freeform 428">
              <a:extLst>
                <a:ext uri="{FF2B5EF4-FFF2-40B4-BE49-F238E27FC236}">
                  <a16:creationId xmlns:a16="http://schemas.microsoft.com/office/drawing/2014/main" id="{5A245735-04EE-950F-2BA8-19CC756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9" name="Freeform 429">
              <a:extLst>
                <a:ext uri="{FF2B5EF4-FFF2-40B4-BE49-F238E27FC236}">
                  <a16:creationId xmlns:a16="http://schemas.microsoft.com/office/drawing/2014/main" id="{318431D6-1E0E-3CE0-C4B9-9356F12EB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0" name="Freeform 430">
              <a:extLst>
                <a:ext uri="{FF2B5EF4-FFF2-40B4-BE49-F238E27FC236}">
                  <a16:creationId xmlns:a16="http://schemas.microsoft.com/office/drawing/2014/main" id="{225D34E6-1633-87BB-48C7-A3B35EE4F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1" name="Freeform 431">
              <a:extLst>
                <a:ext uri="{FF2B5EF4-FFF2-40B4-BE49-F238E27FC236}">
                  <a16:creationId xmlns:a16="http://schemas.microsoft.com/office/drawing/2014/main" id="{593A38C3-E0C6-3052-499E-13B0CB098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2" name="Freeform 432">
              <a:extLst>
                <a:ext uri="{FF2B5EF4-FFF2-40B4-BE49-F238E27FC236}">
                  <a16:creationId xmlns:a16="http://schemas.microsoft.com/office/drawing/2014/main" id="{F9CC57FD-2F6C-9A64-2C62-AB98449C3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3" name="Freeform 433">
              <a:extLst>
                <a:ext uri="{FF2B5EF4-FFF2-40B4-BE49-F238E27FC236}">
                  <a16:creationId xmlns:a16="http://schemas.microsoft.com/office/drawing/2014/main" id="{B34AF940-5FDB-3E30-A321-D4CB21BB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885" name="Freeform 434">
            <a:extLst>
              <a:ext uri="{FF2B5EF4-FFF2-40B4-BE49-F238E27FC236}">
                <a16:creationId xmlns:a16="http://schemas.microsoft.com/office/drawing/2014/main" id="{F5803571-89BE-15FB-6DB9-4125DDDBC131}"/>
              </a:ext>
            </a:extLst>
          </p:cNvPr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783946" y="2987900"/>
            <a:ext cx="134255" cy="159543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86" name="Freeform 435">
            <a:extLst>
              <a:ext uri="{FF2B5EF4-FFF2-40B4-BE49-F238E27FC236}">
                <a16:creationId xmlns:a16="http://schemas.microsoft.com/office/drawing/2014/main" id="{6C0FC9DA-5BE7-385B-D049-9EC38D924122}"/>
              </a:ext>
            </a:extLst>
          </p:cNvPr>
          <p:cNvSpPr>
            <a:spLocks/>
          </p:cNvSpPr>
          <p:nvPr>
            <p:custDataLst>
              <p:tags r:id="rId273"/>
            </p:custDataLst>
          </p:nvPr>
        </p:nvSpPr>
        <p:spPr bwMode="auto">
          <a:xfrm>
            <a:off x="4896384" y="3139467"/>
            <a:ext cx="6713" cy="57436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87" name="Freeform 436">
            <a:extLst>
              <a:ext uri="{FF2B5EF4-FFF2-40B4-BE49-F238E27FC236}">
                <a16:creationId xmlns:a16="http://schemas.microsoft.com/office/drawing/2014/main" id="{431570E3-FD79-396E-8A8A-6F16619BBA2F}"/>
              </a:ext>
            </a:extLst>
          </p:cNvPr>
          <p:cNvSpPr>
            <a:spLocks/>
          </p:cNvSpPr>
          <p:nvPr>
            <p:custDataLst>
              <p:tags r:id="rId274"/>
            </p:custDataLst>
          </p:nvPr>
        </p:nvSpPr>
        <p:spPr bwMode="auto">
          <a:xfrm>
            <a:off x="4357685" y="2372064"/>
            <a:ext cx="263476" cy="502561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88" name="Freeform 437">
            <a:extLst>
              <a:ext uri="{FF2B5EF4-FFF2-40B4-BE49-F238E27FC236}">
                <a16:creationId xmlns:a16="http://schemas.microsoft.com/office/drawing/2014/main" id="{739C2617-3186-2A1C-8B65-EE35D109ACEC}"/>
              </a:ext>
            </a:extLst>
          </p:cNvPr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015334" y="1751439"/>
            <a:ext cx="16782" cy="57436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889" name="Group 438">
            <a:extLst>
              <a:ext uri="{FF2B5EF4-FFF2-40B4-BE49-F238E27FC236}">
                <a16:creationId xmlns:a16="http://schemas.microsoft.com/office/drawing/2014/main" id="{3E178560-0E52-8F89-85EC-F0D795411679}"/>
              </a:ext>
            </a:extLst>
          </p:cNvPr>
          <p:cNvGrpSpPr>
            <a:grpSpLocks/>
          </p:cNvGrpSpPr>
          <p:nvPr>
            <p:custDataLst>
              <p:tags r:id="rId276"/>
            </p:custDataLst>
          </p:nvPr>
        </p:nvGrpSpPr>
        <p:grpSpPr bwMode="auto">
          <a:xfrm>
            <a:off x="2217991" y="3822312"/>
            <a:ext cx="406122" cy="1037032"/>
            <a:chOff x="1589" y="3126"/>
            <a:chExt cx="290" cy="657"/>
          </a:xfrm>
          <a:solidFill>
            <a:schemeClr val="bg1">
              <a:lumMod val="85000"/>
            </a:schemeClr>
          </a:solidFill>
        </p:grpSpPr>
        <p:sp>
          <p:nvSpPr>
            <p:cNvPr id="999" name="Freeform 439">
              <a:extLst>
                <a:ext uri="{FF2B5EF4-FFF2-40B4-BE49-F238E27FC236}">
                  <a16:creationId xmlns:a16="http://schemas.microsoft.com/office/drawing/2014/main" id="{1781AB3A-D219-B245-9DD4-9B09F7610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0" name="Freeform 440">
              <a:extLst>
                <a:ext uri="{FF2B5EF4-FFF2-40B4-BE49-F238E27FC236}">
                  <a16:creationId xmlns:a16="http://schemas.microsoft.com/office/drawing/2014/main" id="{A0F7A4D8-5486-76EB-0CE7-604EBBCB5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01" name="Freeform 441">
              <a:extLst>
                <a:ext uri="{FF2B5EF4-FFF2-40B4-BE49-F238E27FC236}">
                  <a16:creationId xmlns:a16="http://schemas.microsoft.com/office/drawing/2014/main" id="{DF711C42-28FC-7041-7237-289AD106D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890" name="Freeform 442">
            <a:extLst>
              <a:ext uri="{FF2B5EF4-FFF2-40B4-BE49-F238E27FC236}">
                <a16:creationId xmlns:a16="http://schemas.microsoft.com/office/drawing/2014/main" id="{91BEB8EB-D3F2-23EF-4CA7-87D5EC89B7C2}"/>
              </a:ext>
            </a:extLst>
          </p:cNvPr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5082664" y="1764203"/>
            <a:ext cx="130899" cy="110086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1" name="Freeform 443">
            <a:extLst>
              <a:ext uri="{FF2B5EF4-FFF2-40B4-BE49-F238E27FC236}">
                <a16:creationId xmlns:a16="http://schemas.microsoft.com/office/drawing/2014/main" id="{D2EABDBC-42EA-5F4D-B8AF-D8D02520676E}"/>
              </a:ext>
            </a:extLst>
          </p:cNvPr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518791" y="1335032"/>
            <a:ext cx="221522" cy="151566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2" name="Freeform 444">
            <a:extLst>
              <a:ext uri="{FF2B5EF4-FFF2-40B4-BE49-F238E27FC236}">
                <a16:creationId xmlns:a16="http://schemas.microsoft.com/office/drawing/2014/main" id="{C0015353-768D-E93F-E68B-184AC8AB625D}"/>
              </a:ext>
            </a:extLst>
          </p:cNvPr>
          <p:cNvSpPr>
            <a:spLocks/>
          </p:cNvSpPr>
          <p:nvPr>
            <p:custDataLst>
              <p:tags r:id="rId279"/>
            </p:custDataLst>
          </p:nvPr>
        </p:nvSpPr>
        <p:spPr bwMode="auto">
          <a:xfrm>
            <a:off x="4367755" y="1668477"/>
            <a:ext cx="87266" cy="87749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3" name="Freeform 445">
            <a:extLst>
              <a:ext uri="{FF2B5EF4-FFF2-40B4-BE49-F238E27FC236}">
                <a16:creationId xmlns:a16="http://schemas.microsoft.com/office/drawing/2014/main" id="{10CB4F8D-54BA-128C-72DC-1CDD93C17DA3}"/>
              </a:ext>
            </a:extLst>
          </p:cNvPr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2639218" y="3112344"/>
            <a:ext cx="87266" cy="57436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4" name="Freeform 446">
            <a:extLst>
              <a:ext uri="{FF2B5EF4-FFF2-40B4-BE49-F238E27FC236}">
                <a16:creationId xmlns:a16="http://schemas.microsoft.com/office/drawing/2014/main" id="{7CFC4FD4-FD21-98BD-BE4D-9AF3D763BA05}"/>
              </a:ext>
            </a:extLst>
          </p:cNvPr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35574" y="1703576"/>
            <a:ext cx="140968" cy="97322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5" name="Freeform 447">
            <a:extLst>
              <a:ext uri="{FF2B5EF4-FFF2-40B4-BE49-F238E27FC236}">
                <a16:creationId xmlns:a16="http://schemas.microsoft.com/office/drawing/2014/main" id="{C21606DC-8D49-71B2-3F57-3C29B5B59950}"/>
              </a:ext>
            </a:extLst>
          </p:cNvPr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3686408" y="2492460"/>
            <a:ext cx="187958" cy="165925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57A7B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6" name="Freeform 448">
            <a:extLst>
              <a:ext uri="{FF2B5EF4-FFF2-40B4-BE49-F238E27FC236}">
                <a16:creationId xmlns:a16="http://schemas.microsoft.com/office/drawing/2014/main" id="{F64DFE4D-C6CF-5C0D-84A7-D29044FDE0F4}"/>
              </a:ext>
            </a:extLst>
          </p:cNvPr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221751" y="2703913"/>
            <a:ext cx="204740" cy="350996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7" name="Freeform 449">
            <a:extLst>
              <a:ext uri="{FF2B5EF4-FFF2-40B4-BE49-F238E27FC236}">
                <a16:creationId xmlns:a16="http://schemas.microsoft.com/office/drawing/2014/main" id="{C4F8C10C-5D1C-8673-DB0F-0390AB6C2C6F}"/>
              </a:ext>
            </a:extLst>
          </p:cNvPr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6812878" y="2461407"/>
            <a:ext cx="58737" cy="57436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8" name="Freeform 450">
            <a:extLst>
              <a:ext uri="{FF2B5EF4-FFF2-40B4-BE49-F238E27FC236}">
                <a16:creationId xmlns:a16="http://schemas.microsoft.com/office/drawing/2014/main" id="{0ADA0808-B9B7-F31E-62FB-369FD49B9014}"/>
              </a:ext>
            </a:extLst>
          </p:cNvPr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1902491" y="2726250"/>
            <a:ext cx="315500" cy="526493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899" name="Freeform 451">
            <a:extLst>
              <a:ext uri="{FF2B5EF4-FFF2-40B4-BE49-F238E27FC236}">
                <a16:creationId xmlns:a16="http://schemas.microsoft.com/office/drawing/2014/main" id="{E3789FF4-0D18-17F1-0CC8-F818EA8F6C3B}"/>
              </a:ext>
            </a:extLst>
          </p:cNvPr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83845" y="2995877"/>
            <a:ext cx="198026" cy="276011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0" name="Freeform 452">
            <a:extLst>
              <a:ext uri="{FF2B5EF4-FFF2-40B4-BE49-F238E27FC236}">
                <a16:creationId xmlns:a16="http://schemas.microsoft.com/office/drawing/2014/main" id="{D7F0780E-C72F-2616-7535-EA22912B4ECE}"/>
              </a:ext>
            </a:extLst>
          </p:cNvPr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4317409" y="1631782"/>
            <a:ext cx="134255" cy="114872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1" name="Freeform 453">
            <a:extLst>
              <a:ext uri="{FF2B5EF4-FFF2-40B4-BE49-F238E27FC236}">
                <a16:creationId xmlns:a16="http://schemas.microsoft.com/office/drawing/2014/main" id="{C12B9828-703B-4E39-23B8-C32706D0A7E6}"/>
              </a:ext>
            </a:extLst>
          </p:cNvPr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4265384" y="1489788"/>
            <a:ext cx="177888" cy="78177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2" name="Freeform 454">
            <a:extLst>
              <a:ext uri="{FF2B5EF4-FFF2-40B4-BE49-F238E27FC236}">
                <a16:creationId xmlns:a16="http://schemas.microsoft.com/office/drawing/2014/main" id="{4E8ADB62-B86A-8AB6-E35C-9BD17E07DB5C}"/>
              </a:ext>
            </a:extLst>
          </p:cNvPr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26787" y="1344604"/>
            <a:ext cx="31885" cy="60626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3" name="Freeform 455">
            <a:extLst>
              <a:ext uri="{FF2B5EF4-FFF2-40B4-BE49-F238E27FC236}">
                <a16:creationId xmlns:a16="http://schemas.microsoft.com/office/drawing/2014/main" id="{66DD4F0E-3851-FC2F-7048-D77BD24A9F43}"/>
              </a:ext>
            </a:extLst>
          </p:cNvPr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196579" y="1349390"/>
            <a:ext cx="26851" cy="59032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4" name="Freeform 456">
            <a:extLst>
              <a:ext uri="{FF2B5EF4-FFF2-40B4-BE49-F238E27FC236}">
                <a16:creationId xmlns:a16="http://schemas.microsoft.com/office/drawing/2014/main" id="{66B43B73-5840-40C5-8565-986EE1CE3370}"/>
              </a:ext>
            </a:extLst>
          </p:cNvPr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164693" y="1295145"/>
            <a:ext cx="55381" cy="78177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5" name="Freeform 457">
            <a:extLst>
              <a:ext uri="{FF2B5EF4-FFF2-40B4-BE49-F238E27FC236}">
                <a16:creationId xmlns:a16="http://schemas.microsoft.com/office/drawing/2014/main" id="{7FEC87B1-5DDF-0734-EF74-4F337E1669C8}"/>
              </a:ext>
            </a:extLst>
          </p:cNvPr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621161" y="2104031"/>
            <a:ext cx="288649" cy="309514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6" name="Freeform 458">
            <a:extLst>
              <a:ext uri="{FF2B5EF4-FFF2-40B4-BE49-F238E27FC236}">
                <a16:creationId xmlns:a16="http://schemas.microsoft.com/office/drawing/2014/main" id="{ACFC7FA5-49CB-3B15-FC8B-196E6B366148}"/>
              </a:ext>
            </a:extLst>
          </p:cNvPr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193223" y="1737081"/>
            <a:ext cx="18460" cy="57436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7" name="Freeform 459">
            <a:extLst>
              <a:ext uri="{FF2B5EF4-FFF2-40B4-BE49-F238E27FC236}">
                <a16:creationId xmlns:a16="http://schemas.microsoft.com/office/drawing/2014/main" id="{353F6C86-5CFE-6E6F-A241-92A714238AB2}"/>
              </a:ext>
            </a:extLst>
          </p:cNvPr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3894845" y="1486597"/>
            <a:ext cx="312143" cy="274415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8" name="Freeform 460">
            <a:extLst>
              <a:ext uri="{FF2B5EF4-FFF2-40B4-BE49-F238E27FC236}">
                <a16:creationId xmlns:a16="http://schemas.microsoft.com/office/drawing/2014/main" id="{F264E5A6-4ED4-970D-92DB-F9D9CA9F8A59}"/>
              </a:ext>
            </a:extLst>
          </p:cNvPr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955121" y="1722721"/>
            <a:ext cx="159428" cy="82963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09" name="Freeform 461">
            <a:extLst>
              <a:ext uri="{FF2B5EF4-FFF2-40B4-BE49-F238E27FC236}">
                <a16:creationId xmlns:a16="http://schemas.microsoft.com/office/drawing/2014/main" id="{C0990806-C007-54B8-AB5A-FC22FB8724E9}"/>
              </a:ext>
            </a:extLst>
          </p:cNvPr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478515" y="1783348"/>
            <a:ext cx="156071" cy="173903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0" name="Freeform 462">
            <a:extLst>
              <a:ext uri="{FF2B5EF4-FFF2-40B4-BE49-F238E27FC236}">
                <a16:creationId xmlns:a16="http://schemas.microsoft.com/office/drawing/2014/main" id="{79519878-9E24-F22D-A6EB-8C4CBD37655E}"/>
              </a:ext>
            </a:extLst>
          </p:cNvPr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567458" y="1976396"/>
            <a:ext cx="73841" cy="57436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1" name="Freeform 463">
            <a:extLst>
              <a:ext uri="{FF2B5EF4-FFF2-40B4-BE49-F238E27FC236}">
                <a16:creationId xmlns:a16="http://schemas.microsoft.com/office/drawing/2014/main" id="{EA072177-6702-6245-C600-6C5620EA8E95}"/>
              </a:ext>
            </a:extLst>
          </p:cNvPr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3594108" y="2711890"/>
            <a:ext cx="198026" cy="159543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2" name="Freeform 464">
            <a:extLst>
              <a:ext uri="{FF2B5EF4-FFF2-40B4-BE49-F238E27FC236}">
                <a16:creationId xmlns:a16="http://schemas.microsoft.com/office/drawing/2014/main" id="{AD5505CE-DA42-30D8-5D1C-26171441D08D}"/>
              </a:ext>
            </a:extLst>
          </p:cNvPr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5755618" y="1971609"/>
            <a:ext cx="731691" cy="879085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3" name="Freeform 465">
            <a:extLst>
              <a:ext uri="{FF2B5EF4-FFF2-40B4-BE49-F238E27FC236}">
                <a16:creationId xmlns:a16="http://schemas.microsoft.com/office/drawing/2014/main" id="{A07F0C25-B62C-1338-A46B-506D60A499CE}"/>
              </a:ext>
            </a:extLst>
          </p:cNvPr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3770319" y="2770921"/>
            <a:ext cx="167819" cy="207407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4" name="Freeform 466">
            <a:extLst>
              <a:ext uri="{FF2B5EF4-FFF2-40B4-BE49-F238E27FC236}">
                <a16:creationId xmlns:a16="http://schemas.microsoft.com/office/drawing/2014/main" id="{746A3A6D-AAA9-C413-7ECB-801FF4627102}"/>
              </a:ext>
            </a:extLst>
          </p:cNvPr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4899741" y="2967159"/>
            <a:ext cx="203062" cy="272820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5" name="Freeform 467">
            <a:extLst>
              <a:ext uri="{FF2B5EF4-FFF2-40B4-BE49-F238E27FC236}">
                <a16:creationId xmlns:a16="http://schemas.microsoft.com/office/drawing/2014/main" id="{023A4211-5819-E4EE-32C6-37FED66C4CF4}"/>
              </a:ext>
            </a:extLst>
          </p:cNvPr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4881280" y="2048189"/>
            <a:ext cx="107405" cy="130826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6" name="Freeform 468">
            <a:extLst>
              <a:ext uri="{FF2B5EF4-FFF2-40B4-BE49-F238E27FC236}">
                <a16:creationId xmlns:a16="http://schemas.microsoft.com/office/drawing/2014/main" id="{96C9E325-FE4B-B122-D414-0DA83739894F}"/>
              </a:ext>
            </a:extLst>
          </p:cNvPr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5196781" y="2151894"/>
            <a:ext cx="23495" cy="55840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7" name="Freeform 469">
            <a:extLst>
              <a:ext uri="{FF2B5EF4-FFF2-40B4-BE49-F238E27FC236}">
                <a16:creationId xmlns:a16="http://schemas.microsoft.com/office/drawing/2014/main" id="{C768C269-8698-8F68-AAE7-240F0E7526C0}"/>
              </a:ext>
            </a:extLst>
          </p:cNvPr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443272" y="1282382"/>
            <a:ext cx="171176" cy="67008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8" name="Freeform 470">
            <a:extLst>
              <a:ext uri="{FF2B5EF4-FFF2-40B4-BE49-F238E27FC236}">
                <a16:creationId xmlns:a16="http://schemas.microsoft.com/office/drawing/2014/main" id="{DB49EE84-7B60-2429-7883-2ECE21D44F7F}"/>
              </a:ext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77925" y="2006709"/>
            <a:ext cx="31885" cy="57436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19" name="Freeform 471">
            <a:extLst>
              <a:ext uri="{FF2B5EF4-FFF2-40B4-BE49-F238E27FC236}">
                <a16:creationId xmlns:a16="http://schemas.microsoft.com/office/drawing/2014/main" id="{87577CFA-FC1C-7341-3A54-4549F2426574}"/>
              </a:ext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4683255" y="4028124"/>
            <a:ext cx="65449" cy="57436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0" name="Freeform 472">
            <a:extLst>
              <a:ext uri="{FF2B5EF4-FFF2-40B4-BE49-F238E27FC236}">
                <a16:creationId xmlns:a16="http://schemas.microsoft.com/office/drawing/2014/main" id="{693D8CB2-DBFE-4C49-1709-DE423AD9ED35}"/>
              </a:ext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41595" y="1330245"/>
            <a:ext cx="139289" cy="84559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1" name="Freeform 473">
            <a:extLst>
              <a:ext uri="{FF2B5EF4-FFF2-40B4-BE49-F238E27FC236}">
                <a16:creationId xmlns:a16="http://schemas.microsoft.com/office/drawing/2014/main" id="{A1FA1619-9EA0-39C1-B948-5CAA97BA305D}"/>
              </a:ext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131129" y="1516912"/>
            <a:ext cx="20138" cy="60626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2" name="Freeform 474">
            <a:extLst>
              <a:ext uri="{FF2B5EF4-FFF2-40B4-BE49-F238E27FC236}">
                <a16:creationId xmlns:a16="http://schemas.microsoft.com/office/drawing/2014/main" id="{32D0FEFE-F1B5-5654-23CE-F81EB0755BC7}"/>
              </a:ext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867855" y="3410690"/>
            <a:ext cx="73841" cy="242506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3" name="Freeform 475">
            <a:extLst>
              <a:ext uri="{FF2B5EF4-FFF2-40B4-BE49-F238E27FC236}">
                <a16:creationId xmlns:a16="http://schemas.microsoft.com/office/drawing/2014/main" id="{F1ED6E05-7CDA-7D4F-C27E-EF842499CE41}"/>
              </a:ext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330834" y="1974800"/>
            <a:ext cx="15104" cy="57436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4" name="Freeform 476">
            <a:extLst>
              <a:ext uri="{FF2B5EF4-FFF2-40B4-BE49-F238E27FC236}">
                <a16:creationId xmlns:a16="http://schemas.microsoft.com/office/drawing/2014/main" id="{E5D9CF5A-A891-BCEE-5C2A-C4F5E0AFA6E1}"/>
              </a:ext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668150" y="3603738"/>
            <a:ext cx="199706" cy="218574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5" name="Freeform 477">
            <a:extLst>
              <a:ext uri="{FF2B5EF4-FFF2-40B4-BE49-F238E27FC236}">
                <a16:creationId xmlns:a16="http://schemas.microsoft.com/office/drawing/2014/main" id="{9601F758-08D7-48E7-1981-61DF1E0CB7CC}"/>
              </a:ext>
            </a:extLst>
          </p:cNvPr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575850" y="3378781"/>
            <a:ext cx="310465" cy="3015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6" name="Freeform 478">
            <a:extLst>
              <a:ext uri="{FF2B5EF4-FFF2-40B4-BE49-F238E27FC236}">
                <a16:creationId xmlns:a16="http://schemas.microsoft.com/office/drawing/2014/main" id="{2E34159D-F0F0-77D9-DC82-D32C2D455EA2}"/>
              </a:ext>
            </a:extLst>
          </p:cNvPr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297270" y="3653197"/>
            <a:ext cx="370880" cy="382904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7" name="Freeform 479">
            <a:extLst>
              <a:ext uri="{FF2B5EF4-FFF2-40B4-BE49-F238E27FC236}">
                <a16:creationId xmlns:a16="http://schemas.microsoft.com/office/drawing/2014/main" id="{D06C20B8-F766-3E7B-4655-50CB5C7DE062}"/>
              </a:ext>
            </a:extLst>
          </p:cNvPr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3535371" y="2577874"/>
            <a:ext cx="171176" cy="141994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8" name="Freeform 480">
            <a:extLst>
              <a:ext uri="{FF2B5EF4-FFF2-40B4-BE49-F238E27FC236}">
                <a16:creationId xmlns:a16="http://schemas.microsoft.com/office/drawing/2014/main" id="{A20918CF-7F44-1A96-FFEA-B920EFDA4DF7}"/>
              </a:ext>
            </a:extLst>
          </p:cNvPr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775554" y="3142657"/>
            <a:ext cx="285293" cy="336637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29" name="Freeform 481">
            <a:extLst>
              <a:ext uri="{FF2B5EF4-FFF2-40B4-BE49-F238E27FC236}">
                <a16:creationId xmlns:a16="http://schemas.microsoft.com/office/drawing/2014/main" id="{2C9C2A9E-59A4-7853-0304-453E2F5F2746}"/>
              </a:ext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7485834" y="1649331"/>
            <a:ext cx="20138" cy="57436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0" name="Freeform 482">
            <a:extLst>
              <a:ext uri="{FF2B5EF4-FFF2-40B4-BE49-F238E27FC236}">
                <a16:creationId xmlns:a16="http://schemas.microsoft.com/office/drawing/2014/main" id="{F545C0C1-5180-69C1-FAC9-6744385FB0C6}"/>
              </a:ext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7336474" y="1650927"/>
            <a:ext cx="149360" cy="126039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1" name="Freeform 483">
            <a:extLst>
              <a:ext uri="{FF2B5EF4-FFF2-40B4-BE49-F238E27FC236}">
                <a16:creationId xmlns:a16="http://schemas.microsoft.com/office/drawing/2014/main" id="{46C089EA-96EC-8660-971B-7DD57A9E3630}"/>
              </a:ext>
            </a:extLst>
          </p:cNvPr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7304589" y="2006709"/>
            <a:ext cx="55380" cy="57436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2" name="Freeform 484">
            <a:extLst>
              <a:ext uri="{FF2B5EF4-FFF2-40B4-BE49-F238E27FC236}">
                <a16:creationId xmlns:a16="http://schemas.microsoft.com/office/drawing/2014/main" id="{BD6F0EBD-D87A-916C-9317-3D01DA725EBF}"/>
              </a:ext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247531" y="2021068"/>
            <a:ext cx="63771" cy="8455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3" name="Freeform 485">
            <a:extLst>
              <a:ext uri="{FF2B5EF4-FFF2-40B4-BE49-F238E27FC236}">
                <a16:creationId xmlns:a16="http://schemas.microsoft.com/office/drawing/2014/main" id="{6C34EDE5-2D98-D400-B54B-A2C547E23896}"/>
              </a:ext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264312" y="1781753"/>
            <a:ext cx="221522" cy="245697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4" name="Freeform 486">
            <a:extLst>
              <a:ext uri="{FF2B5EF4-FFF2-40B4-BE49-F238E27FC236}">
                <a16:creationId xmlns:a16="http://schemas.microsoft.com/office/drawing/2014/main" id="{84B795AC-8ADB-841F-CFD7-803D5EEEA2EC}"/>
              </a:ext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4710105" y="666544"/>
            <a:ext cx="114117" cy="60626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5" name="Freeform 487">
            <a:extLst>
              <a:ext uri="{FF2B5EF4-FFF2-40B4-BE49-F238E27FC236}">
                <a16:creationId xmlns:a16="http://schemas.microsoft.com/office/drawing/2014/main" id="{AEA7C556-4AF6-D3D7-C6DB-B3FB0518F51B}"/>
              </a:ext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4861142" y="648995"/>
            <a:ext cx="67128" cy="57436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6" name="Freeform 488">
            <a:extLst>
              <a:ext uri="{FF2B5EF4-FFF2-40B4-BE49-F238E27FC236}">
                <a16:creationId xmlns:a16="http://schemas.microsoft.com/office/drawing/2014/main" id="{A615B957-8B3F-6106-AF03-899FC70E70BE}"/>
              </a:ext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4899740" y="656972"/>
            <a:ext cx="137612" cy="57436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7" name="Freeform 489">
            <a:extLst>
              <a:ext uri="{FF2B5EF4-FFF2-40B4-BE49-F238E27FC236}">
                <a16:creationId xmlns:a16="http://schemas.microsoft.com/office/drawing/2014/main" id="{D74DF7BC-FFB1-5A65-EE95-1E05F703A7F1}"/>
              </a:ext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5463612" y="843638"/>
            <a:ext cx="43633" cy="57436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8" name="Freeform 490">
            <a:extLst>
              <a:ext uri="{FF2B5EF4-FFF2-40B4-BE49-F238E27FC236}">
                <a16:creationId xmlns:a16="http://schemas.microsoft.com/office/drawing/2014/main" id="{E7DA97BB-1208-6752-59B2-E9EAEAFABD78}"/>
              </a:ext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367956" y="701644"/>
            <a:ext cx="16782" cy="59032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39" name="Freeform 491">
            <a:extLst>
              <a:ext uri="{FF2B5EF4-FFF2-40B4-BE49-F238E27FC236}">
                <a16:creationId xmlns:a16="http://schemas.microsoft.com/office/drawing/2014/main" id="{3E624181-2051-CA5A-2BD0-EAB578B62056}"/>
              </a:ext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391451" y="660163"/>
            <a:ext cx="15104" cy="60626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0" name="Freeform 492">
            <a:extLst>
              <a:ext uri="{FF2B5EF4-FFF2-40B4-BE49-F238E27FC236}">
                <a16:creationId xmlns:a16="http://schemas.microsoft.com/office/drawing/2014/main" id="{6B974B80-8CB1-FCD6-916B-8A644726E939}"/>
              </a:ext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544166" y="776630"/>
            <a:ext cx="18461" cy="57436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1" name="Freeform 493">
            <a:extLst>
              <a:ext uri="{FF2B5EF4-FFF2-40B4-BE49-F238E27FC236}">
                <a16:creationId xmlns:a16="http://schemas.microsoft.com/office/drawing/2014/main" id="{07BB2156-AF78-8B09-278E-B95641F2C055}"/>
              </a:ext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601224" y="660163"/>
            <a:ext cx="99014" cy="60626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2" name="Freeform 494">
            <a:extLst>
              <a:ext uri="{FF2B5EF4-FFF2-40B4-BE49-F238E27FC236}">
                <a16:creationId xmlns:a16="http://schemas.microsoft.com/office/drawing/2014/main" id="{9DCFD1F2-58DA-045B-DD1C-01AB2E7780F8}"/>
              </a:ext>
            </a:extLst>
          </p:cNvPr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664995" y="685690"/>
            <a:ext cx="109083" cy="60626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3" name="Freeform 495">
            <a:extLst>
              <a:ext uri="{FF2B5EF4-FFF2-40B4-BE49-F238E27FC236}">
                <a16:creationId xmlns:a16="http://schemas.microsoft.com/office/drawing/2014/main" id="{D441D936-CFD9-635D-26AB-0503CF40682D}"/>
              </a:ext>
            </a:extLst>
          </p:cNvPr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789182" y="700049"/>
            <a:ext cx="87266" cy="57436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4" name="Freeform 496">
            <a:extLst>
              <a:ext uri="{FF2B5EF4-FFF2-40B4-BE49-F238E27FC236}">
                <a16:creationId xmlns:a16="http://schemas.microsoft.com/office/drawing/2014/main" id="{3512F69E-C493-5997-2A13-52B5BF9A6D03}"/>
              </a:ext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6346342" y="826088"/>
            <a:ext cx="83909" cy="59032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5" name="Freeform 497">
            <a:extLst>
              <a:ext uri="{FF2B5EF4-FFF2-40B4-BE49-F238E27FC236}">
                <a16:creationId xmlns:a16="http://schemas.microsoft.com/office/drawing/2014/main" id="{D15C8A7F-2A7C-4E12-31F8-7C684FB93B96}"/>
              </a:ext>
            </a:extLst>
          </p:cNvPr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6416825" y="843638"/>
            <a:ext cx="35243" cy="57436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6" name="Freeform 498">
            <a:extLst>
              <a:ext uri="{FF2B5EF4-FFF2-40B4-BE49-F238E27FC236}">
                <a16:creationId xmlns:a16="http://schemas.microsoft.com/office/drawing/2014/main" id="{5EAD8FBC-48DE-CE7E-242F-6E964FA7B405}"/>
              </a:ext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6448712" y="854805"/>
            <a:ext cx="55380" cy="59032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7" name="Freeform 499">
            <a:extLst>
              <a:ext uri="{FF2B5EF4-FFF2-40B4-BE49-F238E27FC236}">
                <a16:creationId xmlns:a16="http://schemas.microsoft.com/office/drawing/2014/main" id="{DBFE2B9E-847D-DB7A-82BD-0821798E2ECB}"/>
              </a:ext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07052" y="827684"/>
            <a:ext cx="65449" cy="59030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8" name="Freeform 500">
            <a:extLst>
              <a:ext uri="{FF2B5EF4-FFF2-40B4-BE49-F238E27FC236}">
                <a16:creationId xmlns:a16="http://schemas.microsoft.com/office/drawing/2014/main" id="{71F6D635-589C-8659-D2BB-BF71CD3186CA}"/>
              </a:ext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524229" y="768652"/>
            <a:ext cx="147681" cy="57436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49" name="Freeform 501">
            <a:extLst>
              <a:ext uri="{FF2B5EF4-FFF2-40B4-BE49-F238E27FC236}">
                <a16:creationId xmlns:a16="http://schemas.microsoft.com/office/drawing/2014/main" id="{852152F2-BA4D-7FFD-69C3-736A55D7A773}"/>
              </a:ext>
            </a:extLst>
          </p:cNvPr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693727" y="776630"/>
            <a:ext cx="100691" cy="57436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0" name="Freeform 502">
            <a:extLst>
              <a:ext uri="{FF2B5EF4-FFF2-40B4-BE49-F238E27FC236}">
                <a16:creationId xmlns:a16="http://schemas.microsoft.com/office/drawing/2014/main" id="{6B5F61E7-A0DB-D157-DF0C-779DD584DE2B}"/>
              </a:ext>
            </a:extLst>
          </p:cNvPr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651772" y="824493"/>
            <a:ext cx="67128" cy="59030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1" name="Freeform 503">
            <a:extLst>
              <a:ext uri="{FF2B5EF4-FFF2-40B4-BE49-F238E27FC236}">
                <a16:creationId xmlns:a16="http://schemas.microsoft.com/office/drawing/2014/main" id="{466D8352-F28C-8B04-F684-1561AA8CAE9D}"/>
              </a:ext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629956" y="821302"/>
            <a:ext cx="21816" cy="59030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2" name="Line 504">
            <a:extLst>
              <a:ext uri="{FF2B5EF4-FFF2-40B4-BE49-F238E27FC236}">
                <a16:creationId xmlns:a16="http://schemas.microsoft.com/office/drawing/2014/main" id="{3191E6E6-9AFF-2857-29F2-6685E7689620}"/>
              </a:ext>
            </a:extLst>
          </p:cNvPr>
          <p:cNvSpPr>
            <a:spLocks noChangeShapeType="1"/>
          </p:cNvSpPr>
          <p:nvPr>
            <p:custDataLst>
              <p:tags r:id="rId339"/>
            </p:custDataLst>
          </p:nvPr>
        </p:nvSpPr>
        <p:spPr bwMode="auto">
          <a:xfrm flipV="1">
            <a:off x="6631634" y="819706"/>
            <a:ext cx="0" cy="1596"/>
          </a:xfrm>
          <a:prstGeom prst="line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3" name="Freeform 505">
            <a:extLst>
              <a:ext uri="{FF2B5EF4-FFF2-40B4-BE49-F238E27FC236}">
                <a16:creationId xmlns:a16="http://schemas.microsoft.com/office/drawing/2014/main" id="{FEA498A6-918C-9460-3159-167B5173316D}"/>
              </a:ext>
            </a:extLst>
          </p:cNvPr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5753940" y="747912"/>
            <a:ext cx="11747" cy="55840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4" name="Freeform 506">
            <a:extLst>
              <a:ext uri="{FF2B5EF4-FFF2-40B4-BE49-F238E27FC236}">
                <a16:creationId xmlns:a16="http://schemas.microsoft.com/office/drawing/2014/main" id="{FCAFFCFB-1CCE-A866-F13A-676BEF6AF7B7}"/>
              </a:ext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46046" y="819706"/>
            <a:ext cx="10070" cy="57436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5" name="Freeform 507">
            <a:extLst>
              <a:ext uri="{FF2B5EF4-FFF2-40B4-BE49-F238E27FC236}">
                <a16:creationId xmlns:a16="http://schemas.microsoft.com/office/drawing/2014/main" id="{45A3A452-C3D3-A31F-8870-3A23540512DB}"/>
              </a:ext>
            </a:extLst>
          </p:cNvPr>
          <p:cNvSpPr>
            <a:spLocks/>
          </p:cNvSpPr>
          <p:nvPr>
            <p:custDataLst>
              <p:tags r:id="rId342"/>
            </p:custDataLst>
          </p:nvPr>
        </p:nvSpPr>
        <p:spPr bwMode="auto">
          <a:xfrm>
            <a:off x="6497378" y="783012"/>
            <a:ext cx="10070" cy="57436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6" name="Freeform 508">
            <a:extLst>
              <a:ext uri="{FF2B5EF4-FFF2-40B4-BE49-F238E27FC236}">
                <a16:creationId xmlns:a16="http://schemas.microsoft.com/office/drawing/2014/main" id="{4A55F040-52FC-9AD4-4080-827811B84EEA}"/>
              </a:ext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7026009" y="1355772"/>
            <a:ext cx="13426" cy="59032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7" name="Freeform 509">
            <a:extLst>
              <a:ext uri="{FF2B5EF4-FFF2-40B4-BE49-F238E27FC236}">
                <a16:creationId xmlns:a16="http://schemas.microsoft.com/office/drawing/2014/main" id="{265BEE3B-00A9-D831-ADAD-261534631CDB}"/>
              </a:ext>
            </a:extLst>
          </p:cNvPr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336474" y="875547"/>
            <a:ext cx="58737" cy="59030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8" name="Freeform 510">
            <a:extLst>
              <a:ext uri="{FF2B5EF4-FFF2-40B4-BE49-F238E27FC236}">
                <a16:creationId xmlns:a16="http://schemas.microsoft.com/office/drawing/2014/main" id="{D1173952-EB9A-2FEF-695A-2164B693AE31}"/>
              </a:ext>
            </a:extLst>
          </p:cNvPr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480799" y="1229733"/>
            <a:ext cx="15104" cy="57436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59" name="Freeform 511">
            <a:extLst>
              <a:ext uri="{FF2B5EF4-FFF2-40B4-BE49-F238E27FC236}">
                <a16:creationId xmlns:a16="http://schemas.microsoft.com/office/drawing/2014/main" id="{383ACFCB-3F72-2968-2F75-BAA735075205}"/>
              </a:ext>
            </a:extLst>
          </p:cNvPr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638548" y="1343008"/>
            <a:ext cx="45312" cy="60626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0" name="Freeform 512">
            <a:extLst>
              <a:ext uri="{FF2B5EF4-FFF2-40B4-BE49-F238E27FC236}">
                <a16:creationId xmlns:a16="http://schemas.microsoft.com/office/drawing/2014/main" id="{4C5A1AEA-6D9E-4288-3059-5A30122FC0C2}"/>
              </a:ext>
            </a:extLst>
          </p:cNvPr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692251" y="1358963"/>
            <a:ext cx="20138" cy="59032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1" name="Freeform 513">
            <a:extLst>
              <a:ext uri="{FF2B5EF4-FFF2-40B4-BE49-F238E27FC236}">
                <a16:creationId xmlns:a16="http://schemas.microsoft.com/office/drawing/2014/main" id="{E46C5521-BACE-EAB6-7404-8F7DF63E752D}"/>
              </a:ext>
            </a:extLst>
          </p:cNvPr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549604" y="1486597"/>
            <a:ext cx="15104" cy="57436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2" name="Freeform 514">
            <a:extLst>
              <a:ext uri="{FF2B5EF4-FFF2-40B4-BE49-F238E27FC236}">
                <a16:creationId xmlns:a16="http://schemas.microsoft.com/office/drawing/2014/main" id="{697CE7BE-DE38-D344-B942-63DEC1D127D7}"/>
              </a:ext>
            </a:extLst>
          </p:cNvPr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561352" y="1515316"/>
            <a:ext cx="3356" cy="60626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3" name="Freeform 515">
            <a:extLst>
              <a:ext uri="{FF2B5EF4-FFF2-40B4-BE49-F238E27FC236}">
                <a16:creationId xmlns:a16="http://schemas.microsoft.com/office/drawing/2014/main" id="{3EA1C472-DCA9-2ACE-E783-568B6DBDF422}"/>
              </a:ext>
            </a:extLst>
          </p:cNvPr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47926" y="1598277"/>
            <a:ext cx="10070" cy="55841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4" name="Freeform 516">
            <a:extLst>
              <a:ext uri="{FF2B5EF4-FFF2-40B4-BE49-F238E27FC236}">
                <a16:creationId xmlns:a16="http://schemas.microsoft.com/office/drawing/2014/main" id="{94FB6C97-479A-B194-6EC7-2A14664202C1}"/>
              </a:ext>
            </a:extLst>
          </p:cNvPr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524431" y="1633377"/>
            <a:ext cx="0" cy="59032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5" name="Freeform 517">
            <a:extLst>
              <a:ext uri="{FF2B5EF4-FFF2-40B4-BE49-F238E27FC236}">
                <a16:creationId xmlns:a16="http://schemas.microsoft.com/office/drawing/2014/main" id="{69A8CB1C-BE81-0C6F-C7B6-C275376C2BB6}"/>
              </a:ext>
            </a:extLst>
          </p:cNvPr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524432" y="1633377"/>
            <a:ext cx="8392" cy="59032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6" name="Freeform 518">
            <a:extLst>
              <a:ext uri="{FF2B5EF4-FFF2-40B4-BE49-F238E27FC236}">
                <a16:creationId xmlns:a16="http://schemas.microsoft.com/office/drawing/2014/main" id="{61DD8B74-209D-5685-F23A-9EF922A543DB}"/>
              </a:ext>
            </a:extLst>
          </p:cNvPr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264312" y="1218565"/>
            <a:ext cx="18460" cy="60626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7" name="Freeform 519">
            <a:extLst>
              <a:ext uri="{FF2B5EF4-FFF2-40B4-BE49-F238E27FC236}">
                <a16:creationId xmlns:a16="http://schemas.microsoft.com/office/drawing/2014/main" id="{F36D4792-D629-6406-7F6B-AF2943B5993B}"/>
              </a:ext>
            </a:extLst>
          </p:cNvPr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4426490" y="1358963"/>
            <a:ext cx="50346" cy="59032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8" name="Freeform 520">
            <a:extLst>
              <a:ext uri="{FF2B5EF4-FFF2-40B4-BE49-F238E27FC236}">
                <a16:creationId xmlns:a16="http://schemas.microsoft.com/office/drawing/2014/main" id="{6157A101-AE50-A8AE-E294-292367118AA1}"/>
              </a:ext>
            </a:extLst>
          </p:cNvPr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4901419" y="948937"/>
            <a:ext cx="45311" cy="59030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69" name="Freeform 521">
            <a:extLst>
              <a:ext uri="{FF2B5EF4-FFF2-40B4-BE49-F238E27FC236}">
                <a16:creationId xmlns:a16="http://schemas.microsoft.com/office/drawing/2014/main" id="{8D33C228-324D-AFA6-5F62-C187BCBD6EF0}"/>
              </a:ext>
            </a:extLst>
          </p:cNvPr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4938339" y="760675"/>
            <a:ext cx="241660" cy="164330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0" name="Freeform 522">
            <a:extLst>
              <a:ext uri="{FF2B5EF4-FFF2-40B4-BE49-F238E27FC236}">
                <a16:creationId xmlns:a16="http://schemas.microsoft.com/office/drawing/2014/main" id="{BF9B36EA-846B-ED85-3B79-A5C0BF1EF107}"/>
              </a:ext>
            </a:extLst>
          </p:cNvPr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718495" y="1073380"/>
            <a:ext cx="33564" cy="55840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1" name="Freeform 523">
            <a:extLst>
              <a:ext uri="{FF2B5EF4-FFF2-40B4-BE49-F238E27FC236}">
                <a16:creationId xmlns:a16="http://schemas.microsoft.com/office/drawing/2014/main" id="{DBF82368-3AF3-6E6F-3FB9-1CBFF796EB30}"/>
              </a:ext>
            </a:extLst>
          </p:cNvPr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7155229" y="1371726"/>
            <a:ext cx="208096" cy="269629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972" name="Group 524">
            <a:extLst>
              <a:ext uri="{FF2B5EF4-FFF2-40B4-BE49-F238E27FC236}">
                <a16:creationId xmlns:a16="http://schemas.microsoft.com/office/drawing/2014/main" id="{0EBB0066-2EE0-1E1A-7774-8DE016203B3C}"/>
              </a:ext>
            </a:extLst>
          </p:cNvPr>
          <p:cNvGrpSpPr>
            <a:grpSpLocks/>
          </p:cNvGrpSpPr>
          <p:nvPr>
            <p:custDataLst>
              <p:tags r:id="rId359"/>
            </p:custDataLst>
          </p:nvPr>
        </p:nvGrpSpPr>
        <p:grpSpPr bwMode="auto">
          <a:xfrm>
            <a:off x="5876448" y="1327054"/>
            <a:ext cx="709876" cy="386095"/>
            <a:chOff x="4115" y="1551"/>
            <a:chExt cx="504" cy="244"/>
          </a:xfrm>
          <a:solidFill>
            <a:schemeClr val="bg1">
              <a:lumMod val="85000"/>
            </a:schemeClr>
          </a:solidFill>
        </p:grpSpPr>
        <p:sp>
          <p:nvSpPr>
            <p:cNvPr id="997" name="Freeform 525">
              <a:extLst>
                <a:ext uri="{FF2B5EF4-FFF2-40B4-BE49-F238E27FC236}">
                  <a16:creationId xmlns:a16="http://schemas.microsoft.com/office/drawing/2014/main" id="{97D1A240-6B95-3351-3315-D0C111AB7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98" name="Freeform 526">
              <a:extLst>
                <a:ext uri="{FF2B5EF4-FFF2-40B4-BE49-F238E27FC236}">
                  <a16:creationId xmlns:a16="http://schemas.microsoft.com/office/drawing/2014/main" id="{72F26AA9-597B-0232-B720-6C96B6162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973" name="Freeform 527">
            <a:extLst>
              <a:ext uri="{FF2B5EF4-FFF2-40B4-BE49-F238E27FC236}">
                <a16:creationId xmlns:a16="http://schemas.microsoft.com/office/drawing/2014/main" id="{7D2136AC-7BEE-AE88-9A3B-D32E487C1F43}"/>
              </a:ext>
            </a:extLst>
          </p:cNvPr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879602" y="2080098"/>
            <a:ext cx="560516" cy="513730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4" name="Freeform 528">
            <a:extLst>
              <a:ext uri="{FF2B5EF4-FFF2-40B4-BE49-F238E27FC236}">
                <a16:creationId xmlns:a16="http://schemas.microsoft.com/office/drawing/2014/main" id="{8C1DF3B9-0BFB-BB74-99A1-D412A4A1DEE6}"/>
              </a:ext>
            </a:extLst>
          </p:cNvPr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4324122" y="1622210"/>
            <a:ext cx="60415" cy="57436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5" name="Freeform 529">
            <a:extLst>
              <a:ext uri="{FF2B5EF4-FFF2-40B4-BE49-F238E27FC236}">
                <a16:creationId xmlns:a16="http://schemas.microsoft.com/office/drawing/2014/main" id="{0E1DF656-95DD-BC8C-C342-151B5E71ACDE}"/>
              </a:ext>
            </a:extLst>
          </p:cNvPr>
          <p:cNvSpPr>
            <a:spLocks/>
          </p:cNvSpPr>
          <p:nvPr>
            <p:custDataLst>
              <p:tags r:id="rId362"/>
            </p:custDataLst>
          </p:nvPr>
        </p:nvSpPr>
        <p:spPr bwMode="auto">
          <a:xfrm>
            <a:off x="4048898" y="1835997"/>
            <a:ext cx="16782" cy="57436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6" name="Freeform 530">
            <a:extLst>
              <a:ext uri="{FF2B5EF4-FFF2-40B4-BE49-F238E27FC236}">
                <a16:creationId xmlns:a16="http://schemas.microsoft.com/office/drawing/2014/main" id="{7EC2EB77-E783-1ECE-7EB7-74A9E40625C0}"/>
              </a:ext>
            </a:extLst>
          </p:cNvPr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3617602" y="2183802"/>
            <a:ext cx="30208" cy="57436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7" name="Freeform 531">
            <a:extLst>
              <a:ext uri="{FF2B5EF4-FFF2-40B4-BE49-F238E27FC236}">
                <a16:creationId xmlns:a16="http://schemas.microsoft.com/office/drawing/2014/main" id="{57EF358A-5EB5-FF1C-3626-374D593433FA}"/>
              </a:ext>
            </a:extLst>
          </p:cNvPr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3555510" y="2199757"/>
            <a:ext cx="25172" cy="60626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8" name="Freeform 532">
            <a:extLst>
              <a:ext uri="{FF2B5EF4-FFF2-40B4-BE49-F238E27FC236}">
                <a16:creationId xmlns:a16="http://schemas.microsoft.com/office/drawing/2014/main" id="{8F8D180A-A6F3-76D6-CC62-B6AF16E5F0D4}"/>
              </a:ext>
            </a:extLst>
          </p:cNvPr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3528658" y="2193375"/>
            <a:ext cx="6713" cy="57436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79" name="Freeform 533">
            <a:extLst>
              <a:ext uri="{FF2B5EF4-FFF2-40B4-BE49-F238E27FC236}">
                <a16:creationId xmlns:a16="http://schemas.microsoft.com/office/drawing/2014/main" id="{5BC6AFB2-DC43-47FD-048F-DFDB6E517C63}"/>
              </a:ext>
            </a:extLst>
          </p:cNvPr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4872889" y="1920555"/>
            <a:ext cx="184601" cy="159543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0" name="Freeform 534">
            <a:extLst>
              <a:ext uri="{FF2B5EF4-FFF2-40B4-BE49-F238E27FC236}">
                <a16:creationId xmlns:a16="http://schemas.microsoft.com/office/drawing/2014/main" id="{8B93C0C0-4809-52A3-3D44-55EAD60FAF54}"/>
              </a:ext>
            </a:extLst>
          </p:cNvPr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7086424" y="2303459"/>
            <a:ext cx="45311" cy="79772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grpSp>
        <p:nvGrpSpPr>
          <p:cNvPr id="981" name="Group 535">
            <a:extLst>
              <a:ext uri="{FF2B5EF4-FFF2-40B4-BE49-F238E27FC236}">
                <a16:creationId xmlns:a16="http://schemas.microsoft.com/office/drawing/2014/main" id="{137A1C5B-1E23-F64C-C856-3DD06090057C}"/>
              </a:ext>
            </a:extLst>
          </p:cNvPr>
          <p:cNvGrpSpPr>
            <a:grpSpLocks/>
          </p:cNvGrpSpPr>
          <p:nvPr>
            <p:custDataLst>
              <p:tags r:id="rId368"/>
            </p:custDataLst>
          </p:nvPr>
        </p:nvGrpSpPr>
        <p:grpSpPr bwMode="auto">
          <a:xfrm>
            <a:off x="4599345" y="1768990"/>
            <a:ext cx="510170" cy="202619"/>
            <a:chOff x="3289" y="1830"/>
            <a:chExt cx="363" cy="128"/>
          </a:xfrm>
          <a:solidFill>
            <a:schemeClr val="bg1">
              <a:lumMod val="85000"/>
            </a:schemeClr>
          </a:solidFill>
        </p:grpSpPr>
        <p:sp>
          <p:nvSpPr>
            <p:cNvPr id="992" name="Freeform 536">
              <a:extLst>
                <a:ext uri="{FF2B5EF4-FFF2-40B4-BE49-F238E27FC236}">
                  <a16:creationId xmlns:a16="http://schemas.microsoft.com/office/drawing/2014/main" id="{094321B8-3BC7-E0BB-96E6-2CD9E662C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93" name="Freeform 537">
              <a:extLst>
                <a:ext uri="{FF2B5EF4-FFF2-40B4-BE49-F238E27FC236}">
                  <a16:creationId xmlns:a16="http://schemas.microsoft.com/office/drawing/2014/main" id="{28BA975F-D769-1C5A-0CA9-87636B788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94" name="Freeform 538">
              <a:extLst>
                <a:ext uri="{FF2B5EF4-FFF2-40B4-BE49-F238E27FC236}">
                  <a16:creationId xmlns:a16="http://schemas.microsoft.com/office/drawing/2014/main" id="{DB5AD6F8-45AC-ABEE-D97C-2528C6388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95" name="Freeform 539">
              <a:extLst>
                <a:ext uri="{FF2B5EF4-FFF2-40B4-BE49-F238E27FC236}">
                  <a16:creationId xmlns:a16="http://schemas.microsoft.com/office/drawing/2014/main" id="{B2B7B1EE-A6D7-ACD6-CE00-9495442FC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96" name="Freeform 540">
              <a:extLst>
                <a:ext uri="{FF2B5EF4-FFF2-40B4-BE49-F238E27FC236}">
                  <a16:creationId xmlns:a16="http://schemas.microsoft.com/office/drawing/2014/main" id="{66F297FA-EEFA-37A1-81C0-BF1A09AF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982" name="Freeform 541">
            <a:extLst>
              <a:ext uri="{FF2B5EF4-FFF2-40B4-BE49-F238E27FC236}">
                <a16:creationId xmlns:a16="http://schemas.microsoft.com/office/drawing/2014/main" id="{787DC24D-E223-C3CA-8FA8-5132C1684138}"/>
              </a:ext>
            </a:extLst>
          </p:cNvPr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2473076" y="2927274"/>
            <a:ext cx="105727" cy="122848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3" name="Freeform 542">
            <a:extLst>
              <a:ext uri="{FF2B5EF4-FFF2-40B4-BE49-F238E27FC236}">
                <a16:creationId xmlns:a16="http://schemas.microsoft.com/office/drawing/2014/main" id="{AB822B65-3675-559A-E643-CD39A06DEAF0}"/>
              </a:ext>
            </a:extLst>
          </p:cNvPr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643382" y="2360894"/>
            <a:ext cx="219842" cy="461081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4" name="Freeform 543">
            <a:extLst>
              <a:ext uri="{FF2B5EF4-FFF2-40B4-BE49-F238E27FC236}">
                <a16:creationId xmlns:a16="http://schemas.microsoft.com/office/drawing/2014/main" id="{824C0CC4-E82E-64FA-1CE5-23DDC8446B3A}"/>
              </a:ext>
            </a:extLst>
          </p:cNvPr>
          <p:cNvSpPr>
            <a:spLocks/>
          </p:cNvSpPr>
          <p:nvPr>
            <p:custDataLst>
              <p:tags r:id="rId371"/>
            </p:custDataLst>
          </p:nvPr>
        </p:nvSpPr>
        <p:spPr bwMode="auto">
          <a:xfrm>
            <a:off x="6735681" y="3050122"/>
            <a:ext cx="26851" cy="57436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5" name="Freeform 544">
            <a:extLst>
              <a:ext uri="{FF2B5EF4-FFF2-40B4-BE49-F238E27FC236}">
                <a16:creationId xmlns:a16="http://schemas.microsoft.com/office/drawing/2014/main" id="{A095A11C-C494-5512-F2EE-8CDB4CB98DD1}"/>
              </a:ext>
            </a:extLst>
          </p:cNvPr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5352853" y="2305054"/>
            <a:ext cx="184601" cy="272819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6" name="Freeform 545">
            <a:extLst>
              <a:ext uri="{FF2B5EF4-FFF2-40B4-BE49-F238E27FC236}">
                <a16:creationId xmlns:a16="http://schemas.microsoft.com/office/drawing/2014/main" id="{0D7053EC-3363-EF0F-BFFD-9C965FB1A9DC}"/>
              </a:ext>
            </a:extLst>
          </p:cNvPr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4006943" y="2359300"/>
            <a:ext cx="397732" cy="387690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7" name="Freeform 546">
            <a:extLst>
              <a:ext uri="{FF2B5EF4-FFF2-40B4-BE49-F238E27FC236}">
                <a16:creationId xmlns:a16="http://schemas.microsoft.com/office/drawing/2014/main" id="{C74480CD-7639-359A-564F-1A386F3ADC04}"/>
              </a:ext>
            </a:extLst>
          </p:cNvPr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3657879" y="1974800"/>
            <a:ext cx="317179" cy="261651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8" name="Freeform 547">
            <a:extLst>
              <a:ext uri="{FF2B5EF4-FFF2-40B4-BE49-F238E27FC236}">
                <a16:creationId xmlns:a16="http://schemas.microsoft.com/office/drawing/2014/main" id="{6D932F11-3F09-517B-E64F-3BAA18642E2D}"/>
              </a:ext>
            </a:extLst>
          </p:cNvPr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4397962" y="899477"/>
            <a:ext cx="250050" cy="9253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89" name="Freeform 548">
            <a:extLst>
              <a:ext uri="{FF2B5EF4-FFF2-40B4-BE49-F238E27FC236}">
                <a16:creationId xmlns:a16="http://schemas.microsoft.com/office/drawing/2014/main" id="{4D8DD2D8-F3C1-0429-8D6F-CC5699DB722A}"/>
              </a:ext>
            </a:extLst>
          </p:cNvPr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938339" y="883524"/>
            <a:ext cx="114117" cy="60626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90" name="Freeform 549">
            <a:extLst>
              <a:ext uri="{FF2B5EF4-FFF2-40B4-BE49-F238E27FC236}">
                <a16:creationId xmlns:a16="http://schemas.microsoft.com/office/drawing/2014/main" id="{0BDB7484-30AB-1085-4CD3-45B158A6E6D9}"/>
              </a:ext>
            </a:extLst>
          </p:cNvPr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089376" y="865974"/>
            <a:ext cx="67128" cy="57436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991" name="Freeform 550">
            <a:extLst>
              <a:ext uri="{FF2B5EF4-FFF2-40B4-BE49-F238E27FC236}">
                <a16:creationId xmlns:a16="http://schemas.microsoft.com/office/drawing/2014/main" id="{2B4D27ED-E2D4-FA7B-47A8-09948E908B4D}"/>
              </a:ext>
            </a:extLst>
          </p:cNvPr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127974" y="873951"/>
            <a:ext cx="137612" cy="57436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26E6AE7-2038-7C4A-BDD1-BD0E96CD32B9}"/>
              </a:ext>
            </a:extLst>
          </p:cNvPr>
          <p:cNvSpPr txBox="1"/>
          <p:nvPr/>
        </p:nvSpPr>
        <p:spPr>
          <a:xfrm>
            <a:off x="266609" y="96736"/>
            <a:ext cx="4836580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Tenorite" pitchFamily="2" charset="0"/>
              </a:rPr>
              <a:t>A multi-disciplinary global health team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BAF51F7-DE69-4D48-B0AB-F51D7E20F2FD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5" name="Picture 594" descr="Logo, company name&#10;&#10;Description automatically generated">
            <a:extLst>
              <a:ext uri="{FF2B5EF4-FFF2-40B4-BE49-F238E27FC236}">
                <a16:creationId xmlns:a16="http://schemas.microsoft.com/office/drawing/2014/main" id="{57B4A459-E307-B35D-3190-3DF6B4B9CBCD}"/>
              </a:ext>
            </a:extLst>
          </p:cNvPr>
          <p:cNvPicPr>
            <a:picLocks noChangeAspect="1"/>
          </p:cNvPicPr>
          <p:nvPr/>
        </p:nvPicPr>
        <p:blipFill>
          <a:blip r:embed="rId38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439" y="727076"/>
            <a:ext cx="651091" cy="6510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96" name="Picture 595" descr="Logo&#10;&#10;Description automatically generated">
            <a:extLst>
              <a:ext uri="{FF2B5EF4-FFF2-40B4-BE49-F238E27FC236}">
                <a16:creationId xmlns:a16="http://schemas.microsoft.com/office/drawing/2014/main" id="{D3680D39-A8B0-2552-F0A7-575E1D793C3F}"/>
              </a:ext>
            </a:extLst>
          </p:cNvPr>
          <p:cNvPicPr>
            <a:picLocks noChangeAspect="1"/>
          </p:cNvPicPr>
          <p:nvPr/>
        </p:nvPicPr>
        <p:blipFill>
          <a:blip r:embed="rId3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8449" y="3561243"/>
            <a:ext cx="758251" cy="7490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721" name="Freeform 6">
            <a:extLst>
              <a:ext uri="{FF2B5EF4-FFF2-40B4-BE49-F238E27FC236}">
                <a16:creationId xmlns:a16="http://schemas.microsoft.com/office/drawing/2014/main" id="{206D9B51-471A-44E8-DE9D-21B31D22AE17}"/>
              </a:ext>
            </a:extLst>
          </p:cNvPr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957669" y="1556796"/>
            <a:ext cx="1460027" cy="773786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57A7B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pic>
        <p:nvPicPr>
          <p:cNvPr id="597" name="Picture 596" descr="Diagram, logo&#10;&#10;Description automatically generated with medium confidence">
            <a:extLst>
              <a:ext uri="{FF2B5EF4-FFF2-40B4-BE49-F238E27FC236}">
                <a16:creationId xmlns:a16="http://schemas.microsoft.com/office/drawing/2014/main" id="{903D1982-9796-9C27-0B2C-565B155F518B}"/>
              </a:ext>
            </a:extLst>
          </p:cNvPr>
          <p:cNvPicPr>
            <a:picLocks noChangeAspect="1"/>
          </p:cNvPicPr>
          <p:nvPr/>
        </p:nvPicPr>
        <p:blipFill>
          <a:blip r:embed="rId3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4100" y="2099446"/>
            <a:ext cx="618479" cy="6184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98" name="Picture 597" descr="Logo, company name&#10;&#10;Description automatically generated">
            <a:extLst>
              <a:ext uri="{FF2B5EF4-FFF2-40B4-BE49-F238E27FC236}">
                <a16:creationId xmlns:a16="http://schemas.microsoft.com/office/drawing/2014/main" id="{2248EC64-3BCF-C9AE-35B8-6F723756EC47}"/>
              </a:ext>
            </a:extLst>
          </p:cNvPr>
          <p:cNvPicPr>
            <a:picLocks noChangeAspect="1"/>
          </p:cNvPicPr>
          <p:nvPr/>
        </p:nvPicPr>
        <p:blipFill>
          <a:blip r:embed="rId39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842" y="1625933"/>
            <a:ext cx="480755" cy="4807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9B519304-1BC3-B853-E359-AF7C9FD6F7A4}"/>
              </a:ext>
            </a:extLst>
          </p:cNvPr>
          <p:cNvPicPr>
            <a:picLocks noChangeAspect="1"/>
          </p:cNvPicPr>
          <p:nvPr/>
        </p:nvPicPr>
        <p:blipFill rotWithShape="1">
          <a:blip r:embed="rId39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07"/>
          <a:stretch/>
        </p:blipFill>
        <p:spPr>
          <a:xfrm>
            <a:off x="1561191" y="1501748"/>
            <a:ext cx="703787" cy="60422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B812AC0-A696-38A7-7A2F-BD79594CB788}"/>
              </a:ext>
            </a:extLst>
          </p:cNvPr>
          <p:cNvPicPr>
            <a:picLocks noChangeAspect="1"/>
          </p:cNvPicPr>
          <p:nvPr/>
        </p:nvPicPr>
        <p:blipFill>
          <a:blip r:embed="rId3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304" y="4168622"/>
            <a:ext cx="598833" cy="56889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718" name="Freeform 9">
            <a:extLst>
              <a:ext uri="{FF2B5EF4-FFF2-40B4-BE49-F238E27FC236}">
                <a16:creationId xmlns:a16="http://schemas.microsoft.com/office/drawing/2014/main" id="{6DB2E192-D318-82E2-6815-0F86706BBA1D}"/>
              </a:ext>
            </a:extLst>
          </p:cNvPr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2048123" y="2951981"/>
            <a:ext cx="1022018" cy="1209339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57A7B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pic>
        <p:nvPicPr>
          <p:cNvPr id="600" name="Picture 599" descr="A picture containing logo&#10;&#10;Description automatically generated">
            <a:extLst>
              <a:ext uri="{FF2B5EF4-FFF2-40B4-BE49-F238E27FC236}">
                <a16:creationId xmlns:a16="http://schemas.microsoft.com/office/drawing/2014/main" id="{06EDE2E0-DCBB-C1CC-3436-40CADCF808DB}"/>
              </a:ext>
            </a:extLst>
          </p:cNvPr>
          <p:cNvPicPr>
            <a:picLocks noChangeAspect="1"/>
          </p:cNvPicPr>
          <p:nvPr/>
        </p:nvPicPr>
        <p:blipFill>
          <a:blip r:embed="rId39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3689" y="2290308"/>
            <a:ext cx="618479" cy="5184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02" name="Picture 601" descr="Logo, company name&#10;&#10;Description automatically generated">
            <a:extLst>
              <a:ext uri="{FF2B5EF4-FFF2-40B4-BE49-F238E27FC236}">
                <a16:creationId xmlns:a16="http://schemas.microsoft.com/office/drawing/2014/main" id="{CCEC6AC1-F047-BAA5-C8EA-6986EC188FD2}"/>
              </a:ext>
            </a:extLst>
          </p:cNvPr>
          <p:cNvPicPr>
            <a:picLocks noChangeAspect="1"/>
          </p:cNvPicPr>
          <p:nvPr/>
        </p:nvPicPr>
        <p:blipFill>
          <a:blip r:embed="rId3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192" y="2838969"/>
            <a:ext cx="816956" cy="81695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04" name="Picture 603" descr="Shape&#10;&#10;Description automatically generated with low confidence">
            <a:extLst>
              <a:ext uri="{FF2B5EF4-FFF2-40B4-BE49-F238E27FC236}">
                <a16:creationId xmlns:a16="http://schemas.microsoft.com/office/drawing/2014/main" id="{C2B7A12E-282A-D084-64AF-83CE2162EA4E}"/>
              </a:ext>
            </a:extLst>
          </p:cNvPr>
          <p:cNvPicPr>
            <a:picLocks noChangeAspect="1"/>
          </p:cNvPicPr>
          <p:nvPr/>
        </p:nvPicPr>
        <p:blipFill>
          <a:blip r:embed="rId39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550" y="2361170"/>
            <a:ext cx="693621" cy="618479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06" name="Picture 605" descr="A picture containing logo&#10;&#10;Description automatically generated">
            <a:extLst>
              <a:ext uri="{FF2B5EF4-FFF2-40B4-BE49-F238E27FC236}">
                <a16:creationId xmlns:a16="http://schemas.microsoft.com/office/drawing/2014/main" id="{2608EC80-7AFD-EEAB-52E9-85651F78A22E}"/>
              </a:ext>
            </a:extLst>
          </p:cNvPr>
          <p:cNvPicPr>
            <a:picLocks noChangeAspect="1"/>
          </p:cNvPicPr>
          <p:nvPr/>
        </p:nvPicPr>
        <p:blipFill rotWithShape="1">
          <a:blip r:embed="rId3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5" r="10614"/>
          <a:stretch/>
        </p:blipFill>
        <p:spPr>
          <a:xfrm>
            <a:off x="1892799" y="4098815"/>
            <a:ext cx="660847" cy="63869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07" name="Picture 606" descr="Logo, company name&#10;&#10;Description automatically generated">
            <a:extLst>
              <a:ext uri="{FF2B5EF4-FFF2-40B4-BE49-F238E27FC236}">
                <a16:creationId xmlns:a16="http://schemas.microsoft.com/office/drawing/2014/main" id="{78BAE482-0206-E0D9-B622-BB4641700E62}"/>
              </a:ext>
            </a:extLst>
          </p:cNvPr>
          <p:cNvPicPr>
            <a:picLocks noChangeAspect="1"/>
          </p:cNvPicPr>
          <p:nvPr/>
        </p:nvPicPr>
        <p:blipFill>
          <a:blip r:embed="rId39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591" y="2832031"/>
            <a:ext cx="788495" cy="826862"/>
          </a:xfrm>
          <a:prstGeom prst="roundRect">
            <a:avLst/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09" name="Picture 608" descr="Logo&#10;&#10;Description automatically generated">
            <a:extLst>
              <a:ext uri="{FF2B5EF4-FFF2-40B4-BE49-F238E27FC236}">
                <a16:creationId xmlns:a16="http://schemas.microsoft.com/office/drawing/2014/main" id="{3140FB31-B82A-93F9-4BF3-5086A2E9B6EE}"/>
              </a:ext>
            </a:extLst>
          </p:cNvPr>
          <p:cNvPicPr>
            <a:picLocks noChangeAspect="1"/>
          </p:cNvPicPr>
          <p:nvPr/>
        </p:nvPicPr>
        <p:blipFill>
          <a:blip r:embed="rId40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838" y="1052621"/>
            <a:ext cx="525360" cy="5253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717" name="Freeform 229">
            <a:extLst>
              <a:ext uri="{FF2B5EF4-FFF2-40B4-BE49-F238E27FC236}">
                <a16:creationId xmlns:a16="http://schemas.microsoft.com/office/drawing/2014/main" id="{7807D89D-5D4C-1DFF-74F4-83ACE78AD7E3}"/>
              </a:ext>
            </a:extLst>
          </p:cNvPr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4174453" y="1597832"/>
            <a:ext cx="88943" cy="59032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57A7B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1719" name="Freeform 251">
            <a:extLst>
              <a:ext uri="{FF2B5EF4-FFF2-40B4-BE49-F238E27FC236}">
                <a16:creationId xmlns:a16="http://schemas.microsoft.com/office/drawing/2014/main" id="{F7EE5656-032B-C50F-A5D6-0FEB9DFF6DF3}"/>
              </a:ext>
            </a:extLst>
          </p:cNvPr>
          <p:cNvSpPr>
            <a:spLocks/>
          </p:cNvSpPr>
          <p:nvPr>
            <p:custDataLst>
              <p:tags r:id="rId382"/>
            </p:custDataLst>
          </p:nvPr>
        </p:nvSpPr>
        <p:spPr bwMode="auto">
          <a:xfrm>
            <a:off x="4783859" y="3448161"/>
            <a:ext cx="275223" cy="523302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57A7B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1720" name="Freeform 474">
            <a:extLst>
              <a:ext uri="{FF2B5EF4-FFF2-40B4-BE49-F238E27FC236}">
                <a16:creationId xmlns:a16="http://schemas.microsoft.com/office/drawing/2014/main" id="{3C6D5685-A006-8EAD-F936-8302B1027C5C}"/>
              </a:ext>
            </a:extLst>
          </p:cNvPr>
          <p:cNvSpPr>
            <a:spLocks/>
          </p:cNvSpPr>
          <p:nvPr>
            <p:custDataLst>
              <p:tags r:id="rId383"/>
            </p:custDataLst>
          </p:nvPr>
        </p:nvSpPr>
        <p:spPr bwMode="auto">
          <a:xfrm>
            <a:off x="4866177" y="3419005"/>
            <a:ext cx="73841" cy="242506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57A7B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1722" name="Freeform 464">
            <a:extLst>
              <a:ext uri="{FF2B5EF4-FFF2-40B4-BE49-F238E27FC236}">
                <a16:creationId xmlns:a16="http://schemas.microsoft.com/office/drawing/2014/main" id="{29DB524C-A8B0-8244-41BF-6156FB24533D}"/>
              </a:ext>
            </a:extLst>
          </p:cNvPr>
          <p:cNvSpPr>
            <a:spLocks/>
          </p:cNvSpPr>
          <p:nvPr>
            <p:custDataLst>
              <p:tags r:id="rId384"/>
            </p:custDataLst>
          </p:nvPr>
        </p:nvSpPr>
        <p:spPr bwMode="auto">
          <a:xfrm>
            <a:off x="5756279" y="1971608"/>
            <a:ext cx="731691" cy="879085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57A7B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pic>
        <p:nvPicPr>
          <p:cNvPr id="1723" name="Picture 1722">
            <a:extLst>
              <a:ext uri="{FF2B5EF4-FFF2-40B4-BE49-F238E27FC236}">
                <a16:creationId xmlns:a16="http://schemas.microsoft.com/office/drawing/2014/main" id="{F402B803-1B5B-E7FD-EBAD-2A34BCFD7E11}"/>
              </a:ext>
            </a:extLst>
          </p:cNvPr>
          <p:cNvPicPr>
            <a:picLocks noChangeAspect="1"/>
          </p:cNvPicPr>
          <p:nvPr/>
        </p:nvPicPr>
        <p:blipFill rotWithShape="1">
          <a:blip r:embed="rId40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2" r="6331"/>
          <a:stretch/>
        </p:blipFill>
        <p:spPr>
          <a:xfrm>
            <a:off x="3744790" y="1883886"/>
            <a:ext cx="438362" cy="3988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724" name="Freeform 466">
            <a:extLst>
              <a:ext uri="{FF2B5EF4-FFF2-40B4-BE49-F238E27FC236}">
                <a16:creationId xmlns:a16="http://schemas.microsoft.com/office/drawing/2014/main" id="{12D475A8-4AF1-3D79-F0DB-D3AD0CDE14B7}"/>
              </a:ext>
            </a:extLst>
          </p:cNvPr>
          <p:cNvSpPr>
            <a:spLocks/>
          </p:cNvSpPr>
          <p:nvPr>
            <p:custDataLst>
              <p:tags r:id="rId385"/>
            </p:custDataLst>
          </p:nvPr>
        </p:nvSpPr>
        <p:spPr bwMode="auto">
          <a:xfrm>
            <a:off x="4896238" y="2970214"/>
            <a:ext cx="203062" cy="272820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57A7B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sp>
        <p:nvSpPr>
          <p:cNvPr id="1725" name="Freeform 447">
            <a:extLst>
              <a:ext uri="{FF2B5EF4-FFF2-40B4-BE49-F238E27FC236}">
                <a16:creationId xmlns:a16="http://schemas.microsoft.com/office/drawing/2014/main" id="{45F90C36-257E-456A-B4A8-04AAB24EB9E7}"/>
              </a:ext>
            </a:extLst>
          </p:cNvPr>
          <p:cNvSpPr>
            <a:spLocks/>
          </p:cNvSpPr>
          <p:nvPr>
            <p:custDataLst>
              <p:tags r:id="rId386"/>
            </p:custDataLst>
          </p:nvPr>
        </p:nvSpPr>
        <p:spPr bwMode="auto">
          <a:xfrm>
            <a:off x="3857441" y="2636905"/>
            <a:ext cx="187958" cy="165925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DADADA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50">
              <a:latin typeface="Tenorite" pitchFamily="2" charset="0"/>
            </a:endParaRPr>
          </a:p>
        </p:txBody>
      </p:sp>
      <p:pic>
        <p:nvPicPr>
          <p:cNvPr id="1727" name="Picture 1726" descr="Logo, company name&#10;&#10;Description automatically generated">
            <a:extLst>
              <a:ext uri="{FF2B5EF4-FFF2-40B4-BE49-F238E27FC236}">
                <a16:creationId xmlns:a16="http://schemas.microsoft.com/office/drawing/2014/main" id="{A419ACA4-FA1D-A6AC-481E-9787DCE55228}"/>
              </a:ext>
            </a:extLst>
          </p:cNvPr>
          <p:cNvPicPr>
            <a:picLocks noChangeAspect="1"/>
          </p:cNvPicPr>
          <p:nvPr/>
        </p:nvPicPr>
        <p:blipFill>
          <a:blip r:embed="rId40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943" y="1421497"/>
            <a:ext cx="540644" cy="5406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629051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3B1358A-EB51-4E5E-C7B8-F061A282F494}"/>
              </a:ext>
            </a:extLst>
          </p:cNvPr>
          <p:cNvGrpSpPr/>
          <p:nvPr/>
        </p:nvGrpSpPr>
        <p:grpSpPr>
          <a:xfrm>
            <a:off x="470994" y="631445"/>
            <a:ext cx="7929453" cy="4282144"/>
            <a:chOff x="-1587" y="1588"/>
            <a:chExt cx="7500937" cy="426085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AE74DE14-7D47-FA90-5969-853894B080D5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839913" y="4198938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B61A13F-5474-8213-60BD-F8D69EE39FC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-1587" y="300038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CD94E3E-63D2-06CE-AE6E-6D1E38AE7CD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58788" y="915988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F8ACA7E-A2FD-EB0B-9F96-B1AAC59D5C3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292225" y="2466976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12E726BA-8083-79AB-01A3-46F733A8B2E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92263" y="3030538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96CC24C-01A8-728B-C827-6DE726055230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497013" y="2312988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E4884BD-0E8D-9A03-7520-C8C11CBDF96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609975" y="1258888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12C59C4-5C99-808D-A9EC-AF8FA54885E8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108325" y="1133476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9823D50-B3F8-F342-8BE4-7432D229EC3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189288" y="619126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782AD94-4F29-6494-D1F3-F9F7EA48F943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548063" y="922338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5AE4A362-80AF-6CDD-E6E7-FD6F57588DE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040313" y="771526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DAAAA18-CDFF-3395-7A5E-3B3A02A20C91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732213" y="312738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D50D949-BA2E-156F-1ECB-8D54009ED738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468688" y="730251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1724265-E5FC-0638-F902-8955B7BED352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494088" y="987426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0E6C938-3F75-DFED-F621-9EFE951A444F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511550" y="1155701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B5DB1ED-0CDA-D064-8775-6CD8A4EB0D04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30888" y="2216151"/>
              <a:ext cx="473075" cy="212725"/>
              <a:chOff x="4488" y="2394"/>
              <a:chExt cx="358" cy="124"/>
            </a:xfrm>
          </p:grpSpPr>
          <p:sp>
            <p:nvSpPr>
              <p:cNvPr id="550" name="Freeform 20">
                <a:extLst>
                  <a:ext uri="{FF2B5EF4-FFF2-40B4-BE49-F238E27FC236}">
                    <a16:creationId xmlns:a16="http://schemas.microsoft.com/office/drawing/2014/main" id="{56903D89-5470-4222-8E50-96E88A622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51" name="Freeform 21">
                <a:extLst>
                  <a:ext uri="{FF2B5EF4-FFF2-40B4-BE49-F238E27FC236}">
                    <a16:creationId xmlns:a16="http://schemas.microsoft.com/office/drawing/2014/main" id="{213758C7-ECCA-0D6F-ED3C-A5232C352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1A79D1BF-E5CE-08A6-A6AB-2B7716DB0682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852863" y="92076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72B0C113-F726-7232-AE0A-F6CCCEE401F5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116263" y="1079501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C52E2692-D57B-F7C8-080F-2F45D7796961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748338" y="1817688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08B93ECC-EE18-356D-353F-5B88D88E25E4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857375" y="4205288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" name="Line 26" descr="Horizontal dunkel">
              <a:extLst>
                <a:ext uri="{FF2B5EF4-FFF2-40B4-BE49-F238E27FC236}">
                  <a16:creationId xmlns:a16="http://schemas.microsoft.com/office/drawing/2014/main" id="{1AC91BA6-D121-0804-1072-90B32E4C8DC5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319088" y="1127126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38BD5875-D769-97DC-A172-809EC4D717B6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22263" y="1123951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5F3F0542-6830-AA79-B04F-0881E38CDA1F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98450" y="1177926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5BCB9A66-51C9-1895-2747-B1CA936AB631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624013" y="1173163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B8542966-D116-217C-AE0C-E27EDBD49EC2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362450" y="730251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D386AB31-D079-2A76-A691-88AEB981573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592638" y="1033463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132F329A-F082-28D8-9297-A95A01618386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400425" y="2036763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F94BBC3D-D619-290E-87E8-90451B50447E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243388" y="1901826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386FAD6A-4689-78AF-3F3C-A3FBB65D59B7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705225" y="906463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81507954-B6E2-BCAD-9D93-EAE2A61FAE80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568825" y="1627188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5AC77A53-935B-A454-04DA-7238996A5137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687888" y="1631951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264D913D-EECE-C2EB-BD66-9692EBA754D1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175375" y="2292351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37" name="Group 38">
              <a:extLst>
                <a:ext uri="{FF2B5EF4-FFF2-40B4-BE49-F238E27FC236}">
                  <a16:creationId xmlns:a16="http://schemas.microsoft.com/office/drawing/2014/main" id="{5B09679A-A804-1157-DDEA-93A4EF6C53C9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027238" y="4100513"/>
              <a:ext cx="65087" cy="55563"/>
              <a:chOff x="1654" y="3671"/>
              <a:chExt cx="49" cy="17"/>
            </a:xfrm>
          </p:grpSpPr>
          <p:sp>
            <p:nvSpPr>
              <p:cNvPr id="548" name="Freeform 39">
                <a:extLst>
                  <a:ext uri="{FF2B5EF4-FFF2-40B4-BE49-F238E27FC236}">
                    <a16:creationId xmlns:a16="http://schemas.microsoft.com/office/drawing/2014/main" id="{2402E6CC-859E-A34A-FAD8-65DA7961F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9" name="Freeform 40">
                <a:extLst>
                  <a:ext uri="{FF2B5EF4-FFF2-40B4-BE49-F238E27FC236}">
                    <a16:creationId xmlns:a16="http://schemas.microsoft.com/office/drawing/2014/main" id="{2DB93BDF-89AE-DF26-8270-BCF1359E6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38" name="Freeform 41">
              <a:extLst>
                <a:ext uri="{FF2B5EF4-FFF2-40B4-BE49-F238E27FC236}">
                  <a16:creationId xmlns:a16="http://schemas.microsoft.com/office/drawing/2014/main" id="{D53DFBA0-A78A-E821-EF7C-1AF1266EB666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674813" y="1895476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9" name="Freeform 42">
              <a:extLst>
                <a:ext uri="{FF2B5EF4-FFF2-40B4-BE49-F238E27FC236}">
                  <a16:creationId xmlns:a16="http://schemas.microsoft.com/office/drawing/2014/main" id="{C16512B3-E982-17A8-25A8-B67A29136911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730375" y="1901826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0" name="Freeform 43">
              <a:extLst>
                <a:ext uri="{FF2B5EF4-FFF2-40B4-BE49-F238E27FC236}">
                  <a16:creationId xmlns:a16="http://schemas.microsoft.com/office/drawing/2014/main" id="{C3B8B9AE-E1C6-4E12-273F-1BB7D8F2F21E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743075" y="1903413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97725EF5-2F05-3A67-452A-2CBB5466ED22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757363" y="1893888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466FCB9C-4B0D-6326-77E4-AA01C873691C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736725" y="1885951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3" name="Freeform 46">
              <a:extLst>
                <a:ext uri="{FF2B5EF4-FFF2-40B4-BE49-F238E27FC236}">
                  <a16:creationId xmlns:a16="http://schemas.microsoft.com/office/drawing/2014/main" id="{6D570B26-22E6-4D5B-8EDC-5E2D28A2615D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785938" y="1914526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4" name="Line 47">
              <a:extLst>
                <a:ext uri="{FF2B5EF4-FFF2-40B4-BE49-F238E27FC236}">
                  <a16:creationId xmlns:a16="http://schemas.microsoft.com/office/drawing/2014/main" id="{DF096502-080D-29F1-5FC3-858F483E43B4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1793875" y="1911351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5" name="Line 48">
              <a:extLst>
                <a:ext uri="{FF2B5EF4-FFF2-40B4-BE49-F238E27FC236}">
                  <a16:creationId xmlns:a16="http://schemas.microsoft.com/office/drawing/2014/main" id="{71017EA0-EF0A-82E7-C691-F4E2D6491F4A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1793875" y="1936751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6" name="Freeform 49">
              <a:extLst>
                <a:ext uri="{FF2B5EF4-FFF2-40B4-BE49-F238E27FC236}">
                  <a16:creationId xmlns:a16="http://schemas.microsoft.com/office/drawing/2014/main" id="{0D4A638F-CF3B-68EA-AC16-BB8B7BA3A8DE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793875" y="1931988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7" name="Freeform 50">
              <a:extLst>
                <a:ext uri="{FF2B5EF4-FFF2-40B4-BE49-F238E27FC236}">
                  <a16:creationId xmlns:a16="http://schemas.microsoft.com/office/drawing/2014/main" id="{94D86CCE-595B-2FFE-887B-575DAD4A177C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800225" y="1960563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id="{DE1A379F-66EE-964A-4E1F-D6648C2F6ED6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806575" y="2008188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869578C1-A933-BCF0-F07B-E164B2FF6692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816100" y="2033588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0" name="Freeform 53">
              <a:extLst>
                <a:ext uri="{FF2B5EF4-FFF2-40B4-BE49-F238E27FC236}">
                  <a16:creationId xmlns:a16="http://schemas.microsoft.com/office/drawing/2014/main" id="{9D6898AD-09F3-34E9-97D6-CB72FEEC55DE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838325" y="2063751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1" name="Freeform 54">
              <a:extLst>
                <a:ext uri="{FF2B5EF4-FFF2-40B4-BE49-F238E27FC236}">
                  <a16:creationId xmlns:a16="http://schemas.microsoft.com/office/drawing/2014/main" id="{2BDDF326-5074-D97D-3CB0-8A6ABF72E37E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800225" y="2076451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47C258E8-C92A-E2E9-2D8E-886B5D0152DE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1785938" y="2141538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id="{7AB4CA8D-F4E5-AACB-98A6-628B8EDC551D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804988" y="2117726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id="{1125FCCA-B425-B606-E2FC-512D5D4B31A0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287463" y="1789113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55" name="Group 58">
              <a:extLst>
                <a:ext uri="{FF2B5EF4-FFF2-40B4-BE49-F238E27FC236}">
                  <a16:creationId xmlns:a16="http://schemas.microsoft.com/office/drawing/2014/main" id="{0E8F3990-DB58-899F-6D31-E88308A7A79A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1412875" y="1622426"/>
              <a:ext cx="131763" cy="195262"/>
              <a:chOff x="1199" y="2121"/>
              <a:chExt cx="97" cy="123"/>
            </a:xfrm>
          </p:grpSpPr>
          <p:sp>
            <p:nvSpPr>
              <p:cNvPr id="538" name="Freeform 59">
                <a:extLst>
                  <a:ext uri="{FF2B5EF4-FFF2-40B4-BE49-F238E27FC236}">
                    <a16:creationId xmlns:a16="http://schemas.microsoft.com/office/drawing/2014/main" id="{0A1A26B4-8D09-26FE-5210-97969268E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9" name="Freeform 60">
                <a:extLst>
                  <a:ext uri="{FF2B5EF4-FFF2-40B4-BE49-F238E27FC236}">
                    <a16:creationId xmlns:a16="http://schemas.microsoft.com/office/drawing/2014/main" id="{DFCE4BFC-D860-F53C-471F-FCC861947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0" name="Freeform 61">
                <a:extLst>
                  <a:ext uri="{FF2B5EF4-FFF2-40B4-BE49-F238E27FC236}">
                    <a16:creationId xmlns:a16="http://schemas.microsoft.com/office/drawing/2014/main" id="{5E46B911-1A99-DBAB-A09E-FEF8896A5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1" name="Freeform 62">
                <a:extLst>
                  <a:ext uri="{FF2B5EF4-FFF2-40B4-BE49-F238E27FC236}">
                    <a16:creationId xmlns:a16="http://schemas.microsoft.com/office/drawing/2014/main" id="{B637FD0A-73B1-8590-9BD4-7C7840F55E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2" name="Freeform 63">
                <a:extLst>
                  <a:ext uri="{FF2B5EF4-FFF2-40B4-BE49-F238E27FC236}">
                    <a16:creationId xmlns:a16="http://schemas.microsoft.com/office/drawing/2014/main" id="{3C412B96-15F1-0350-0E09-0601391D5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3" name="Freeform 64">
                <a:extLst>
                  <a:ext uri="{FF2B5EF4-FFF2-40B4-BE49-F238E27FC236}">
                    <a16:creationId xmlns:a16="http://schemas.microsoft.com/office/drawing/2014/main" id="{2D1DDFAF-047E-43CA-683F-A7D94E41B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4" name="Freeform 65">
                <a:extLst>
                  <a:ext uri="{FF2B5EF4-FFF2-40B4-BE49-F238E27FC236}">
                    <a16:creationId xmlns:a16="http://schemas.microsoft.com/office/drawing/2014/main" id="{9424264E-A6B6-E76D-521C-881966383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5" name="Freeform 66">
                <a:extLst>
                  <a:ext uri="{FF2B5EF4-FFF2-40B4-BE49-F238E27FC236}">
                    <a16:creationId xmlns:a16="http://schemas.microsoft.com/office/drawing/2014/main" id="{5390CDEB-BB7F-43DF-B1E1-B4AFA0A25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6" name="Freeform 67">
                <a:extLst>
                  <a:ext uri="{FF2B5EF4-FFF2-40B4-BE49-F238E27FC236}">
                    <a16:creationId xmlns:a16="http://schemas.microsoft.com/office/drawing/2014/main" id="{FE4706D0-53EB-07C3-6274-4341F6068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7" name="Freeform 68">
                <a:extLst>
                  <a:ext uri="{FF2B5EF4-FFF2-40B4-BE49-F238E27FC236}">
                    <a16:creationId xmlns:a16="http://schemas.microsoft.com/office/drawing/2014/main" id="{5DC46344-AE7E-0180-69B3-17D2CD093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56" name="Freeform 69">
              <a:extLst>
                <a:ext uri="{FF2B5EF4-FFF2-40B4-BE49-F238E27FC236}">
                  <a16:creationId xmlns:a16="http://schemas.microsoft.com/office/drawing/2014/main" id="{A67E87DC-11F6-F393-12A9-A8B2C22E7E52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226300" y="3049588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7" name="Freeform 70">
              <a:extLst>
                <a:ext uri="{FF2B5EF4-FFF2-40B4-BE49-F238E27FC236}">
                  <a16:creationId xmlns:a16="http://schemas.microsoft.com/office/drawing/2014/main" id="{46324B52-126C-859F-A3AE-C17844C77125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235825" y="3140076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8" name="Freeform 71">
              <a:extLst>
                <a:ext uri="{FF2B5EF4-FFF2-40B4-BE49-F238E27FC236}">
                  <a16:creationId xmlns:a16="http://schemas.microsoft.com/office/drawing/2014/main" id="{3FF42CAF-EE62-91FC-5F41-E523A0191688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350125" y="3049588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9" name="Freeform 72">
              <a:extLst>
                <a:ext uri="{FF2B5EF4-FFF2-40B4-BE49-F238E27FC236}">
                  <a16:creationId xmlns:a16="http://schemas.microsoft.com/office/drawing/2014/main" id="{807C3125-F956-F89B-E0B1-DFE59EFC8086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350125" y="3022601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0" name="Group 73">
              <a:extLst>
                <a:ext uri="{FF2B5EF4-FFF2-40B4-BE49-F238E27FC236}">
                  <a16:creationId xmlns:a16="http://schemas.microsoft.com/office/drawing/2014/main" id="{AC69D6DA-05F3-4E17-786F-F0522EC9F16C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040563" y="3543301"/>
              <a:ext cx="458787" cy="404812"/>
              <a:chOff x="5372" y="3323"/>
              <a:chExt cx="341" cy="253"/>
            </a:xfrm>
          </p:grpSpPr>
          <p:sp>
            <p:nvSpPr>
              <p:cNvPr id="535" name="Freeform 74">
                <a:extLst>
                  <a:ext uri="{FF2B5EF4-FFF2-40B4-BE49-F238E27FC236}">
                    <a16:creationId xmlns:a16="http://schemas.microsoft.com/office/drawing/2014/main" id="{9987B315-9842-CC92-7488-79D311F0D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6" name="Freeform 75">
                <a:extLst>
                  <a:ext uri="{FF2B5EF4-FFF2-40B4-BE49-F238E27FC236}">
                    <a16:creationId xmlns:a16="http://schemas.microsoft.com/office/drawing/2014/main" id="{8554341C-9F7C-78CD-E939-10D3FAE9F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7" name="Freeform 76">
                <a:extLst>
                  <a:ext uri="{FF2B5EF4-FFF2-40B4-BE49-F238E27FC236}">
                    <a16:creationId xmlns:a16="http://schemas.microsoft.com/office/drawing/2014/main" id="{7B811521-4D24-5A9E-4F7F-5B38C99C9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1" name="Freeform 77">
              <a:extLst>
                <a:ext uri="{FF2B5EF4-FFF2-40B4-BE49-F238E27FC236}">
                  <a16:creationId xmlns:a16="http://schemas.microsoft.com/office/drawing/2014/main" id="{51E130B2-07B5-8999-CA73-F7235DCB2E50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6683375" y="2200276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" name="Freeform 78">
              <a:extLst>
                <a:ext uri="{FF2B5EF4-FFF2-40B4-BE49-F238E27FC236}">
                  <a16:creationId xmlns:a16="http://schemas.microsoft.com/office/drawing/2014/main" id="{F2DAA560-45F4-31A5-8066-7E1977D67993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410450" y="3101976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" name="Freeform 79">
              <a:extLst>
                <a:ext uri="{FF2B5EF4-FFF2-40B4-BE49-F238E27FC236}">
                  <a16:creationId xmlns:a16="http://schemas.microsoft.com/office/drawing/2014/main" id="{F343C896-CB6F-FC22-62FB-618691DA9547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432675" y="3111501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" name="Freeform 80">
              <a:extLst>
                <a:ext uri="{FF2B5EF4-FFF2-40B4-BE49-F238E27FC236}">
                  <a16:creationId xmlns:a16="http://schemas.microsoft.com/office/drawing/2014/main" id="{EB3E8160-5136-4FFF-7E14-D69D590AE34A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746875" y="2189163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" name="Freeform 81">
              <a:extLst>
                <a:ext uri="{FF2B5EF4-FFF2-40B4-BE49-F238E27FC236}">
                  <a16:creationId xmlns:a16="http://schemas.microsoft.com/office/drawing/2014/main" id="{9E737A4A-6B25-A9EF-644B-D4B4B8AE5880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6805613" y="2133601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" name="Freeform 82">
              <a:extLst>
                <a:ext uri="{FF2B5EF4-FFF2-40B4-BE49-F238E27FC236}">
                  <a16:creationId xmlns:a16="http://schemas.microsoft.com/office/drawing/2014/main" id="{ECCA161C-57AF-0C01-FBBC-798104440411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918325" y="2022476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" name="Freeform 83">
              <a:extLst>
                <a:ext uri="{FF2B5EF4-FFF2-40B4-BE49-F238E27FC236}">
                  <a16:creationId xmlns:a16="http://schemas.microsoft.com/office/drawing/2014/main" id="{66AD9582-0554-1421-BE1B-F82D0971FFBF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070725" y="2720976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" name="Freeform 84">
              <a:extLst>
                <a:ext uri="{FF2B5EF4-FFF2-40B4-BE49-F238E27FC236}">
                  <a16:creationId xmlns:a16="http://schemas.microsoft.com/office/drawing/2014/main" id="{DD660BE7-F6CC-47B1-E372-9B3CE9ED701F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134225" y="2735263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" name="Freeform 85">
              <a:extLst>
                <a:ext uri="{FF2B5EF4-FFF2-40B4-BE49-F238E27FC236}">
                  <a16:creationId xmlns:a16="http://schemas.microsoft.com/office/drawing/2014/main" id="{C1045DDF-3A73-7E9D-FA07-AAB48115C595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991350" y="2511426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" name="Freeform 86">
              <a:extLst>
                <a:ext uri="{FF2B5EF4-FFF2-40B4-BE49-F238E27FC236}">
                  <a16:creationId xmlns:a16="http://schemas.microsoft.com/office/drawing/2014/main" id="{C07F76DB-8291-9105-6D89-9B29686690D0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6934200" y="2486026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" name="Freeform 87">
              <a:extLst>
                <a:ext uri="{FF2B5EF4-FFF2-40B4-BE49-F238E27FC236}">
                  <a16:creationId xmlns:a16="http://schemas.microsoft.com/office/drawing/2014/main" id="{8ED7D115-4D60-B401-0216-559BC9F0F8F5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134225" y="2817813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" name="Freeform 88">
              <a:extLst>
                <a:ext uri="{FF2B5EF4-FFF2-40B4-BE49-F238E27FC236}">
                  <a16:creationId xmlns:a16="http://schemas.microsoft.com/office/drawing/2014/main" id="{5278EA8A-23B6-9CAB-29B3-4F2863D535E5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089775" y="2806701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" name="Line 89">
              <a:extLst>
                <a:ext uri="{FF2B5EF4-FFF2-40B4-BE49-F238E27FC236}">
                  <a16:creationId xmlns:a16="http://schemas.microsoft.com/office/drawing/2014/main" id="{307C45AE-0D69-D10B-E748-87C42D9F1F43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123113" y="2792413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" name="Freeform 90">
              <a:extLst>
                <a:ext uri="{FF2B5EF4-FFF2-40B4-BE49-F238E27FC236}">
                  <a16:creationId xmlns:a16="http://schemas.microsoft.com/office/drawing/2014/main" id="{A74B4D7E-988C-FEB2-B20B-7BB722FF15D7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143750" y="2798763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" name="Freeform 91">
              <a:extLst>
                <a:ext uri="{FF2B5EF4-FFF2-40B4-BE49-F238E27FC236}">
                  <a16:creationId xmlns:a16="http://schemas.microsoft.com/office/drawing/2014/main" id="{CE38CD69-1680-8139-BF19-4E62702613CC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097713" y="2792413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" name="Freeform 92">
              <a:extLst>
                <a:ext uri="{FF2B5EF4-FFF2-40B4-BE49-F238E27FC236}">
                  <a16:creationId xmlns:a16="http://schemas.microsoft.com/office/drawing/2014/main" id="{AD353E3A-D578-B7CF-89BD-6F44FB7BDDB7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091363" y="2773363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" name="Freeform 93">
              <a:extLst>
                <a:ext uri="{FF2B5EF4-FFF2-40B4-BE49-F238E27FC236}">
                  <a16:creationId xmlns:a16="http://schemas.microsoft.com/office/drawing/2014/main" id="{9E1290CD-C98F-0915-270E-C52A0B5B3711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172325" y="2500313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78" name="Group 94">
              <a:extLst>
                <a:ext uri="{FF2B5EF4-FFF2-40B4-BE49-F238E27FC236}">
                  <a16:creationId xmlns:a16="http://schemas.microsoft.com/office/drawing/2014/main" id="{83286353-BF0E-1C54-777C-4E9D0A9C8AE7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046913" y="2171701"/>
              <a:ext cx="163512" cy="114300"/>
              <a:chOff x="5379" y="2466"/>
              <a:chExt cx="122" cy="71"/>
            </a:xfrm>
          </p:grpSpPr>
          <p:sp>
            <p:nvSpPr>
              <p:cNvPr id="526" name="Freeform 95">
                <a:extLst>
                  <a:ext uri="{FF2B5EF4-FFF2-40B4-BE49-F238E27FC236}">
                    <a16:creationId xmlns:a16="http://schemas.microsoft.com/office/drawing/2014/main" id="{05A9FC4A-EE6F-4B1A-070F-22F124E956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7" name="Freeform 96">
                <a:extLst>
                  <a:ext uri="{FF2B5EF4-FFF2-40B4-BE49-F238E27FC236}">
                    <a16:creationId xmlns:a16="http://schemas.microsoft.com/office/drawing/2014/main" id="{E43B175E-AA22-CAF9-1EE3-476342D46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8" name="Freeform 97">
                <a:extLst>
                  <a:ext uri="{FF2B5EF4-FFF2-40B4-BE49-F238E27FC236}">
                    <a16:creationId xmlns:a16="http://schemas.microsoft.com/office/drawing/2014/main" id="{ABD3FEB5-E09A-75E5-7FAE-5CDA3F3D6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9" name="Freeform 98">
                <a:extLst>
                  <a:ext uri="{FF2B5EF4-FFF2-40B4-BE49-F238E27FC236}">
                    <a16:creationId xmlns:a16="http://schemas.microsoft.com/office/drawing/2014/main" id="{D6009B0B-1E26-A124-26FB-71EAB1B3D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0" name="Freeform 99">
                <a:extLst>
                  <a:ext uri="{FF2B5EF4-FFF2-40B4-BE49-F238E27FC236}">
                    <a16:creationId xmlns:a16="http://schemas.microsoft.com/office/drawing/2014/main" id="{462E09CD-392E-4123-DF37-5A2A85A75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1" name="Line 100">
                <a:extLst>
                  <a:ext uri="{FF2B5EF4-FFF2-40B4-BE49-F238E27FC236}">
                    <a16:creationId xmlns:a16="http://schemas.microsoft.com/office/drawing/2014/main" id="{9401FE88-96AE-FBED-61B7-7B465C7424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2" name="Freeform 101">
                <a:extLst>
                  <a:ext uri="{FF2B5EF4-FFF2-40B4-BE49-F238E27FC236}">
                    <a16:creationId xmlns:a16="http://schemas.microsoft.com/office/drawing/2014/main" id="{2EC1AF4C-905B-6B34-D637-2E5080561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3" name="Line 102">
                <a:extLst>
                  <a:ext uri="{FF2B5EF4-FFF2-40B4-BE49-F238E27FC236}">
                    <a16:creationId xmlns:a16="http://schemas.microsoft.com/office/drawing/2014/main" id="{A787CE3C-507D-B54C-227B-193C0243B0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4" name="Freeform 103">
                <a:extLst>
                  <a:ext uri="{FF2B5EF4-FFF2-40B4-BE49-F238E27FC236}">
                    <a16:creationId xmlns:a16="http://schemas.microsoft.com/office/drawing/2014/main" id="{06709C23-4296-78F1-08CE-A70BF0E7F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79" name="Freeform 104">
              <a:extLst>
                <a:ext uri="{FF2B5EF4-FFF2-40B4-BE49-F238E27FC236}">
                  <a16:creationId xmlns:a16="http://schemas.microsoft.com/office/drawing/2014/main" id="{72A99405-CCD0-D0F8-4765-6FAB0CAB6122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5630863" y="2033588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" name="Freeform 105">
              <a:extLst>
                <a:ext uri="{FF2B5EF4-FFF2-40B4-BE49-F238E27FC236}">
                  <a16:creationId xmlns:a16="http://schemas.microsoft.com/office/drawing/2014/main" id="{40775A07-B444-D5F0-8AE4-A52A9F218471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2530475" y="4173538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" name="Freeform 106">
              <a:extLst>
                <a:ext uri="{FF2B5EF4-FFF2-40B4-BE49-F238E27FC236}">
                  <a16:creationId xmlns:a16="http://schemas.microsoft.com/office/drawing/2014/main" id="{E4635706-8AAA-092F-CA99-B9A309CF487E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4832350" y="4011613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" name="Freeform 107">
              <a:extLst>
                <a:ext uri="{FF2B5EF4-FFF2-40B4-BE49-F238E27FC236}">
                  <a16:creationId xmlns:a16="http://schemas.microsoft.com/office/drawing/2014/main" id="{830116A1-DF92-A931-31A7-15D43157A7B5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6986588" y="782638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" name="Freeform 108">
              <a:extLst>
                <a:ext uri="{FF2B5EF4-FFF2-40B4-BE49-F238E27FC236}">
                  <a16:creationId xmlns:a16="http://schemas.microsoft.com/office/drawing/2014/main" id="{5843980D-8D45-55E4-4103-D8801BC39188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162800" y="815976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" name="Freeform 109">
              <a:extLst>
                <a:ext uri="{FF2B5EF4-FFF2-40B4-BE49-F238E27FC236}">
                  <a16:creationId xmlns:a16="http://schemas.microsoft.com/office/drawing/2014/main" id="{C2F7AA5A-7E20-570F-3BF6-84301439BAA1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6611938" y="1046163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" name="Freeform 110">
              <a:extLst>
                <a:ext uri="{FF2B5EF4-FFF2-40B4-BE49-F238E27FC236}">
                  <a16:creationId xmlns:a16="http://schemas.microsoft.com/office/drawing/2014/main" id="{EC69F828-B768-BA53-FA50-50070C27DD3B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6426200" y="1608138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" name="Freeform 111">
              <a:extLst>
                <a:ext uri="{FF2B5EF4-FFF2-40B4-BE49-F238E27FC236}">
                  <a16:creationId xmlns:a16="http://schemas.microsoft.com/office/drawing/2014/main" id="{4B2E7915-ECED-F149-EA3C-4D8E51D01A0E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6443663" y="1543051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" name="Freeform 112">
              <a:extLst>
                <a:ext uri="{FF2B5EF4-FFF2-40B4-BE49-F238E27FC236}">
                  <a16:creationId xmlns:a16="http://schemas.microsoft.com/office/drawing/2014/main" id="{ECC1CBD1-21B0-C08D-10A9-E4AF779AA756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6332538" y="1392238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" name="Freeform 113">
              <a:extLst>
                <a:ext uri="{FF2B5EF4-FFF2-40B4-BE49-F238E27FC236}">
                  <a16:creationId xmlns:a16="http://schemas.microsoft.com/office/drawing/2014/main" id="{045F0CBC-53B7-877A-A2A3-D4FBD0960D9E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184525" y="519113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" name="Freeform 114">
              <a:extLst>
                <a:ext uri="{FF2B5EF4-FFF2-40B4-BE49-F238E27FC236}">
                  <a16:creationId xmlns:a16="http://schemas.microsoft.com/office/drawing/2014/main" id="{C338F484-1A23-5614-ED23-65230105AD6E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170238" y="287338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" name="Freeform 115">
              <a:extLst>
                <a:ext uri="{FF2B5EF4-FFF2-40B4-BE49-F238E27FC236}">
                  <a16:creationId xmlns:a16="http://schemas.microsoft.com/office/drawing/2014/main" id="{68AF4192-A733-4911-AC10-82A73430773B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651375" y="2065338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" name="Freeform 116">
              <a:extLst>
                <a:ext uri="{FF2B5EF4-FFF2-40B4-BE49-F238E27FC236}">
                  <a16:creationId xmlns:a16="http://schemas.microsoft.com/office/drawing/2014/main" id="{4BA3EDF1-C08F-A8C8-7425-2B681A91BBDE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354513" y="1927226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92" name="Group 117">
              <a:extLst>
                <a:ext uri="{FF2B5EF4-FFF2-40B4-BE49-F238E27FC236}">
                  <a16:creationId xmlns:a16="http://schemas.microsoft.com/office/drawing/2014/main" id="{3D9FF823-B082-14FB-388D-2F2E201355E6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126038" y="2114551"/>
              <a:ext cx="46037" cy="374650"/>
              <a:chOff x="3950" y="2430"/>
              <a:chExt cx="36" cy="234"/>
            </a:xfrm>
          </p:grpSpPr>
          <p:sp>
            <p:nvSpPr>
              <p:cNvPr id="495" name="Freeform 118">
                <a:extLst>
                  <a:ext uri="{FF2B5EF4-FFF2-40B4-BE49-F238E27FC236}">
                    <a16:creationId xmlns:a16="http://schemas.microsoft.com/office/drawing/2014/main" id="{AB9F1A8E-33ED-46C5-37AD-F2007D836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6" name="Freeform 119">
                <a:extLst>
                  <a:ext uri="{FF2B5EF4-FFF2-40B4-BE49-F238E27FC236}">
                    <a16:creationId xmlns:a16="http://schemas.microsoft.com/office/drawing/2014/main" id="{FDECF8E9-AF61-FB4B-C8A3-D2ABE3934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7" name="Freeform 120">
                <a:extLst>
                  <a:ext uri="{FF2B5EF4-FFF2-40B4-BE49-F238E27FC236}">
                    <a16:creationId xmlns:a16="http://schemas.microsoft.com/office/drawing/2014/main" id="{4B1951A4-AC16-0B51-1DB6-DEE1292FB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8" name="Rectangle 121">
                <a:extLst>
                  <a:ext uri="{FF2B5EF4-FFF2-40B4-BE49-F238E27FC236}">
                    <a16:creationId xmlns:a16="http://schemas.microsoft.com/office/drawing/2014/main" id="{7577A16F-77FF-DAA8-BE43-22FA8AA79B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CH" sz="1050">
                  <a:latin typeface="Tenorite" pitchFamily="2" charset="0"/>
                </a:endParaRPr>
              </a:p>
            </p:txBody>
          </p:sp>
          <p:sp>
            <p:nvSpPr>
              <p:cNvPr id="499" name="Line 122">
                <a:extLst>
                  <a:ext uri="{FF2B5EF4-FFF2-40B4-BE49-F238E27FC236}">
                    <a16:creationId xmlns:a16="http://schemas.microsoft.com/office/drawing/2014/main" id="{6172D70F-488E-00BA-F577-92D9B67D0B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0" name="Freeform 123">
                <a:extLst>
                  <a:ext uri="{FF2B5EF4-FFF2-40B4-BE49-F238E27FC236}">
                    <a16:creationId xmlns:a16="http://schemas.microsoft.com/office/drawing/2014/main" id="{CCF4D000-57AD-4417-A5F4-9A02F22DA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1" name="Freeform 124">
                <a:extLst>
                  <a:ext uri="{FF2B5EF4-FFF2-40B4-BE49-F238E27FC236}">
                    <a16:creationId xmlns:a16="http://schemas.microsoft.com/office/drawing/2014/main" id="{E72E9977-0314-3275-3ECC-EEB5B7A5B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2" name="Line 125">
                <a:extLst>
                  <a:ext uri="{FF2B5EF4-FFF2-40B4-BE49-F238E27FC236}">
                    <a16:creationId xmlns:a16="http://schemas.microsoft.com/office/drawing/2014/main" id="{AA89B404-EB9B-87D7-761C-0E8C89B67B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3" name="Freeform 126">
                <a:extLst>
                  <a:ext uri="{FF2B5EF4-FFF2-40B4-BE49-F238E27FC236}">
                    <a16:creationId xmlns:a16="http://schemas.microsoft.com/office/drawing/2014/main" id="{9EBC2453-CA20-6D84-807A-99581B9EB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4" name="Freeform 127">
                <a:extLst>
                  <a:ext uri="{FF2B5EF4-FFF2-40B4-BE49-F238E27FC236}">
                    <a16:creationId xmlns:a16="http://schemas.microsoft.com/office/drawing/2014/main" id="{E93D1057-E9C8-7720-372B-93CD6E9CF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5" name="Line 128">
                <a:extLst>
                  <a:ext uri="{FF2B5EF4-FFF2-40B4-BE49-F238E27FC236}">
                    <a16:creationId xmlns:a16="http://schemas.microsoft.com/office/drawing/2014/main" id="{6B83B7D5-E21A-7DBD-5E86-A04C0EAE95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6" name="Freeform 129">
                <a:extLst>
                  <a:ext uri="{FF2B5EF4-FFF2-40B4-BE49-F238E27FC236}">
                    <a16:creationId xmlns:a16="http://schemas.microsoft.com/office/drawing/2014/main" id="{0DAE2FC9-9F39-E0B9-C0D6-91B773ED5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7" name="Freeform 130">
                <a:extLst>
                  <a:ext uri="{FF2B5EF4-FFF2-40B4-BE49-F238E27FC236}">
                    <a16:creationId xmlns:a16="http://schemas.microsoft.com/office/drawing/2014/main" id="{9F0D5767-53E2-E60B-A739-E099941AB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8" name="Freeform 131">
                <a:extLst>
                  <a:ext uri="{FF2B5EF4-FFF2-40B4-BE49-F238E27FC236}">
                    <a16:creationId xmlns:a16="http://schemas.microsoft.com/office/drawing/2014/main" id="{61D8DED5-8B6E-6549-8738-D176F8902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9" name="Freeform 132">
                <a:extLst>
                  <a:ext uri="{FF2B5EF4-FFF2-40B4-BE49-F238E27FC236}">
                    <a16:creationId xmlns:a16="http://schemas.microsoft.com/office/drawing/2014/main" id="{62463291-2B10-EAA3-A41C-07CC3BE38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0" name="Freeform 133">
                <a:extLst>
                  <a:ext uri="{FF2B5EF4-FFF2-40B4-BE49-F238E27FC236}">
                    <a16:creationId xmlns:a16="http://schemas.microsoft.com/office/drawing/2014/main" id="{E2A39E67-413B-BBDD-5DBD-9E7A89129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1" name="Freeform 134">
                <a:extLst>
                  <a:ext uri="{FF2B5EF4-FFF2-40B4-BE49-F238E27FC236}">
                    <a16:creationId xmlns:a16="http://schemas.microsoft.com/office/drawing/2014/main" id="{3FBA831C-9BBA-CB66-1F3B-718EEC6F0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2" name="Freeform 135">
                <a:extLst>
                  <a:ext uri="{FF2B5EF4-FFF2-40B4-BE49-F238E27FC236}">
                    <a16:creationId xmlns:a16="http://schemas.microsoft.com/office/drawing/2014/main" id="{43C74B7F-6247-8AFC-7FC4-ECCE13147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3" name="Rectangle 136">
                <a:extLst>
                  <a:ext uri="{FF2B5EF4-FFF2-40B4-BE49-F238E27FC236}">
                    <a16:creationId xmlns:a16="http://schemas.microsoft.com/office/drawing/2014/main" id="{FE93F362-8237-AE23-8C80-768333EB2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CH" sz="1050">
                  <a:latin typeface="Tenorite" pitchFamily="2" charset="0"/>
                </a:endParaRPr>
              </a:p>
            </p:txBody>
          </p:sp>
          <p:sp>
            <p:nvSpPr>
              <p:cNvPr id="514" name="Line 137">
                <a:extLst>
                  <a:ext uri="{FF2B5EF4-FFF2-40B4-BE49-F238E27FC236}">
                    <a16:creationId xmlns:a16="http://schemas.microsoft.com/office/drawing/2014/main" id="{A4C92461-4901-17DF-3509-B03883B43E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5" name="Freeform 138">
                <a:extLst>
                  <a:ext uri="{FF2B5EF4-FFF2-40B4-BE49-F238E27FC236}">
                    <a16:creationId xmlns:a16="http://schemas.microsoft.com/office/drawing/2014/main" id="{548E089B-7C47-099F-D742-7B356C447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6" name="Freeform 139">
                <a:extLst>
                  <a:ext uri="{FF2B5EF4-FFF2-40B4-BE49-F238E27FC236}">
                    <a16:creationId xmlns:a16="http://schemas.microsoft.com/office/drawing/2014/main" id="{D47E1387-7297-F950-4BCC-76D7E6A6E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7" name="Line 140">
                <a:extLst>
                  <a:ext uri="{FF2B5EF4-FFF2-40B4-BE49-F238E27FC236}">
                    <a16:creationId xmlns:a16="http://schemas.microsoft.com/office/drawing/2014/main" id="{CBEB0F83-976F-DFF5-6FCD-AE91F23CE1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8" name="Freeform 141">
                <a:extLst>
                  <a:ext uri="{FF2B5EF4-FFF2-40B4-BE49-F238E27FC236}">
                    <a16:creationId xmlns:a16="http://schemas.microsoft.com/office/drawing/2014/main" id="{76C8B26F-EF01-E374-65BE-9CA405A27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9" name="Freeform 142">
                <a:extLst>
                  <a:ext uri="{FF2B5EF4-FFF2-40B4-BE49-F238E27FC236}">
                    <a16:creationId xmlns:a16="http://schemas.microsoft.com/office/drawing/2014/main" id="{289A9A72-F35D-D5D0-5957-65AA61D20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0" name="Line 143">
                <a:extLst>
                  <a:ext uri="{FF2B5EF4-FFF2-40B4-BE49-F238E27FC236}">
                    <a16:creationId xmlns:a16="http://schemas.microsoft.com/office/drawing/2014/main" id="{F27C3EAD-6F2A-8D4C-E132-3914AF9E16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1" name="Freeform 144">
                <a:extLst>
                  <a:ext uri="{FF2B5EF4-FFF2-40B4-BE49-F238E27FC236}">
                    <a16:creationId xmlns:a16="http://schemas.microsoft.com/office/drawing/2014/main" id="{B87E9496-CDA7-32FF-6752-77FCA23F0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2" name="Freeform 145">
                <a:extLst>
                  <a:ext uri="{FF2B5EF4-FFF2-40B4-BE49-F238E27FC236}">
                    <a16:creationId xmlns:a16="http://schemas.microsoft.com/office/drawing/2014/main" id="{7C71D219-650A-45CF-3A28-B29C1248B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3" name="Freeform 146">
                <a:extLst>
                  <a:ext uri="{FF2B5EF4-FFF2-40B4-BE49-F238E27FC236}">
                    <a16:creationId xmlns:a16="http://schemas.microsoft.com/office/drawing/2014/main" id="{F2F22990-6CAA-D231-6437-D2E722E45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4" name="Freeform 147">
                <a:extLst>
                  <a:ext uri="{FF2B5EF4-FFF2-40B4-BE49-F238E27FC236}">
                    <a16:creationId xmlns:a16="http://schemas.microsoft.com/office/drawing/2014/main" id="{603A3A52-0CB3-19CF-0EE7-A258AD2AE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5" name="Freeform 148">
                <a:extLst>
                  <a:ext uri="{FF2B5EF4-FFF2-40B4-BE49-F238E27FC236}">
                    <a16:creationId xmlns:a16="http://schemas.microsoft.com/office/drawing/2014/main" id="{2ED40875-E871-EBEB-0544-04E690CEF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grpSp>
          <p:nvGrpSpPr>
            <p:cNvPr id="93" name="Group 149">
              <a:extLst>
                <a:ext uri="{FF2B5EF4-FFF2-40B4-BE49-F238E27FC236}">
                  <a16:creationId xmlns:a16="http://schemas.microsoft.com/office/drawing/2014/main" id="{31B9D841-5668-7B67-D51F-39C552BD624C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191375" y="2614613"/>
              <a:ext cx="185738" cy="214313"/>
              <a:chOff x="5486" y="2743"/>
              <a:chExt cx="137" cy="132"/>
            </a:xfrm>
          </p:grpSpPr>
          <p:sp>
            <p:nvSpPr>
              <p:cNvPr id="486" name="Freeform 150">
                <a:extLst>
                  <a:ext uri="{FF2B5EF4-FFF2-40B4-BE49-F238E27FC236}">
                    <a16:creationId xmlns:a16="http://schemas.microsoft.com/office/drawing/2014/main" id="{B5502E84-6899-B157-4B4E-49A30DAA3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7" name="Freeform 151">
                <a:extLst>
                  <a:ext uri="{FF2B5EF4-FFF2-40B4-BE49-F238E27FC236}">
                    <a16:creationId xmlns:a16="http://schemas.microsoft.com/office/drawing/2014/main" id="{D4CB5EF8-6E72-40A4-EBB0-3C979AE1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8" name="Freeform 152">
                <a:extLst>
                  <a:ext uri="{FF2B5EF4-FFF2-40B4-BE49-F238E27FC236}">
                    <a16:creationId xmlns:a16="http://schemas.microsoft.com/office/drawing/2014/main" id="{B2F44805-4038-CC49-6998-D0D5B66BB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9" name="Freeform 153">
                <a:extLst>
                  <a:ext uri="{FF2B5EF4-FFF2-40B4-BE49-F238E27FC236}">
                    <a16:creationId xmlns:a16="http://schemas.microsoft.com/office/drawing/2014/main" id="{FB8C3037-1BE0-8C70-8B2F-7B6E00090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0" name="Freeform 154">
                <a:extLst>
                  <a:ext uri="{FF2B5EF4-FFF2-40B4-BE49-F238E27FC236}">
                    <a16:creationId xmlns:a16="http://schemas.microsoft.com/office/drawing/2014/main" id="{AFDFB332-F7EF-DE4C-E9EE-1CB8243A7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1" name="Freeform 155">
                <a:extLst>
                  <a:ext uri="{FF2B5EF4-FFF2-40B4-BE49-F238E27FC236}">
                    <a16:creationId xmlns:a16="http://schemas.microsoft.com/office/drawing/2014/main" id="{73312AD1-8982-3059-7F49-218157EF8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2" name="Freeform 156">
                <a:extLst>
                  <a:ext uri="{FF2B5EF4-FFF2-40B4-BE49-F238E27FC236}">
                    <a16:creationId xmlns:a16="http://schemas.microsoft.com/office/drawing/2014/main" id="{9688B110-0BDE-16E5-8A00-80985DEF7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3" name="Freeform 157">
                <a:extLst>
                  <a:ext uri="{FF2B5EF4-FFF2-40B4-BE49-F238E27FC236}">
                    <a16:creationId xmlns:a16="http://schemas.microsoft.com/office/drawing/2014/main" id="{AA75DA75-A0C4-495B-9835-5B16D71DAF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4" name="Freeform 158">
                <a:extLst>
                  <a:ext uri="{FF2B5EF4-FFF2-40B4-BE49-F238E27FC236}">
                    <a16:creationId xmlns:a16="http://schemas.microsoft.com/office/drawing/2014/main" id="{9024F409-A338-01ED-7354-2A7E1DF19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94" name="Freeform 159">
              <a:extLst>
                <a:ext uri="{FF2B5EF4-FFF2-40B4-BE49-F238E27FC236}">
                  <a16:creationId xmlns:a16="http://schemas.microsoft.com/office/drawing/2014/main" id="{C6470D38-1BEA-13E5-CF6B-E7CBE5867866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536950" y="2352676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" name="Freeform 160">
              <a:extLst>
                <a:ext uri="{FF2B5EF4-FFF2-40B4-BE49-F238E27FC236}">
                  <a16:creationId xmlns:a16="http://schemas.microsoft.com/office/drawing/2014/main" id="{49388A97-90AC-D13D-A6DD-1B7CB9D99F0B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460750" y="2492376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" name="Freeform 161">
              <a:extLst>
                <a:ext uri="{FF2B5EF4-FFF2-40B4-BE49-F238E27FC236}">
                  <a16:creationId xmlns:a16="http://schemas.microsoft.com/office/drawing/2014/main" id="{4F4970C4-FCEA-F571-E203-994336F9174E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259388" y="819151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" name="Freeform 162">
              <a:extLst>
                <a:ext uri="{FF2B5EF4-FFF2-40B4-BE49-F238E27FC236}">
                  <a16:creationId xmlns:a16="http://schemas.microsoft.com/office/drawing/2014/main" id="{9FADBB6B-8A66-5B8D-BD58-35E7E2329831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1585913" y="2786063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" name="Freeform 163">
              <a:extLst>
                <a:ext uri="{FF2B5EF4-FFF2-40B4-BE49-F238E27FC236}">
                  <a16:creationId xmlns:a16="http://schemas.microsoft.com/office/drawing/2014/main" id="{C63882A9-64E2-6662-369A-85954E9B5FD1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1800225" y="2216151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99" name="Group 164">
              <a:extLst>
                <a:ext uri="{FF2B5EF4-FFF2-40B4-BE49-F238E27FC236}">
                  <a16:creationId xmlns:a16="http://schemas.microsoft.com/office/drawing/2014/main" id="{14D61B1C-94E7-6A0F-00F7-9FABF4A2E382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1514475" y="2051051"/>
              <a:ext cx="323850" cy="401637"/>
              <a:chOff x="1486" y="2412"/>
              <a:chExt cx="244" cy="256"/>
            </a:xfrm>
          </p:grpSpPr>
          <p:sp>
            <p:nvSpPr>
              <p:cNvPr id="482" name="Freeform 165">
                <a:extLst>
                  <a:ext uri="{FF2B5EF4-FFF2-40B4-BE49-F238E27FC236}">
                    <a16:creationId xmlns:a16="http://schemas.microsoft.com/office/drawing/2014/main" id="{A12C80A3-31BB-A7B8-0983-0556F9D9D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3" name="Freeform 166">
                <a:extLst>
                  <a:ext uri="{FF2B5EF4-FFF2-40B4-BE49-F238E27FC236}">
                    <a16:creationId xmlns:a16="http://schemas.microsoft.com/office/drawing/2014/main" id="{20FE04BF-0E34-885C-22BD-AE78BAB6D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4" name="Freeform 167">
                <a:extLst>
                  <a:ext uri="{FF2B5EF4-FFF2-40B4-BE49-F238E27FC236}">
                    <a16:creationId xmlns:a16="http://schemas.microsoft.com/office/drawing/2014/main" id="{9BB20476-E0B8-5845-04FE-7B9FDE142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5" name="Freeform 168">
                <a:extLst>
                  <a:ext uri="{FF2B5EF4-FFF2-40B4-BE49-F238E27FC236}">
                    <a16:creationId xmlns:a16="http://schemas.microsoft.com/office/drawing/2014/main" id="{0A6EA203-BA1A-D9B8-00F7-5E038489F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100" name="Freeform 169">
              <a:extLst>
                <a:ext uri="{FF2B5EF4-FFF2-40B4-BE49-F238E27FC236}">
                  <a16:creationId xmlns:a16="http://schemas.microsoft.com/office/drawing/2014/main" id="{E4A3FE08-BC55-487D-C546-FB01B537A09D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6535738" y="3590926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" name="Freeform 170">
              <a:extLst>
                <a:ext uri="{FF2B5EF4-FFF2-40B4-BE49-F238E27FC236}">
                  <a16:creationId xmlns:a16="http://schemas.microsoft.com/office/drawing/2014/main" id="{FCF6CE65-781E-A5E1-D104-F2FC8275E872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6651625" y="3724276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" name="Line 171">
              <a:extLst>
                <a:ext uri="{FF2B5EF4-FFF2-40B4-BE49-F238E27FC236}">
                  <a16:creationId xmlns:a16="http://schemas.microsoft.com/office/drawing/2014/main" id="{53BD1011-A2E3-6F0F-2097-81A1455D36C8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6742113" y="3722688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" name="Freeform 172">
              <a:extLst>
                <a:ext uri="{FF2B5EF4-FFF2-40B4-BE49-F238E27FC236}">
                  <a16:creationId xmlns:a16="http://schemas.microsoft.com/office/drawing/2014/main" id="{3BE10FAF-304F-87CF-48A5-F9B14578CAB5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6742113" y="3722688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" name="Freeform 173">
              <a:extLst>
                <a:ext uri="{FF2B5EF4-FFF2-40B4-BE49-F238E27FC236}">
                  <a16:creationId xmlns:a16="http://schemas.microsoft.com/office/drawing/2014/main" id="{920DD349-9451-27F0-8B19-8C0CDF2384B1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040563" y="3192463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" name="Freeform 174">
              <a:extLst>
                <a:ext uri="{FF2B5EF4-FFF2-40B4-BE49-F238E27FC236}">
                  <a16:creationId xmlns:a16="http://schemas.microsoft.com/office/drawing/2014/main" id="{B7ACCBCB-C77C-307D-37E4-43B8460347F5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046913" y="3119438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" name="Freeform 175">
              <a:extLst>
                <a:ext uri="{FF2B5EF4-FFF2-40B4-BE49-F238E27FC236}">
                  <a16:creationId xmlns:a16="http://schemas.microsoft.com/office/drawing/2014/main" id="{AF8E4D02-8D1D-FBA9-43D4-F70DC76CDEF6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023100" y="3095626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" name="Freeform 176">
              <a:extLst>
                <a:ext uri="{FF2B5EF4-FFF2-40B4-BE49-F238E27FC236}">
                  <a16:creationId xmlns:a16="http://schemas.microsoft.com/office/drawing/2014/main" id="{92F384AE-15A8-901B-F652-D58BC05BCCE9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6942138" y="2973388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" name="Line 177">
              <a:extLst>
                <a:ext uri="{FF2B5EF4-FFF2-40B4-BE49-F238E27FC236}">
                  <a16:creationId xmlns:a16="http://schemas.microsoft.com/office/drawing/2014/main" id="{FC908394-E900-D127-5EE4-78109400262A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6935788" y="2940051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" name="Freeform 178">
              <a:extLst>
                <a:ext uri="{FF2B5EF4-FFF2-40B4-BE49-F238E27FC236}">
                  <a16:creationId xmlns:a16="http://schemas.microsoft.com/office/drawing/2014/main" id="{72DF6106-FEB8-0BAC-18ED-1354FBE1F3AA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6935788" y="2924176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" name="Line 179">
              <a:extLst>
                <a:ext uri="{FF2B5EF4-FFF2-40B4-BE49-F238E27FC236}">
                  <a16:creationId xmlns:a16="http://schemas.microsoft.com/office/drawing/2014/main" id="{909A88E0-4702-F839-C034-92FF0127B832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6942138" y="2911476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" name="Freeform 180">
              <a:extLst>
                <a:ext uri="{FF2B5EF4-FFF2-40B4-BE49-F238E27FC236}">
                  <a16:creationId xmlns:a16="http://schemas.microsoft.com/office/drawing/2014/main" id="{75EC757E-B654-7E2D-D36B-2E78D42D69F0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896100" y="2844801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" name="Freeform 181">
              <a:extLst>
                <a:ext uri="{FF2B5EF4-FFF2-40B4-BE49-F238E27FC236}">
                  <a16:creationId xmlns:a16="http://schemas.microsoft.com/office/drawing/2014/main" id="{30F1668E-96BC-06A8-F21D-1374A10A1349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6910388" y="2787651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" name="Freeform 182">
              <a:extLst>
                <a:ext uri="{FF2B5EF4-FFF2-40B4-BE49-F238E27FC236}">
                  <a16:creationId xmlns:a16="http://schemas.microsoft.com/office/drawing/2014/main" id="{9E2716A1-BCE7-A256-C231-D7769BB3052E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6916738" y="2781301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" name="Freeform 183">
              <a:extLst>
                <a:ext uri="{FF2B5EF4-FFF2-40B4-BE49-F238E27FC236}">
                  <a16:creationId xmlns:a16="http://schemas.microsoft.com/office/drawing/2014/main" id="{45F042F0-36B7-639C-8FA1-2B38212311EB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6932613" y="2762251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" name="Line 184">
              <a:extLst>
                <a:ext uri="{FF2B5EF4-FFF2-40B4-BE49-F238E27FC236}">
                  <a16:creationId xmlns:a16="http://schemas.microsoft.com/office/drawing/2014/main" id="{7AA5E440-D87D-693F-A946-030FB0D66362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6932613" y="2781301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6" name="Freeform 185">
              <a:extLst>
                <a:ext uri="{FF2B5EF4-FFF2-40B4-BE49-F238E27FC236}">
                  <a16:creationId xmlns:a16="http://schemas.microsoft.com/office/drawing/2014/main" id="{6451E3B8-5D0E-A509-D529-D76B352FDC22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6916738" y="2765426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7" name="Freeform 186">
              <a:extLst>
                <a:ext uri="{FF2B5EF4-FFF2-40B4-BE49-F238E27FC236}">
                  <a16:creationId xmlns:a16="http://schemas.microsoft.com/office/drawing/2014/main" id="{79E7CC14-FF0E-CD8B-D717-D485B00EE5AD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6637338" y="3754438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8" name="Freeform 187">
              <a:extLst>
                <a:ext uri="{FF2B5EF4-FFF2-40B4-BE49-F238E27FC236}">
                  <a16:creationId xmlns:a16="http://schemas.microsoft.com/office/drawing/2014/main" id="{A21DA2D4-0437-164F-CD0E-17CA9F34EDFC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6775450" y="2973388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9" name="Freeform 188">
              <a:extLst>
                <a:ext uri="{FF2B5EF4-FFF2-40B4-BE49-F238E27FC236}">
                  <a16:creationId xmlns:a16="http://schemas.microsoft.com/office/drawing/2014/main" id="{9E30614D-8075-9A9E-BF10-E1D56082217C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6708775" y="2895601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0" name="Freeform 189">
              <a:extLst>
                <a:ext uri="{FF2B5EF4-FFF2-40B4-BE49-F238E27FC236}">
                  <a16:creationId xmlns:a16="http://schemas.microsoft.com/office/drawing/2014/main" id="{020B8265-7934-607D-F5B9-DF34738EE28A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6724650" y="2808288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1" name="Freeform 190">
              <a:extLst>
                <a:ext uri="{FF2B5EF4-FFF2-40B4-BE49-F238E27FC236}">
                  <a16:creationId xmlns:a16="http://schemas.microsoft.com/office/drawing/2014/main" id="{5EAA4611-F3A4-C812-475C-F5A41EE89417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6564313" y="2811463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2" name="Freeform 191">
              <a:extLst>
                <a:ext uri="{FF2B5EF4-FFF2-40B4-BE49-F238E27FC236}">
                  <a16:creationId xmlns:a16="http://schemas.microsoft.com/office/drawing/2014/main" id="{D83DDEE3-A050-3720-5306-9F23EE58032D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6808788" y="3275013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3" name="Freeform 192">
              <a:extLst>
                <a:ext uri="{FF2B5EF4-FFF2-40B4-BE49-F238E27FC236}">
                  <a16:creationId xmlns:a16="http://schemas.microsoft.com/office/drawing/2014/main" id="{E349314B-5F7A-25E1-AF8C-FCEC055180EA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045200" y="2781301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4" name="Freeform 193">
              <a:extLst>
                <a:ext uri="{FF2B5EF4-FFF2-40B4-BE49-F238E27FC236}">
                  <a16:creationId xmlns:a16="http://schemas.microsoft.com/office/drawing/2014/main" id="{16A911BC-818A-C12C-BD11-901C772029FD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531813" y="1447801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5" name="Freeform 194">
              <a:extLst>
                <a:ext uri="{FF2B5EF4-FFF2-40B4-BE49-F238E27FC236}">
                  <a16:creationId xmlns:a16="http://schemas.microsoft.com/office/drawing/2014/main" id="{F721A364-4AA0-7830-1A5F-DD7425ED2230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1806575" y="3087688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6" name="Freeform 195">
              <a:extLst>
                <a:ext uri="{FF2B5EF4-FFF2-40B4-BE49-F238E27FC236}">
                  <a16:creationId xmlns:a16="http://schemas.microsoft.com/office/drawing/2014/main" id="{65F6833C-5498-D4CB-7894-3F74AC4581D6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1976438" y="2292351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7" name="Freeform 196">
              <a:extLst>
                <a:ext uri="{FF2B5EF4-FFF2-40B4-BE49-F238E27FC236}">
                  <a16:creationId xmlns:a16="http://schemas.microsoft.com/office/drawing/2014/main" id="{1E130958-802A-CE99-44CE-A971FC78CAEB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490663" y="1851026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8" name="Freeform 197">
              <a:extLst>
                <a:ext uri="{FF2B5EF4-FFF2-40B4-BE49-F238E27FC236}">
                  <a16:creationId xmlns:a16="http://schemas.microsoft.com/office/drawing/2014/main" id="{32A0B3B0-2700-404E-EDCE-92AE06AEA2C0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1857375" y="4205288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9" name="Freeform 198">
              <a:extLst>
                <a:ext uri="{FF2B5EF4-FFF2-40B4-BE49-F238E27FC236}">
                  <a16:creationId xmlns:a16="http://schemas.microsoft.com/office/drawing/2014/main" id="{2B400A7A-252A-E656-5D6C-309138844EE2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1822450" y="4184651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0" name="Freeform 199">
              <a:extLst>
                <a:ext uri="{FF2B5EF4-FFF2-40B4-BE49-F238E27FC236}">
                  <a16:creationId xmlns:a16="http://schemas.microsoft.com/office/drawing/2014/main" id="{9A41ACA0-5004-B792-32F2-EDBF74B4C499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1822450" y="4164013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1" name="Freeform 200">
              <a:extLst>
                <a:ext uri="{FF2B5EF4-FFF2-40B4-BE49-F238E27FC236}">
                  <a16:creationId xmlns:a16="http://schemas.microsoft.com/office/drawing/2014/main" id="{4115A4D1-F94B-7BA6-C211-0A32DA9C8AAE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1792288" y="4157663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2" name="Freeform 201">
              <a:extLst>
                <a:ext uri="{FF2B5EF4-FFF2-40B4-BE49-F238E27FC236}">
                  <a16:creationId xmlns:a16="http://schemas.microsoft.com/office/drawing/2014/main" id="{E53DD77D-C4CA-A409-5F06-BBB570BE77D3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1766888" y="4148138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3" name="Freeform 202">
              <a:extLst>
                <a:ext uri="{FF2B5EF4-FFF2-40B4-BE49-F238E27FC236}">
                  <a16:creationId xmlns:a16="http://schemas.microsoft.com/office/drawing/2014/main" id="{1DC0A631-D136-C659-C1A8-2FC1D22A4939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743075" y="4135438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4" name="Freeform 203">
              <a:extLst>
                <a:ext uri="{FF2B5EF4-FFF2-40B4-BE49-F238E27FC236}">
                  <a16:creationId xmlns:a16="http://schemas.microsoft.com/office/drawing/2014/main" id="{225D52F6-1FDF-7AE0-53C6-640DD7644322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1736725" y="4116388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5" name="Freeform 204">
              <a:extLst>
                <a:ext uri="{FF2B5EF4-FFF2-40B4-BE49-F238E27FC236}">
                  <a16:creationId xmlns:a16="http://schemas.microsoft.com/office/drawing/2014/main" id="{AF66C2D1-6DF8-E105-ABAD-203498209CDF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636713" y="3806826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6" name="Freeform 205">
              <a:extLst>
                <a:ext uri="{FF2B5EF4-FFF2-40B4-BE49-F238E27FC236}">
                  <a16:creationId xmlns:a16="http://schemas.microsoft.com/office/drawing/2014/main" id="{BB144E10-6B40-F1E7-03C6-A95AE1189C50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1666875" y="3902076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7" name="Freeform 206">
              <a:extLst>
                <a:ext uri="{FF2B5EF4-FFF2-40B4-BE49-F238E27FC236}">
                  <a16:creationId xmlns:a16="http://schemas.microsoft.com/office/drawing/2014/main" id="{309350D3-961E-DCF2-EA44-3139626E1F86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1671638" y="3924301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8" name="Freeform 207">
              <a:extLst>
                <a:ext uri="{FF2B5EF4-FFF2-40B4-BE49-F238E27FC236}">
                  <a16:creationId xmlns:a16="http://schemas.microsoft.com/office/drawing/2014/main" id="{1DB6F869-C576-421A-B6FF-7092D07267B1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1685925" y="3986213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9" name="Freeform 208">
              <a:extLst>
                <a:ext uri="{FF2B5EF4-FFF2-40B4-BE49-F238E27FC236}">
                  <a16:creationId xmlns:a16="http://schemas.microsoft.com/office/drawing/2014/main" id="{EFA40286-3F76-2D17-6592-8F9536A5E3EE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1673225" y="3998913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0" name="Freeform 209">
              <a:extLst>
                <a:ext uri="{FF2B5EF4-FFF2-40B4-BE49-F238E27FC236}">
                  <a16:creationId xmlns:a16="http://schemas.microsoft.com/office/drawing/2014/main" id="{D14093C2-4CC6-B69F-B21B-24A8C6A3AB20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1703388" y="4032251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1" name="Freeform 210">
              <a:extLst>
                <a:ext uri="{FF2B5EF4-FFF2-40B4-BE49-F238E27FC236}">
                  <a16:creationId xmlns:a16="http://schemas.microsoft.com/office/drawing/2014/main" id="{D3BC3820-1739-BF7B-1DB8-72196C86BFCE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1700213" y="4065588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2" name="Freeform 211">
              <a:extLst>
                <a:ext uri="{FF2B5EF4-FFF2-40B4-BE49-F238E27FC236}">
                  <a16:creationId xmlns:a16="http://schemas.microsoft.com/office/drawing/2014/main" id="{76CD5394-2BE3-ADC0-3267-F6935F07A2D2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1724025" y="4079876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3" name="Freeform 212">
              <a:extLst>
                <a:ext uri="{FF2B5EF4-FFF2-40B4-BE49-F238E27FC236}">
                  <a16:creationId xmlns:a16="http://schemas.microsoft.com/office/drawing/2014/main" id="{0344B3C7-B2F2-1134-1A52-3F909D902A06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1725613" y="4108451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4" name="Freeform 213">
              <a:extLst>
                <a:ext uri="{FF2B5EF4-FFF2-40B4-BE49-F238E27FC236}">
                  <a16:creationId xmlns:a16="http://schemas.microsoft.com/office/drawing/2014/main" id="{8506E42C-FD45-BF9B-DFE8-9C0EFC13F49A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800225" y="4178301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5" name="Freeform 214">
              <a:extLst>
                <a:ext uri="{FF2B5EF4-FFF2-40B4-BE49-F238E27FC236}">
                  <a16:creationId xmlns:a16="http://schemas.microsoft.com/office/drawing/2014/main" id="{90A82A94-8C1D-018B-676B-A7DAF89164D9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838325" y="4119563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6" name="Freeform 215">
              <a:extLst>
                <a:ext uri="{FF2B5EF4-FFF2-40B4-BE49-F238E27FC236}">
                  <a16:creationId xmlns:a16="http://schemas.microsoft.com/office/drawing/2014/main" id="{695C6855-CC7D-90F0-5C07-9ACCCE4BD0AB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390650" y="1885951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7" name="Freeform 216">
              <a:extLst>
                <a:ext uri="{FF2B5EF4-FFF2-40B4-BE49-F238E27FC236}">
                  <a16:creationId xmlns:a16="http://schemas.microsoft.com/office/drawing/2014/main" id="{01A215D7-5EB1-ADCE-2D48-ECDC32A6729F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247775" y="1747838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8" name="Freeform 217">
              <a:extLst>
                <a:ext uri="{FF2B5EF4-FFF2-40B4-BE49-F238E27FC236}">
                  <a16:creationId xmlns:a16="http://schemas.microsoft.com/office/drawing/2014/main" id="{C2608BC9-C718-1731-B31A-C788C437C037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552575" y="1851026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9" name="Freeform 218">
              <a:extLst>
                <a:ext uri="{FF2B5EF4-FFF2-40B4-BE49-F238E27FC236}">
                  <a16:creationId xmlns:a16="http://schemas.microsoft.com/office/drawing/2014/main" id="{20A78DC4-D0EE-D2F5-35D4-FEC82D68371C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120775" y="1911351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0" name="Freeform 219">
              <a:extLst>
                <a:ext uri="{FF2B5EF4-FFF2-40B4-BE49-F238E27FC236}">
                  <a16:creationId xmlns:a16="http://schemas.microsoft.com/office/drawing/2014/main" id="{D082D5B1-3F4F-3521-439E-C1D70C2D25C3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041400" y="1911351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1" name="Freeform 220">
              <a:extLst>
                <a:ext uri="{FF2B5EF4-FFF2-40B4-BE49-F238E27FC236}">
                  <a16:creationId xmlns:a16="http://schemas.microsoft.com/office/drawing/2014/main" id="{1FB75CF0-5C70-DC74-ACAE-B9AB52C373B1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089025" y="2022476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2" name="Freeform 221">
              <a:extLst>
                <a:ext uri="{FF2B5EF4-FFF2-40B4-BE49-F238E27FC236}">
                  <a16:creationId xmlns:a16="http://schemas.microsoft.com/office/drawing/2014/main" id="{9ABEB14D-F9E1-EDB4-AA65-466DF0B4B15B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120775" y="1984376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3" name="Freeform 222">
              <a:extLst>
                <a:ext uri="{FF2B5EF4-FFF2-40B4-BE49-F238E27FC236}">
                  <a16:creationId xmlns:a16="http://schemas.microsoft.com/office/drawing/2014/main" id="{8EF14965-B877-B136-9169-541E4B143C32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138238" y="2014538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4" name="Freeform 223">
              <a:extLst>
                <a:ext uri="{FF2B5EF4-FFF2-40B4-BE49-F238E27FC236}">
                  <a16:creationId xmlns:a16="http://schemas.microsoft.com/office/drawing/2014/main" id="{78A20843-F814-E540-FEE6-B1D2EF956BFC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189038" y="2127251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5" name="Freeform 224">
              <a:extLst>
                <a:ext uri="{FF2B5EF4-FFF2-40B4-BE49-F238E27FC236}">
                  <a16:creationId xmlns:a16="http://schemas.microsoft.com/office/drawing/2014/main" id="{2878085C-46FB-291E-5A12-28DB5979DC85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270000" y="2181226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6" name="Freeform 225">
              <a:extLst>
                <a:ext uri="{FF2B5EF4-FFF2-40B4-BE49-F238E27FC236}">
                  <a16:creationId xmlns:a16="http://schemas.microsoft.com/office/drawing/2014/main" id="{68432F4A-A895-9B31-F17E-DA763B4F9884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1951038" y="3435351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7" name="Freeform 226">
              <a:extLst>
                <a:ext uri="{FF2B5EF4-FFF2-40B4-BE49-F238E27FC236}">
                  <a16:creationId xmlns:a16="http://schemas.microsoft.com/office/drawing/2014/main" id="{699BB3E7-9575-51B7-6EDB-3112DCBD81EE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3497263" y="52388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8" name="Freeform 227">
              <a:extLst>
                <a:ext uri="{FF2B5EF4-FFF2-40B4-BE49-F238E27FC236}">
                  <a16:creationId xmlns:a16="http://schemas.microsoft.com/office/drawing/2014/main" id="{6EE67FC0-9CF1-3907-60DC-32B527FC4661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424238" y="282576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9" name="Freeform 228">
              <a:extLst>
                <a:ext uri="{FF2B5EF4-FFF2-40B4-BE49-F238E27FC236}">
                  <a16:creationId xmlns:a16="http://schemas.microsoft.com/office/drawing/2014/main" id="{08C30A0E-45BE-5041-4001-7B926AF4EB4B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763963" y="1123951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0" name="Freeform 229">
              <a:extLst>
                <a:ext uri="{FF2B5EF4-FFF2-40B4-BE49-F238E27FC236}">
                  <a16:creationId xmlns:a16="http://schemas.microsoft.com/office/drawing/2014/main" id="{73A3BFD6-D28F-E72A-6297-86A7CA16CC01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3471863" y="963613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1" name="Freeform 230">
              <a:extLst>
                <a:ext uri="{FF2B5EF4-FFF2-40B4-BE49-F238E27FC236}">
                  <a16:creationId xmlns:a16="http://schemas.microsoft.com/office/drawing/2014/main" id="{ADAF5FC1-B711-41C7-4A66-BDF7BCA8DD46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409950" y="782638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2" name="Freeform 231">
              <a:extLst>
                <a:ext uri="{FF2B5EF4-FFF2-40B4-BE49-F238E27FC236}">
                  <a16:creationId xmlns:a16="http://schemas.microsoft.com/office/drawing/2014/main" id="{F8A08C05-8820-D2A6-FDEC-2E420D021BC0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390900" y="846138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3" name="Freeform 232">
              <a:extLst>
                <a:ext uri="{FF2B5EF4-FFF2-40B4-BE49-F238E27FC236}">
                  <a16:creationId xmlns:a16="http://schemas.microsoft.com/office/drawing/2014/main" id="{6F8CB80E-96AF-AA31-88BB-2B1CA75E97B4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151313" y="1400176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4" name="Freeform 233">
              <a:extLst>
                <a:ext uri="{FF2B5EF4-FFF2-40B4-BE49-F238E27FC236}">
                  <a16:creationId xmlns:a16="http://schemas.microsoft.com/office/drawing/2014/main" id="{2B862B3C-A18F-416A-3260-BD906D528045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100513" y="1452563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5" name="Freeform 234">
              <a:extLst>
                <a:ext uri="{FF2B5EF4-FFF2-40B4-BE49-F238E27FC236}">
                  <a16:creationId xmlns:a16="http://schemas.microsoft.com/office/drawing/2014/main" id="{26E4A99D-7419-4F9A-3E5D-01A5D4AD4DB5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101975" y="706438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6" name="Freeform 235">
              <a:extLst>
                <a:ext uri="{FF2B5EF4-FFF2-40B4-BE49-F238E27FC236}">
                  <a16:creationId xmlns:a16="http://schemas.microsoft.com/office/drawing/2014/main" id="{9B994689-CDFC-82D3-5C16-05A9A9532BC6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2914650" y="1617663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7" name="Freeform 236">
              <a:extLst>
                <a:ext uri="{FF2B5EF4-FFF2-40B4-BE49-F238E27FC236}">
                  <a16:creationId xmlns:a16="http://schemas.microsoft.com/office/drawing/2014/main" id="{0380C04C-2902-E57C-3104-75B0AEFEAAF1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030538" y="1677988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8" name="Freeform 237">
              <a:extLst>
                <a:ext uri="{FF2B5EF4-FFF2-40B4-BE49-F238E27FC236}">
                  <a16:creationId xmlns:a16="http://schemas.microsoft.com/office/drawing/2014/main" id="{B361B39A-A35C-6E9E-969D-C95825172797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128963" y="1284288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9" name="Freeform 238">
              <a:extLst>
                <a:ext uri="{FF2B5EF4-FFF2-40B4-BE49-F238E27FC236}">
                  <a16:creationId xmlns:a16="http://schemas.microsoft.com/office/drawing/2014/main" id="{4922886E-443B-13AB-2D99-5F9674333265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565525" y="1419226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0" name="Freeform 239">
              <a:extLst>
                <a:ext uri="{FF2B5EF4-FFF2-40B4-BE49-F238E27FC236}">
                  <a16:creationId xmlns:a16="http://schemas.microsoft.com/office/drawing/2014/main" id="{B5808EF8-0ADB-3ED0-EE94-530027D8B90C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517900" y="1284288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1" name="Freeform 240">
              <a:extLst>
                <a:ext uri="{FF2B5EF4-FFF2-40B4-BE49-F238E27FC236}">
                  <a16:creationId xmlns:a16="http://schemas.microsoft.com/office/drawing/2014/main" id="{89349B2E-AAD2-D475-F7D9-428D6020EA4E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900363" y="1595438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2" name="Freeform 241">
              <a:extLst>
                <a:ext uri="{FF2B5EF4-FFF2-40B4-BE49-F238E27FC236}">
                  <a16:creationId xmlns:a16="http://schemas.microsoft.com/office/drawing/2014/main" id="{3FAA7177-A4F4-5EE2-A9A5-2238B8830CEA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2868613" y="403226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3" name="Freeform 242">
              <a:extLst>
                <a:ext uri="{FF2B5EF4-FFF2-40B4-BE49-F238E27FC236}">
                  <a16:creationId xmlns:a16="http://schemas.microsoft.com/office/drawing/2014/main" id="{CB415746-51BE-863F-47F5-9B261735AA1D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660775" y="666751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4" name="Freeform 243">
              <a:extLst>
                <a:ext uri="{FF2B5EF4-FFF2-40B4-BE49-F238E27FC236}">
                  <a16:creationId xmlns:a16="http://schemas.microsoft.com/office/drawing/2014/main" id="{A79019D5-3DE9-F3FE-BBDF-8BA0AF2500CD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3548063" y="330201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5" name="Freeform 244">
              <a:extLst>
                <a:ext uri="{FF2B5EF4-FFF2-40B4-BE49-F238E27FC236}">
                  <a16:creationId xmlns:a16="http://schemas.microsoft.com/office/drawing/2014/main" id="{010F5CBE-70C4-032D-C07C-EA6BE72E872B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686175" y="644526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6" name="Freeform 245">
              <a:extLst>
                <a:ext uri="{FF2B5EF4-FFF2-40B4-BE49-F238E27FC236}">
                  <a16:creationId xmlns:a16="http://schemas.microsoft.com/office/drawing/2014/main" id="{E7A1C9B5-05E0-AF7C-50B2-14180DACDAED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130550" y="806451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7" name="Freeform 246">
              <a:extLst>
                <a:ext uri="{FF2B5EF4-FFF2-40B4-BE49-F238E27FC236}">
                  <a16:creationId xmlns:a16="http://schemas.microsoft.com/office/drawing/2014/main" id="{3A29E8CE-88BD-767F-6496-15EEA15AA990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083050" y="1335088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8" name="Freeform 247">
              <a:extLst>
                <a:ext uri="{FF2B5EF4-FFF2-40B4-BE49-F238E27FC236}">
                  <a16:creationId xmlns:a16="http://schemas.microsoft.com/office/drawing/2014/main" id="{DC1B5FB3-049E-21F9-6DD1-2DDC24FFCA28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3690938" y="2127251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9" name="Freeform 248">
              <a:extLst>
                <a:ext uri="{FF2B5EF4-FFF2-40B4-BE49-F238E27FC236}">
                  <a16:creationId xmlns:a16="http://schemas.microsoft.com/office/drawing/2014/main" id="{2AAB1D39-7CEC-E2D5-4C2C-00E1DF517AAF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3627438" y="2295526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0" name="Freeform 249">
              <a:extLst>
                <a:ext uri="{FF2B5EF4-FFF2-40B4-BE49-F238E27FC236}">
                  <a16:creationId xmlns:a16="http://schemas.microsoft.com/office/drawing/2014/main" id="{67EFD686-A18D-494F-4E48-B5D084610AEB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3563938" y="2395538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1" name="Freeform 250">
              <a:extLst>
                <a:ext uri="{FF2B5EF4-FFF2-40B4-BE49-F238E27FC236}">
                  <a16:creationId xmlns:a16="http://schemas.microsoft.com/office/drawing/2014/main" id="{BEA42D3B-1292-96F5-427E-895507D68674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546475" y="2395538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2" name="Freeform 251">
              <a:extLst>
                <a:ext uri="{FF2B5EF4-FFF2-40B4-BE49-F238E27FC236}">
                  <a16:creationId xmlns:a16="http://schemas.microsoft.com/office/drawing/2014/main" id="{4021998B-C96C-6EC9-E0C4-63F3E60AABAF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079875" y="2800351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3" name="Freeform 252">
              <a:extLst>
                <a:ext uri="{FF2B5EF4-FFF2-40B4-BE49-F238E27FC236}">
                  <a16:creationId xmlns:a16="http://schemas.microsoft.com/office/drawing/2014/main" id="{7777913B-FE0A-0929-34D3-71EDBE6DA223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814763" y="3040063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4" name="Freeform 253">
              <a:extLst>
                <a:ext uri="{FF2B5EF4-FFF2-40B4-BE49-F238E27FC236}">
                  <a16:creationId xmlns:a16="http://schemas.microsoft.com/office/drawing/2014/main" id="{5DD093C7-9055-7F00-4AC8-D788198A3202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387850" y="2841626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5" name="Freeform 254">
              <a:extLst>
                <a:ext uri="{FF2B5EF4-FFF2-40B4-BE49-F238E27FC236}">
                  <a16:creationId xmlns:a16="http://schemas.microsoft.com/office/drawing/2014/main" id="{3A838885-FD67-5629-ED37-AFACD7080DF3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064000" y="2540001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6" name="Freeform 255">
              <a:extLst>
                <a:ext uri="{FF2B5EF4-FFF2-40B4-BE49-F238E27FC236}">
                  <a16:creationId xmlns:a16="http://schemas.microsoft.com/office/drawing/2014/main" id="{563D19CD-3749-6319-8D2C-236E82E9C083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052888" y="2500313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7" name="Freeform 256">
              <a:extLst>
                <a:ext uri="{FF2B5EF4-FFF2-40B4-BE49-F238E27FC236}">
                  <a16:creationId xmlns:a16="http://schemas.microsoft.com/office/drawing/2014/main" id="{8A643F82-AC26-104D-B870-79430FB23B87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362450" y="1200151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8" name="Freeform 257">
              <a:extLst>
                <a:ext uri="{FF2B5EF4-FFF2-40B4-BE49-F238E27FC236}">
                  <a16:creationId xmlns:a16="http://schemas.microsoft.com/office/drawing/2014/main" id="{153AAB7D-316E-3423-3B69-E360A460483B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4386263" y="1857376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9" name="Freeform 258">
              <a:extLst>
                <a:ext uri="{FF2B5EF4-FFF2-40B4-BE49-F238E27FC236}">
                  <a16:creationId xmlns:a16="http://schemas.microsoft.com/office/drawing/2014/main" id="{F7F8E7DE-BB63-1E47-8861-959E7FA05BD0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581525" y="1631951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0" name="Freeform 259">
              <a:extLst>
                <a:ext uri="{FF2B5EF4-FFF2-40B4-BE49-F238E27FC236}">
                  <a16:creationId xmlns:a16="http://schemas.microsoft.com/office/drawing/2014/main" id="{E2BFB396-795F-8F95-5323-ECD62C65480E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268788" y="1284288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1" name="Freeform 260">
              <a:extLst>
                <a:ext uri="{FF2B5EF4-FFF2-40B4-BE49-F238E27FC236}">
                  <a16:creationId xmlns:a16="http://schemas.microsoft.com/office/drawing/2014/main" id="{E8407FE2-303C-7D09-680B-FEC7391EABCF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768850" y="1244601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2" name="Freeform 261">
              <a:extLst>
                <a:ext uri="{FF2B5EF4-FFF2-40B4-BE49-F238E27FC236}">
                  <a16:creationId xmlns:a16="http://schemas.microsoft.com/office/drawing/2014/main" id="{63625E6A-E64B-5638-C36F-FD4543C08485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4800600" y="1293813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3" name="Freeform 262">
              <a:extLst>
                <a:ext uri="{FF2B5EF4-FFF2-40B4-BE49-F238E27FC236}">
                  <a16:creationId xmlns:a16="http://schemas.microsoft.com/office/drawing/2014/main" id="{DE2E969E-5707-56A6-B59C-19D431F63FCC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5591175" y="1562101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4" name="Freeform 263">
              <a:extLst>
                <a:ext uri="{FF2B5EF4-FFF2-40B4-BE49-F238E27FC236}">
                  <a16:creationId xmlns:a16="http://schemas.microsoft.com/office/drawing/2014/main" id="{D6A6BA54-C41F-B6D9-57E6-06D3F495338A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2914650" y="2071688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5" name="Freeform 264">
              <a:extLst>
                <a:ext uri="{FF2B5EF4-FFF2-40B4-BE49-F238E27FC236}">
                  <a16:creationId xmlns:a16="http://schemas.microsoft.com/office/drawing/2014/main" id="{32670E24-588B-4666-0465-092FE60E1F0E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2998788" y="2154238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6" name="Freeform 265">
              <a:extLst>
                <a:ext uri="{FF2B5EF4-FFF2-40B4-BE49-F238E27FC236}">
                  <a16:creationId xmlns:a16="http://schemas.microsoft.com/office/drawing/2014/main" id="{680A3C14-781B-C6F7-3FF1-FECF62623699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041650" y="2205038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7" name="Freeform 266">
              <a:extLst>
                <a:ext uri="{FF2B5EF4-FFF2-40B4-BE49-F238E27FC236}">
                  <a16:creationId xmlns:a16="http://schemas.microsoft.com/office/drawing/2014/main" id="{0298CE1B-C2C6-5857-98D2-CDE67A615F40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255963" y="2124076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8" name="Freeform 267">
              <a:extLst>
                <a:ext uri="{FF2B5EF4-FFF2-40B4-BE49-F238E27FC236}">
                  <a16:creationId xmlns:a16="http://schemas.microsoft.com/office/drawing/2014/main" id="{1BB2832A-C152-9BCB-D675-DA467E75B463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2908300" y="2039938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9" name="Freeform 268">
              <a:extLst>
                <a:ext uri="{FF2B5EF4-FFF2-40B4-BE49-F238E27FC236}">
                  <a16:creationId xmlns:a16="http://schemas.microsoft.com/office/drawing/2014/main" id="{D1362CC7-33F3-9082-A60E-2ADC4DF51CD5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333750" y="2117726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0" name="Freeform 269">
              <a:extLst>
                <a:ext uri="{FF2B5EF4-FFF2-40B4-BE49-F238E27FC236}">
                  <a16:creationId xmlns:a16="http://schemas.microsoft.com/office/drawing/2014/main" id="{69BA4BA4-EF15-09C6-983F-17A9A882F25B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3359150" y="2079626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1" name="Freeform 270">
              <a:extLst>
                <a:ext uri="{FF2B5EF4-FFF2-40B4-BE49-F238E27FC236}">
                  <a16:creationId xmlns:a16="http://schemas.microsoft.com/office/drawing/2014/main" id="{90BD9B92-175A-E59C-B325-0078F673F8C7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087813" y="3284538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2" name="Freeform 271">
              <a:extLst>
                <a:ext uri="{FF2B5EF4-FFF2-40B4-BE49-F238E27FC236}">
                  <a16:creationId xmlns:a16="http://schemas.microsoft.com/office/drawing/2014/main" id="{1C556DA5-7D4E-912E-D723-AE264400FD1C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3983038" y="338137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3" name="Freeform 272">
              <a:extLst>
                <a:ext uri="{FF2B5EF4-FFF2-40B4-BE49-F238E27FC236}">
                  <a16:creationId xmlns:a16="http://schemas.microsoft.com/office/drawing/2014/main" id="{31D5D9C4-EF95-E874-83A3-02618542E435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200775" y="1095376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4" name="Freeform 273">
              <a:extLst>
                <a:ext uri="{FF2B5EF4-FFF2-40B4-BE49-F238E27FC236}">
                  <a16:creationId xmlns:a16="http://schemas.microsoft.com/office/drawing/2014/main" id="{61D40D49-AD66-39F6-1EA7-CD4C4EC1DE3D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272088" y="1509713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5" name="Freeform 274">
              <a:extLst>
                <a:ext uri="{FF2B5EF4-FFF2-40B4-BE49-F238E27FC236}">
                  <a16:creationId xmlns:a16="http://schemas.microsoft.com/office/drawing/2014/main" id="{DF2961C2-BDA4-1CDC-F54A-32868E7F6E41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487988" y="1565276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6" name="Freeform 275">
              <a:extLst>
                <a:ext uri="{FF2B5EF4-FFF2-40B4-BE49-F238E27FC236}">
                  <a16:creationId xmlns:a16="http://schemas.microsoft.com/office/drawing/2014/main" id="{8B34913C-0AC7-FDCE-716F-7635F8349304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478463" y="1636713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7" name="Freeform 276">
              <a:extLst>
                <a:ext uri="{FF2B5EF4-FFF2-40B4-BE49-F238E27FC236}">
                  <a16:creationId xmlns:a16="http://schemas.microsoft.com/office/drawing/2014/main" id="{AABE9BF2-4BE5-C439-44EC-5E01E7DF7EE9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795963" y="1752601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8" name="Freeform 277">
              <a:extLst>
                <a:ext uri="{FF2B5EF4-FFF2-40B4-BE49-F238E27FC236}">
                  <a16:creationId xmlns:a16="http://schemas.microsoft.com/office/drawing/2014/main" id="{288203E3-49E8-AE93-1A74-F740C2918FC3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878513" y="2003426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9" name="Freeform 278">
              <a:extLst>
                <a:ext uri="{FF2B5EF4-FFF2-40B4-BE49-F238E27FC236}">
                  <a16:creationId xmlns:a16="http://schemas.microsoft.com/office/drawing/2014/main" id="{C9C26BBE-F070-3AD9-790A-C58A1778076D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280150" y="1239838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0" name="Freeform 279">
              <a:extLst>
                <a:ext uri="{FF2B5EF4-FFF2-40B4-BE49-F238E27FC236}">
                  <a16:creationId xmlns:a16="http://schemas.microsoft.com/office/drawing/2014/main" id="{F32005C6-B118-E0F4-6F55-D659D73014E3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848475" y="2536826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1" name="Freeform 280">
              <a:extLst>
                <a:ext uri="{FF2B5EF4-FFF2-40B4-BE49-F238E27FC236}">
                  <a16:creationId xmlns:a16="http://schemas.microsoft.com/office/drawing/2014/main" id="{81884991-3B68-0EA2-E3C6-ADC39DBB5443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040563" y="2520951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2" name="Freeform 281">
              <a:extLst>
                <a:ext uri="{FF2B5EF4-FFF2-40B4-BE49-F238E27FC236}">
                  <a16:creationId xmlns:a16="http://schemas.microsoft.com/office/drawing/2014/main" id="{E3131E90-8F98-5721-9041-029B973ED606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316538" y="2154238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13" name="Group 282">
              <a:extLst>
                <a:ext uri="{FF2B5EF4-FFF2-40B4-BE49-F238E27FC236}">
                  <a16:creationId xmlns:a16="http://schemas.microsoft.com/office/drawing/2014/main" id="{9C7A6427-D3D3-D064-376A-774487B66E3F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256338" y="1865313"/>
              <a:ext cx="233362" cy="439738"/>
              <a:chOff x="5062" y="2295"/>
              <a:chExt cx="177" cy="279"/>
            </a:xfrm>
          </p:grpSpPr>
          <p:sp>
            <p:nvSpPr>
              <p:cNvPr id="458" name="Freeform 283">
                <a:extLst>
                  <a:ext uri="{FF2B5EF4-FFF2-40B4-BE49-F238E27FC236}">
                    <a16:creationId xmlns:a16="http://schemas.microsoft.com/office/drawing/2014/main" id="{3C61FAA4-53BA-0291-1D7E-885B41E2E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9" name="Freeform 284">
                <a:extLst>
                  <a:ext uri="{FF2B5EF4-FFF2-40B4-BE49-F238E27FC236}">
                    <a16:creationId xmlns:a16="http://schemas.microsoft.com/office/drawing/2014/main" id="{B8B3210B-AAA1-189F-3876-A5AE11C34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0" name="Freeform 285">
                <a:extLst>
                  <a:ext uri="{FF2B5EF4-FFF2-40B4-BE49-F238E27FC236}">
                    <a16:creationId xmlns:a16="http://schemas.microsoft.com/office/drawing/2014/main" id="{D6A33DB3-5951-CF60-AFCD-EF1B4B15A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1" name="Freeform 286">
                <a:extLst>
                  <a:ext uri="{FF2B5EF4-FFF2-40B4-BE49-F238E27FC236}">
                    <a16:creationId xmlns:a16="http://schemas.microsoft.com/office/drawing/2014/main" id="{C92792B9-54CD-15B6-889C-223E0DF4F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2" name="Freeform 287">
                <a:extLst>
                  <a:ext uri="{FF2B5EF4-FFF2-40B4-BE49-F238E27FC236}">
                    <a16:creationId xmlns:a16="http://schemas.microsoft.com/office/drawing/2014/main" id="{A4D2862F-4392-F5DB-6334-86DF55C0C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3" name="Freeform 288">
                <a:extLst>
                  <a:ext uri="{FF2B5EF4-FFF2-40B4-BE49-F238E27FC236}">
                    <a16:creationId xmlns:a16="http://schemas.microsoft.com/office/drawing/2014/main" id="{C01A77EF-E896-D016-F6F9-A1EACBF6C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4" name="Freeform 289">
                <a:extLst>
                  <a:ext uri="{FF2B5EF4-FFF2-40B4-BE49-F238E27FC236}">
                    <a16:creationId xmlns:a16="http://schemas.microsoft.com/office/drawing/2014/main" id="{73484273-F62A-2EEE-925B-B955DC497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5" name="Freeform 290">
                <a:extLst>
                  <a:ext uri="{FF2B5EF4-FFF2-40B4-BE49-F238E27FC236}">
                    <a16:creationId xmlns:a16="http://schemas.microsoft.com/office/drawing/2014/main" id="{EB4E6668-697B-63A0-1DBA-676B59D42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6" name="Freeform 291">
                <a:extLst>
                  <a:ext uri="{FF2B5EF4-FFF2-40B4-BE49-F238E27FC236}">
                    <a16:creationId xmlns:a16="http://schemas.microsoft.com/office/drawing/2014/main" id="{056578BB-C10A-489D-8D30-705329E5B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7" name="Freeform 292">
                <a:extLst>
                  <a:ext uri="{FF2B5EF4-FFF2-40B4-BE49-F238E27FC236}">
                    <a16:creationId xmlns:a16="http://schemas.microsoft.com/office/drawing/2014/main" id="{2005B997-690B-E9B6-54F5-8148E9F03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8" name="Freeform 293">
                <a:extLst>
                  <a:ext uri="{FF2B5EF4-FFF2-40B4-BE49-F238E27FC236}">
                    <a16:creationId xmlns:a16="http://schemas.microsoft.com/office/drawing/2014/main" id="{C0DB9780-58C6-F085-7A34-09D0641C6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9" name="Freeform 294">
                <a:extLst>
                  <a:ext uri="{FF2B5EF4-FFF2-40B4-BE49-F238E27FC236}">
                    <a16:creationId xmlns:a16="http://schemas.microsoft.com/office/drawing/2014/main" id="{D224AE4B-C737-DE2F-0830-2D3636934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0" name="Freeform 295">
                <a:extLst>
                  <a:ext uri="{FF2B5EF4-FFF2-40B4-BE49-F238E27FC236}">
                    <a16:creationId xmlns:a16="http://schemas.microsoft.com/office/drawing/2014/main" id="{6524129E-AA0B-012D-D872-882091A4F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1" name="Freeform 296">
                <a:extLst>
                  <a:ext uri="{FF2B5EF4-FFF2-40B4-BE49-F238E27FC236}">
                    <a16:creationId xmlns:a16="http://schemas.microsoft.com/office/drawing/2014/main" id="{8D00B2F0-5FD1-1A5A-9FE8-D2F9D7391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2" name="Freeform 297">
                <a:extLst>
                  <a:ext uri="{FF2B5EF4-FFF2-40B4-BE49-F238E27FC236}">
                    <a16:creationId xmlns:a16="http://schemas.microsoft.com/office/drawing/2014/main" id="{2EDF68C6-AB27-468A-C767-23AE1935D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3" name="Line 298">
                <a:extLst>
                  <a:ext uri="{FF2B5EF4-FFF2-40B4-BE49-F238E27FC236}">
                    <a16:creationId xmlns:a16="http://schemas.microsoft.com/office/drawing/2014/main" id="{652447A3-92CA-ECE2-00BD-F8C3A21FD2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4" name="Freeform 299">
                <a:extLst>
                  <a:ext uri="{FF2B5EF4-FFF2-40B4-BE49-F238E27FC236}">
                    <a16:creationId xmlns:a16="http://schemas.microsoft.com/office/drawing/2014/main" id="{704D8EE0-4292-BA87-7631-664F9802E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5" name="Line 300">
                <a:extLst>
                  <a:ext uri="{FF2B5EF4-FFF2-40B4-BE49-F238E27FC236}">
                    <a16:creationId xmlns:a16="http://schemas.microsoft.com/office/drawing/2014/main" id="{4CB19DD4-BA00-EE7C-9735-076128A2EB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6" name="Freeform 301">
                <a:extLst>
                  <a:ext uri="{FF2B5EF4-FFF2-40B4-BE49-F238E27FC236}">
                    <a16:creationId xmlns:a16="http://schemas.microsoft.com/office/drawing/2014/main" id="{D15CAAB8-DD34-7047-F454-F56CF32E3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7" name="Freeform 302">
                <a:extLst>
                  <a:ext uri="{FF2B5EF4-FFF2-40B4-BE49-F238E27FC236}">
                    <a16:creationId xmlns:a16="http://schemas.microsoft.com/office/drawing/2014/main" id="{EAF148B3-BA5D-81BC-E2E2-720379A3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8" name="Freeform 303">
                <a:extLst>
                  <a:ext uri="{FF2B5EF4-FFF2-40B4-BE49-F238E27FC236}">
                    <a16:creationId xmlns:a16="http://schemas.microsoft.com/office/drawing/2014/main" id="{EE9700E3-91AD-96D6-C0B8-06ECE8244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9" name="Freeform 304">
                <a:extLst>
                  <a:ext uri="{FF2B5EF4-FFF2-40B4-BE49-F238E27FC236}">
                    <a16:creationId xmlns:a16="http://schemas.microsoft.com/office/drawing/2014/main" id="{69233A19-00C7-91C0-B611-04BC9637C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0" name="Freeform 305">
                <a:extLst>
                  <a:ext uri="{FF2B5EF4-FFF2-40B4-BE49-F238E27FC236}">
                    <a16:creationId xmlns:a16="http://schemas.microsoft.com/office/drawing/2014/main" id="{539D92F6-E1F5-C101-B50C-402FF25F4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1" name="Line 306">
                <a:extLst>
                  <a:ext uri="{FF2B5EF4-FFF2-40B4-BE49-F238E27FC236}">
                    <a16:creationId xmlns:a16="http://schemas.microsoft.com/office/drawing/2014/main" id="{FBAA37C7-04F2-6E1C-36E1-0DFF8555D8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14" name="Freeform 307">
              <a:extLst>
                <a:ext uri="{FF2B5EF4-FFF2-40B4-BE49-F238E27FC236}">
                  <a16:creationId xmlns:a16="http://schemas.microsoft.com/office/drawing/2014/main" id="{67088A85-BDE4-E37F-0106-4817DA43DFD3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6600825" y="2684463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5" name="Freeform 308">
              <a:extLst>
                <a:ext uri="{FF2B5EF4-FFF2-40B4-BE49-F238E27FC236}">
                  <a16:creationId xmlns:a16="http://schemas.microsoft.com/office/drawing/2014/main" id="{A6DE7F20-916B-E606-87B2-2FCBF957558D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677025" y="2624138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6" name="Freeform 309">
              <a:extLst>
                <a:ext uri="{FF2B5EF4-FFF2-40B4-BE49-F238E27FC236}">
                  <a16:creationId xmlns:a16="http://schemas.microsoft.com/office/drawing/2014/main" id="{85302EBA-B2AF-EBB6-A61B-0CE7C6A77F27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724650" y="2503488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7" name="Freeform 310">
              <a:extLst>
                <a:ext uri="{FF2B5EF4-FFF2-40B4-BE49-F238E27FC236}">
                  <a16:creationId xmlns:a16="http://schemas.microsoft.com/office/drawing/2014/main" id="{7FEBB36B-D6C4-C9D3-D539-69DA8AF7718A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708775" y="2473326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8" name="Freeform 311">
              <a:extLst>
                <a:ext uri="{FF2B5EF4-FFF2-40B4-BE49-F238E27FC236}">
                  <a16:creationId xmlns:a16="http://schemas.microsoft.com/office/drawing/2014/main" id="{9F0847AB-4E46-80F3-6D04-BE3315FA5CE7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534150" y="2370138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9" name="Freeform 312">
              <a:extLst>
                <a:ext uri="{FF2B5EF4-FFF2-40B4-BE49-F238E27FC236}">
                  <a16:creationId xmlns:a16="http://schemas.microsoft.com/office/drawing/2014/main" id="{AE294078-A7F3-33CB-0429-520BDEB813BB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461125" y="2505076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0" name="Freeform 313">
              <a:extLst>
                <a:ext uri="{FF2B5EF4-FFF2-40B4-BE49-F238E27FC236}">
                  <a16:creationId xmlns:a16="http://schemas.microsoft.com/office/drawing/2014/main" id="{6CF04EF6-CE0F-5808-2384-3764F101D85F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6469063" y="2690813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1" name="Freeform 314">
              <a:extLst>
                <a:ext uri="{FF2B5EF4-FFF2-40B4-BE49-F238E27FC236}">
                  <a16:creationId xmlns:a16="http://schemas.microsoft.com/office/drawing/2014/main" id="{CB01BFBD-F018-9242-3C87-9392EF9DC13A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581775" y="2509838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2" name="Freeform 315">
              <a:extLst>
                <a:ext uri="{FF2B5EF4-FFF2-40B4-BE49-F238E27FC236}">
                  <a16:creationId xmlns:a16="http://schemas.microsoft.com/office/drawing/2014/main" id="{67EC8C0C-C48D-02DA-9DD8-ED8E4626D2F5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442075" y="2505076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3" name="Freeform 316">
              <a:extLst>
                <a:ext uri="{FF2B5EF4-FFF2-40B4-BE49-F238E27FC236}">
                  <a16:creationId xmlns:a16="http://schemas.microsoft.com/office/drawing/2014/main" id="{55F36B68-921F-9E2A-36F2-41707655D67F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486525" y="2552701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4" name="Freeform 317">
              <a:extLst>
                <a:ext uri="{FF2B5EF4-FFF2-40B4-BE49-F238E27FC236}">
                  <a16:creationId xmlns:a16="http://schemas.microsoft.com/office/drawing/2014/main" id="{EC7118A9-93BE-C21F-A391-837D3177B3A4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288088" y="2755901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5" name="Freeform 318">
              <a:extLst>
                <a:ext uri="{FF2B5EF4-FFF2-40B4-BE49-F238E27FC236}">
                  <a16:creationId xmlns:a16="http://schemas.microsoft.com/office/drawing/2014/main" id="{11036C1C-EBF8-6709-5AB3-49A89687E34B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386513" y="2794001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6" name="Freeform 319">
              <a:extLst>
                <a:ext uri="{FF2B5EF4-FFF2-40B4-BE49-F238E27FC236}">
                  <a16:creationId xmlns:a16="http://schemas.microsoft.com/office/drawing/2014/main" id="{B0FAE6A1-9839-8726-6BE7-CDD305A1250F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219825" y="2725738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7" name="Freeform 320">
              <a:extLst>
                <a:ext uri="{FF2B5EF4-FFF2-40B4-BE49-F238E27FC236}">
                  <a16:creationId xmlns:a16="http://schemas.microsoft.com/office/drawing/2014/main" id="{E54C39BF-84C3-4282-C48D-03A865845FCB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264275" y="2711451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8" name="Freeform 321">
              <a:extLst>
                <a:ext uri="{FF2B5EF4-FFF2-40B4-BE49-F238E27FC236}">
                  <a16:creationId xmlns:a16="http://schemas.microsoft.com/office/drawing/2014/main" id="{4E7FB76F-8969-04B7-ECA9-AEB56163BF97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316663" y="2720976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9" name="Freeform 322">
              <a:extLst>
                <a:ext uri="{FF2B5EF4-FFF2-40B4-BE49-F238E27FC236}">
                  <a16:creationId xmlns:a16="http://schemas.microsoft.com/office/drawing/2014/main" id="{EB692C83-CA35-87B7-BE86-82DDC836E14D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6369050" y="2725738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0" name="Freeform 323">
              <a:extLst>
                <a:ext uri="{FF2B5EF4-FFF2-40B4-BE49-F238E27FC236}">
                  <a16:creationId xmlns:a16="http://schemas.microsoft.com/office/drawing/2014/main" id="{E6CF0C4C-3076-5250-B464-C50BA4514DE2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442075" y="2717801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1" name="Freeform 324">
              <a:extLst>
                <a:ext uri="{FF2B5EF4-FFF2-40B4-BE49-F238E27FC236}">
                  <a16:creationId xmlns:a16="http://schemas.microsoft.com/office/drawing/2014/main" id="{92A43264-2365-ABF2-04DA-8D3E2A7D75B8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016625" y="2532063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2" name="Freeform 325">
              <a:extLst>
                <a:ext uri="{FF2B5EF4-FFF2-40B4-BE49-F238E27FC236}">
                  <a16:creationId xmlns:a16="http://schemas.microsoft.com/office/drawing/2014/main" id="{A9422C03-19CE-B902-7984-9DA35E6052CB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5962650" y="2505076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3" name="Freeform 326">
              <a:extLst>
                <a:ext uri="{FF2B5EF4-FFF2-40B4-BE49-F238E27FC236}">
                  <a16:creationId xmlns:a16="http://schemas.microsoft.com/office/drawing/2014/main" id="{62C005B9-B04C-D05A-88F2-21D69D587084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5797550" y="2489201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4" name="Line 327" descr="Horizontal dunkel">
              <a:extLst>
                <a:ext uri="{FF2B5EF4-FFF2-40B4-BE49-F238E27FC236}">
                  <a16:creationId xmlns:a16="http://schemas.microsoft.com/office/drawing/2014/main" id="{99A51E93-A99D-C534-57A6-ABE1DC7F2CC1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5822950" y="2525713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5" name="Freeform 328">
              <a:extLst>
                <a:ext uri="{FF2B5EF4-FFF2-40B4-BE49-F238E27FC236}">
                  <a16:creationId xmlns:a16="http://schemas.microsoft.com/office/drawing/2014/main" id="{90327D70-7FA6-3876-B6D1-9A71E64381DE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819775" y="2525713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6" name="Freeform 329">
              <a:extLst>
                <a:ext uri="{FF2B5EF4-FFF2-40B4-BE49-F238E27FC236}">
                  <a16:creationId xmlns:a16="http://schemas.microsoft.com/office/drawing/2014/main" id="{DFAFCFCD-B812-CCB2-A5DE-7FB975C1CB47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5721350" y="2370138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7" name="Freeform 330">
              <a:extLst>
                <a:ext uri="{FF2B5EF4-FFF2-40B4-BE49-F238E27FC236}">
                  <a16:creationId xmlns:a16="http://schemas.microsoft.com/office/drawing/2014/main" id="{13D873E6-C814-4C4C-DDF8-9CBCB27E1E5D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249988" y="2733676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8" name="Freeform 331">
              <a:extLst>
                <a:ext uri="{FF2B5EF4-FFF2-40B4-BE49-F238E27FC236}">
                  <a16:creationId xmlns:a16="http://schemas.microsoft.com/office/drawing/2014/main" id="{25C88D74-E5D4-2C97-1DAB-1C985E7B550D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765925" y="2690813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9" name="Freeform 332">
              <a:extLst>
                <a:ext uri="{FF2B5EF4-FFF2-40B4-BE49-F238E27FC236}">
                  <a16:creationId xmlns:a16="http://schemas.microsoft.com/office/drawing/2014/main" id="{6C676FBC-27C9-C8A3-AC37-84907511FAB5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5703888" y="2273301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0" name="Freeform 333">
              <a:extLst>
                <a:ext uri="{FF2B5EF4-FFF2-40B4-BE49-F238E27FC236}">
                  <a16:creationId xmlns:a16="http://schemas.microsoft.com/office/drawing/2014/main" id="{34B41447-ED87-A111-4CAC-54DF67E3BE38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045200" y="2322513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1" name="Freeform 334">
              <a:extLst>
                <a:ext uri="{FF2B5EF4-FFF2-40B4-BE49-F238E27FC236}">
                  <a16:creationId xmlns:a16="http://schemas.microsoft.com/office/drawing/2014/main" id="{AC73E7B4-AF3F-7650-7E7F-3898F1576EA7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6400800" y="2728913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2" name="Freeform 335">
              <a:extLst>
                <a:ext uri="{FF2B5EF4-FFF2-40B4-BE49-F238E27FC236}">
                  <a16:creationId xmlns:a16="http://schemas.microsoft.com/office/drawing/2014/main" id="{E45FECBC-4998-8010-903A-2A1720ECB4CE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6516688" y="2395538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3" name="Freeform 336">
              <a:extLst>
                <a:ext uri="{FF2B5EF4-FFF2-40B4-BE49-F238E27FC236}">
                  <a16:creationId xmlns:a16="http://schemas.microsoft.com/office/drawing/2014/main" id="{1D612897-F25B-7D9A-7AB9-C23FF3BADE94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529388" y="2540001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4" name="Freeform 337">
              <a:extLst>
                <a:ext uri="{FF2B5EF4-FFF2-40B4-BE49-F238E27FC236}">
                  <a16:creationId xmlns:a16="http://schemas.microsoft.com/office/drawing/2014/main" id="{38CCB9E6-7B18-DA20-22CF-72A031F800BB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605588" y="2463801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5" name="Freeform 338">
              <a:extLst>
                <a:ext uri="{FF2B5EF4-FFF2-40B4-BE49-F238E27FC236}">
                  <a16:creationId xmlns:a16="http://schemas.microsoft.com/office/drawing/2014/main" id="{05C9B826-5CE4-D3B9-14F7-414A6A3D7317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294438" y="2401888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6" name="Freeform 339">
              <a:extLst>
                <a:ext uri="{FF2B5EF4-FFF2-40B4-BE49-F238E27FC236}">
                  <a16:creationId xmlns:a16="http://schemas.microsoft.com/office/drawing/2014/main" id="{641D1D4C-2E84-F9D2-40A4-347527DEE74A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959475" y="2643188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7" name="Freeform 340">
              <a:extLst>
                <a:ext uri="{FF2B5EF4-FFF2-40B4-BE49-F238E27FC236}">
                  <a16:creationId xmlns:a16="http://schemas.microsoft.com/office/drawing/2014/main" id="{C79770CD-998D-88BE-FAD4-C761B53713B4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640513" y="2500313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8" name="Freeform 341">
              <a:extLst>
                <a:ext uri="{FF2B5EF4-FFF2-40B4-BE49-F238E27FC236}">
                  <a16:creationId xmlns:a16="http://schemas.microsoft.com/office/drawing/2014/main" id="{D7D469F6-83C4-E6E8-8E44-80613EC92537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172075" y="1331913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9" name="Freeform 342">
              <a:extLst>
                <a:ext uri="{FF2B5EF4-FFF2-40B4-BE49-F238E27FC236}">
                  <a16:creationId xmlns:a16="http://schemas.microsoft.com/office/drawing/2014/main" id="{A877E48F-A461-8A04-49C7-10E8F56A7229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3629025" y="736601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0" name="Freeform 343">
              <a:extLst>
                <a:ext uri="{FF2B5EF4-FFF2-40B4-BE49-F238E27FC236}">
                  <a16:creationId xmlns:a16="http://schemas.microsoft.com/office/drawing/2014/main" id="{6F279E71-5C38-8F11-6756-2934A48F76DA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3692525" y="941388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1" name="Freeform 344">
              <a:extLst>
                <a:ext uri="{FF2B5EF4-FFF2-40B4-BE49-F238E27FC236}">
                  <a16:creationId xmlns:a16="http://schemas.microsoft.com/office/drawing/2014/main" id="{9143AE8C-58E8-D9F5-65DF-DB60C52C064C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792538" y="596901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2" name="Freeform 345">
              <a:extLst>
                <a:ext uri="{FF2B5EF4-FFF2-40B4-BE49-F238E27FC236}">
                  <a16:creationId xmlns:a16="http://schemas.microsoft.com/office/drawing/2014/main" id="{7C7394C8-9C20-F670-41D2-562ADE7A94D5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805238" y="944563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3" name="Freeform 346">
              <a:extLst>
                <a:ext uri="{FF2B5EF4-FFF2-40B4-BE49-F238E27FC236}">
                  <a16:creationId xmlns:a16="http://schemas.microsoft.com/office/drawing/2014/main" id="{876C17A1-8938-B31C-E8F3-E0D86BC3313D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1804988" y="1982788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4" name="Freeform 347">
              <a:extLst>
                <a:ext uri="{FF2B5EF4-FFF2-40B4-BE49-F238E27FC236}">
                  <a16:creationId xmlns:a16="http://schemas.microsoft.com/office/drawing/2014/main" id="{CB37CE36-025B-2470-A593-4C0FB797B15C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3910013" y="936626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5" name="Freeform 348">
              <a:extLst>
                <a:ext uri="{FF2B5EF4-FFF2-40B4-BE49-F238E27FC236}">
                  <a16:creationId xmlns:a16="http://schemas.microsoft.com/office/drawing/2014/main" id="{2B5F9080-DC26-E45F-53FC-7BAC655527ED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3827463" y="819151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6" name="Freeform 349">
              <a:extLst>
                <a:ext uri="{FF2B5EF4-FFF2-40B4-BE49-F238E27FC236}">
                  <a16:creationId xmlns:a16="http://schemas.microsoft.com/office/drawing/2014/main" id="{8FBADB18-E7B5-7EFD-56EA-31BA9A2CC2EC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4338638" y="1162051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7" name="Freeform 350">
              <a:extLst>
                <a:ext uri="{FF2B5EF4-FFF2-40B4-BE49-F238E27FC236}">
                  <a16:creationId xmlns:a16="http://schemas.microsoft.com/office/drawing/2014/main" id="{DE902DE4-668D-81EB-4163-14588AC8949B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881563" y="1176338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8" name="Freeform 351">
              <a:extLst>
                <a:ext uri="{FF2B5EF4-FFF2-40B4-BE49-F238E27FC236}">
                  <a16:creationId xmlns:a16="http://schemas.microsoft.com/office/drawing/2014/main" id="{CAA1B1A6-0EC9-4396-0557-2B64BEEB6DAD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930775" y="1104901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9" name="Freeform 352">
              <a:extLst>
                <a:ext uri="{FF2B5EF4-FFF2-40B4-BE49-F238E27FC236}">
                  <a16:creationId xmlns:a16="http://schemas.microsoft.com/office/drawing/2014/main" id="{5B7239DF-0269-EE5E-15DF-6855E2A4BBF7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537075" y="1120776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0" name="Freeform 353">
              <a:extLst>
                <a:ext uri="{FF2B5EF4-FFF2-40B4-BE49-F238E27FC236}">
                  <a16:creationId xmlns:a16="http://schemas.microsoft.com/office/drawing/2014/main" id="{B114908A-9F46-F68A-8ABF-62C07FA8EF61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3746500" y="1008063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1" name="Freeform 354">
              <a:extLst>
                <a:ext uri="{FF2B5EF4-FFF2-40B4-BE49-F238E27FC236}">
                  <a16:creationId xmlns:a16="http://schemas.microsoft.com/office/drawing/2014/main" id="{9975A7B4-1CE3-B6DB-DCB2-51DEA45B781C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3794125" y="1116013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2" name="Freeform 355">
              <a:extLst>
                <a:ext uri="{FF2B5EF4-FFF2-40B4-BE49-F238E27FC236}">
                  <a16:creationId xmlns:a16="http://schemas.microsoft.com/office/drawing/2014/main" id="{06247DBA-4945-8FA9-747D-50A9FA818530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3878263" y="1739901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3" name="Freeform 356">
              <a:extLst>
                <a:ext uri="{FF2B5EF4-FFF2-40B4-BE49-F238E27FC236}">
                  <a16:creationId xmlns:a16="http://schemas.microsoft.com/office/drawing/2014/main" id="{7A5357B9-5E47-EE28-23E7-2102D71BE27D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362450" y="2079626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4" name="Freeform 357">
              <a:extLst>
                <a:ext uri="{FF2B5EF4-FFF2-40B4-BE49-F238E27FC236}">
                  <a16:creationId xmlns:a16="http://schemas.microsoft.com/office/drawing/2014/main" id="{B0F1D82D-1AF2-177E-07B6-3D8D2FD7609D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370388" y="2066926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5" name="Freeform 358">
              <a:extLst>
                <a:ext uri="{FF2B5EF4-FFF2-40B4-BE49-F238E27FC236}">
                  <a16:creationId xmlns:a16="http://schemas.microsoft.com/office/drawing/2014/main" id="{AA3E791A-CCBE-E1E2-98C3-7364145BCB35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168775" y="1978026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6" name="Line 359">
              <a:extLst>
                <a:ext uri="{FF2B5EF4-FFF2-40B4-BE49-F238E27FC236}">
                  <a16:creationId xmlns:a16="http://schemas.microsoft.com/office/drawing/2014/main" id="{2820F169-38F8-F593-59EA-C2E2AD1E66C8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028700" y="2497138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7" name="Freeform 360">
              <a:extLst>
                <a:ext uri="{FF2B5EF4-FFF2-40B4-BE49-F238E27FC236}">
                  <a16:creationId xmlns:a16="http://schemas.microsoft.com/office/drawing/2014/main" id="{B088AE9C-4282-FA92-C8F9-FD0BC573A362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028700" y="2505076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8" name="Freeform 361">
              <a:extLst>
                <a:ext uri="{FF2B5EF4-FFF2-40B4-BE49-F238E27FC236}">
                  <a16:creationId xmlns:a16="http://schemas.microsoft.com/office/drawing/2014/main" id="{21AFE8F5-1B69-BEBD-B110-B68DEC75EC84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036638" y="2492376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69" name="Group 362">
              <a:extLst>
                <a:ext uri="{FF2B5EF4-FFF2-40B4-BE49-F238E27FC236}">
                  <a16:creationId xmlns:a16="http://schemas.microsoft.com/office/drawing/2014/main" id="{72348AD3-9D2A-5C82-E10B-81A9C9DF1174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028700" y="2427288"/>
              <a:ext cx="417513" cy="201613"/>
              <a:chOff x="912" y="2626"/>
              <a:chExt cx="311" cy="127"/>
            </a:xfrm>
          </p:grpSpPr>
          <p:sp>
            <p:nvSpPr>
              <p:cNvPr id="455" name="Freeform 363">
                <a:extLst>
                  <a:ext uri="{FF2B5EF4-FFF2-40B4-BE49-F238E27FC236}">
                    <a16:creationId xmlns:a16="http://schemas.microsoft.com/office/drawing/2014/main" id="{DAB59DE0-A298-8B8B-4938-E501501BA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6" name="Freeform 364">
                <a:extLst>
                  <a:ext uri="{FF2B5EF4-FFF2-40B4-BE49-F238E27FC236}">
                    <a16:creationId xmlns:a16="http://schemas.microsoft.com/office/drawing/2014/main" id="{A7A06F91-B0E5-6F4F-F9BD-0B8FF4635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7" name="Freeform 365">
                <a:extLst>
                  <a:ext uri="{FF2B5EF4-FFF2-40B4-BE49-F238E27FC236}">
                    <a16:creationId xmlns:a16="http://schemas.microsoft.com/office/drawing/2014/main" id="{40035242-5180-17C4-8D0C-26CD477D3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70" name="Freeform 366">
              <a:extLst>
                <a:ext uri="{FF2B5EF4-FFF2-40B4-BE49-F238E27FC236}">
                  <a16:creationId xmlns:a16="http://schemas.microsoft.com/office/drawing/2014/main" id="{89EB732E-AFC2-6D95-865F-1BD35D89E501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4676775" y="3144838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1" name="Freeform 367">
              <a:extLst>
                <a:ext uri="{FF2B5EF4-FFF2-40B4-BE49-F238E27FC236}">
                  <a16:creationId xmlns:a16="http://schemas.microsoft.com/office/drawing/2014/main" id="{25465F60-8DDF-D708-6E65-F63C35910904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648200" y="3171826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72" name="Group 368">
              <a:extLst>
                <a:ext uri="{FF2B5EF4-FFF2-40B4-BE49-F238E27FC236}">
                  <a16:creationId xmlns:a16="http://schemas.microsoft.com/office/drawing/2014/main" id="{EBA7532B-E7D0-C4D2-6AB0-C639A4FCD09D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4489450" y="2663826"/>
              <a:ext cx="168275" cy="103187"/>
              <a:chOff x="3481" y="2773"/>
              <a:chExt cx="125" cy="65"/>
            </a:xfrm>
          </p:grpSpPr>
          <p:sp>
            <p:nvSpPr>
              <p:cNvPr id="444" name="Freeform 369">
                <a:extLst>
                  <a:ext uri="{FF2B5EF4-FFF2-40B4-BE49-F238E27FC236}">
                    <a16:creationId xmlns:a16="http://schemas.microsoft.com/office/drawing/2014/main" id="{38732F8F-279F-3D53-9272-FDF95D541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5" name="Line 370">
                <a:extLst>
                  <a:ext uri="{FF2B5EF4-FFF2-40B4-BE49-F238E27FC236}">
                    <a16:creationId xmlns:a16="http://schemas.microsoft.com/office/drawing/2014/main" id="{0ED20203-F20F-931B-8F62-772E561D14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6" name="Freeform 371">
                <a:extLst>
                  <a:ext uri="{FF2B5EF4-FFF2-40B4-BE49-F238E27FC236}">
                    <a16:creationId xmlns:a16="http://schemas.microsoft.com/office/drawing/2014/main" id="{CD9495DF-B027-A2D0-9B5D-4651D27E4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7" name="Freeform 372">
                <a:extLst>
                  <a:ext uri="{FF2B5EF4-FFF2-40B4-BE49-F238E27FC236}">
                    <a16:creationId xmlns:a16="http://schemas.microsoft.com/office/drawing/2014/main" id="{4F784A75-25C7-4A9F-96C5-A5F5EE992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8" name="Freeform 373">
                <a:extLst>
                  <a:ext uri="{FF2B5EF4-FFF2-40B4-BE49-F238E27FC236}">
                    <a16:creationId xmlns:a16="http://schemas.microsoft.com/office/drawing/2014/main" id="{7B2ABE3F-1D9F-0223-779C-78B9A30EF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9" name="Line 374">
                <a:extLst>
                  <a:ext uri="{FF2B5EF4-FFF2-40B4-BE49-F238E27FC236}">
                    <a16:creationId xmlns:a16="http://schemas.microsoft.com/office/drawing/2014/main" id="{A24B0984-DCF0-85AD-BF2F-9D780BA56F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0" name="Freeform 375">
                <a:extLst>
                  <a:ext uri="{FF2B5EF4-FFF2-40B4-BE49-F238E27FC236}">
                    <a16:creationId xmlns:a16="http://schemas.microsoft.com/office/drawing/2014/main" id="{0BF4FE94-F11C-E373-6D5E-EA99D09E5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1" name="Freeform 376">
                <a:extLst>
                  <a:ext uri="{FF2B5EF4-FFF2-40B4-BE49-F238E27FC236}">
                    <a16:creationId xmlns:a16="http://schemas.microsoft.com/office/drawing/2014/main" id="{BE4BFA36-8A25-D467-79F9-CD620EA96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2" name="Freeform 377">
                <a:extLst>
                  <a:ext uri="{FF2B5EF4-FFF2-40B4-BE49-F238E27FC236}">
                    <a16:creationId xmlns:a16="http://schemas.microsoft.com/office/drawing/2014/main" id="{97CB0699-2049-A2A0-5F12-EFBC78113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3" name="Freeform 378">
                <a:extLst>
                  <a:ext uri="{FF2B5EF4-FFF2-40B4-BE49-F238E27FC236}">
                    <a16:creationId xmlns:a16="http://schemas.microsoft.com/office/drawing/2014/main" id="{2CD17848-5405-1AF4-A3C3-0B7DD0FFB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4" name="Freeform 379">
                <a:extLst>
                  <a:ext uri="{FF2B5EF4-FFF2-40B4-BE49-F238E27FC236}">
                    <a16:creationId xmlns:a16="http://schemas.microsoft.com/office/drawing/2014/main" id="{4084C0F8-2915-3C93-198B-8212B6321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73" name="Freeform 380">
              <a:extLst>
                <a:ext uri="{FF2B5EF4-FFF2-40B4-BE49-F238E27FC236}">
                  <a16:creationId xmlns:a16="http://schemas.microsoft.com/office/drawing/2014/main" id="{21A62A21-D663-A9CA-3221-E4C965CAF481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3617913" y="2655888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4" name="Freeform 381">
              <a:extLst>
                <a:ext uri="{FF2B5EF4-FFF2-40B4-BE49-F238E27FC236}">
                  <a16:creationId xmlns:a16="http://schemas.microsoft.com/office/drawing/2014/main" id="{18B5CE4F-43DE-49C9-1B6F-6760BB418C56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3629025" y="2628901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5" name="Freeform 382">
              <a:extLst>
                <a:ext uri="{FF2B5EF4-FFF2-40B4-BE49-F238E27FC236}">
                  <a16:creationId xmlns:a16="http://schemas.microsoft.com/office/drawing/2014/main" id="{9A4F0E1A-2A45-FE88-7924-A7C38892BE08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3730625" y="3171826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6" name="Freeform 383">
              <a:extLst>
                <a:ext uri="{FF2B5EF4-FFF2-40B4-BE49-F238E27FC236}">
                  <a16:creationId xmlns:a16="http://schemas.microsoft.com/office/drawing/2014/main" id="{28EF3A7D-5F29-11CC-F646-3001DC577FD5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3878263" y="1739901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77" name="Group 384">
              <a:extLst>
                <a:ext uri="{FF2B5EF4-FFF2-40B4-BE49-F238E27FC236}">
                  <a16:creationId xmlns:a16="http://schemas.microsoft.com/office/drawing/2014/main" id="{C0454521-0E22-A46F-6CE2-5C89DC83F52B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2662238" y="1941513"/>
              <a:ext cx="80962" cy="82550"/>
              <a:chOff x="2352" y="2343"/>
              <a:chExt cx="65" cy="53"/>
            </a:xfrm>
          </p:grpSpPr>
          <p:sp>
            <p:nvSpPr>
              <p:cNvPr id="438" name="Freeform 385">
                <a:extLst>
                  <a:ext uri="{FF2B5EF4-FFF2-40B4-BE49-F238E27FC236}">
                    <a16:creationId xmlns:a16="http://schemas.microsoft.com/office/drawing/2014/main" id="{AB8779A3-EB2D-D85A-7DCA-DC518834F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9" name="Freeform 386">
                <a:extLst>
                  <a:ext uri="{FF2B5EF4-FFF2-40B4-BE49-F238E27FC236}">
                    <a16:creationId xmlns:a16="http://schemas.microsoft.com/office/drawing/2014/main" id="{ED838AEC-1AE1-C232-3F17-472082136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0" name="Freeform 387">
                <a:extLst>
                  <a:ext uri="{FF2B5EF4-FFF2-40B4-BE49-F238E27FC236}">
                    <a16:creationId xmlns:a16="http://schemas.microsoft.com/office/drawing/2014/main" id="{9EEE60B0-73E9-5ECC-2859-630049AEF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1" name="Freeform 388">
                <a:extLst>
                  <a:ext uri="{FF2B5EF4-FFF2-40B4-BE49-F238E27FC236}">
                    <a16:creationId xmlns:a16="http://schemas.microsoft.com/office/drawing/2014/main" id="{E9C79B50-7CF5-6DEB-BAA2-838C1B02D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2" name="Freeform 389">
                <a:extLst>
                  <a:ext uri="{FF2B5EF4-FFF2-40B4-BE49-F238E27FC236}">
                    <a16:creationId xmlns:a16="http://schemas.microsoft.com/office/drawing/2014/main" id="{F732736E-AA8B-14B1-0449-66654F66A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3" name="Freeform 390">
                <a:extLst>
                  <a:ext uri="{FF2B5EF4-FFF2-40B4-BE49-F238E27FC236}">
                    <a16:creationId xmlns:a16="http://schemas.microsoft.com/office/drawing/2014/main" id="{4F0CCBB1-6245-7F62-58FE-0E79DD9F0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grpSp>
          <p:nvGrpSpPr>
            <p:cNvPr id="278" name="Group 391">
              <a:extLst>
                <a:ext uri="{FF2B5EF4-FFF2-40B4-BE49-F238E27FC236}">
                  <a16:creationId xmlns:a16="http://schemas.microsoft.com/office/drawing/2014/main" id="{C014C4C1-F919-B1C4-CA85-15B82D3AC410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508000" y="1588"/>
              <a:ext cx="1897063" cy="1133475"/>
              <a:chOff x="527" y="1110"/>
              <a:chExt cx="1410" cy="709"/>
            </a:xfrm>
          </p:grpSpPr>
          <p:sp>
            <p:nvSpPr>
              <p:cNvPr id="396" name="Freeform 392">
                <a:extLst>
                  <a:ext uri="{FF2B5EF4-FFF2-40B4-BE49-F238E27FC236}">
                    <a16:creationId xmlns:a16="http://schemas.microsoft.com/office/drawing/2014/main" id="{427ED536-9232-7969-F512-8FE8CA2EA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7" name="Freeform 393">
                <a:extLst>
                  <a:ext uri="{FF2B5EF4-FFF2-40B4-BE49-F238E27FC236}">
                    <a16:creationId xmlns:a16="http://schemas.microsoft.com/office/drawing/2014/main" id="{CA508447-2951-99ED-916D-78C598646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8" name="Freeform 394">
                <a:extLst>
                  <a:ext uri="{FF2B5EF4-FFF2-40B4-BE49-F238E27FC236}">
                    <a16:creationId xmlns:a16="http://schemas.microsoft.com/office/drawing/2014/main" id="{67AD6319-4FE7-942E-CCEA-68F783430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9" name="Freeform 395">
                <a:extLst>
                  <a:ext uri="{FF2B5EF4-FFF2-40B4-BE49-F238E27FC236}">
                    <a16:creationId xmlns:a16="http://schemas.microsoft.com/office/drawing/2014/main" id="{F03E09FF-8C6B-3EA5-8C23-4D939FCE6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0" name="Freeform 396">
                <a:extLst>
                  <a:ext uri="{FF2B5EF4-FFF2-40B4-BE49-F238E27FC236}">
                    <a16:creationId xmlns:a16="http://schemas.microsoft.com/office/drawing/2014/main" id="{382076A9-6E19-3C22-2E47-40020F276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1" name="Freeform 397">
                <a:extLst>
                  <a:ext uri="{FF2B5EF4-FFF2-40B4-BE49-F238E27FC236}">
                    <a16:creationId xmlns:a16="http://schemas.microsoft.com/office/drawing/2014/main" id="{CE49A581-5252-4A88-608B-368EB7E2C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2" name="Freeform 398">
                <a:extLst>
                  <a:ext uri="{FF2B5EF4-FFF2-40B4-BE49-F238E27FC236}">
                    <a16:creationId xmlns:a16="http://schemas.microsoft.com/office/drawing/2014/main" id="{2748787B-4522-18C1-F63C-C81C5EAE7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3" name="Freeform 399">
                <a:extLst>
                  <a:ext uri="{FF2B5EF4-FFF2-40B4-BE49-F238E27FC236}">
                    <a16:creationId xmlns:a16="http://schemas.microsoft.com/office/drawing/2014/main" id="{42933E9F-DBBA-3B62-C69E-8B6053DAD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4" name="Freeform 400">
                <a:extLst>
                  <a:ext uri="{FF2B5EF4-FFF2-40B4-BE49-F238E27FC236}">
                    <a16:creationId xmlns:a16="http://schemas.microsoft.com/office/drawing/2014/main" id="{1DDB1DAB-9F28-A59D-1D96-F4D7EFCC3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5" name="Freeform 401">
                <a:extLst>
                  <a:ext uri="{FF2B5EF4-FFF2-40B4-BE49-F238E27FC236}">
                    <a16:creationId xmlns:a16="http://schemas.microsoft.com/office/drawing/2014/main" id="{5B1E0A5C-0CF2-C5E5-5E77-F5119FDA5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6" name="Freeform 402">
                <a:extLst>
                  <a:ext uri="{FF2B5EF4-FFF2-40B4-BE49-F238E27FC236}">
                    <a16:creationId xmlns:a16="http://schemas.microsoft.com/office/drawing/2014/main" id="{7450A62A-1069-5003-365F-61E57A7FC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7" name="Freeform 403">
                <a:extLst>
                  <a:ext uri="{FF2B5EF4-FFF2-40B4-BE49-F238E27FC236}">
                    <a16:creationId xmlns:a16="http://schemas.microsoft.com/office/drawing/2014/main" id="{1D903568-59EE-53B8-839D-79D906995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8" name="Freeform 404">
                <a:extLst>
                  <a:ext uri="{FF2B5EF4-FFF2-40B4-BE49-F238E27FC236}">
                    <a16:creationId xmlns:a16="http://schemas.microsoft.com/office/drawing/2014/main" id="{33DA01ED-79A6-FA14-3606-7ED8954FA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9" name="Freeform 405">
                <a:extLst>
                  <a:ext uri="{FF2B5EF4-FFF2-40B4-BE49-F238E27FC236}">
                    <a16:creationId xmlns:a16="http://schemas.microsoft.com/office/drawing/2014/main" id="{F0E0F7CB-F9E9-590C-4C76-0B3A6EB35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0" name="Freeform 406">
                <a:extLst>
                  <a:ext uri="{FF2B5EF4-FFF2-40B4-BE49-F238E27FC236}">
                    <a16:creationId xmlns:a16="http://schemas.microsoft.com/office/drawing/2014/main" id="{2CD2F1FC-0C25-86E5-988D-6698757A2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1" name="Freeform 407">
                <a:extLst>
                  <a:ext uri="{FF2B5EF4-FFF2-40B4-BE49-F238E27FC236}">
                    <a16:creationId xmlns:a16="http://schemas.microsoft.com/office/drawing/2014/main" id="{F039CC55-1B1D-3A0B-44C3-4D4EE0670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2" name="Freeform 408">
                <a:extLst>
                  <a:ext uri="{FF2B5EF4-FFF2-40B4-BE49-F238E27FC236}">
                    <a16:creationId xmlns:a16="http://schemas.microsoft.com/office/drawing/2014/main" id="{E6D89D43-F15A-F09B-66D3-9609AE65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3" name="Freeform 409">
                <a:extLst>
                  <a:ext uri="{FF2B5EF4-FFF2-40B4-BE49-F238E27FC236}">
                    <a16:creationId xmlns:a16="http://schemas.microsoft.com/office/drawing/2014/main" id="{641642E2-8598-14D4-0F3C-D6D7999BF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4" name="Freeform 410">
                <a:extLst>
                  <a:ext uri="{FF2B5EF4-FFF2-40B4-BE49-F238E27FC236}">
                    <a16:creationId xmlns:a16="http://schemas.microsoft.com/office/drawing/2014/main" id="{DF44BA96-D590-25AA-2390-7F31B8E2F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5" name="Freeform 411">
                <a:extLst>
                  <a:ext uri="{FF2B5EF4-FFF2-40B4-BE49-F238E27FC236}">
                    <a16:creationId xmlns:a16="http://schemas.microsoft.com/office/drawing/2014/main" id="{0364411A-342E-D3EF-BCB8-7D053A97E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6" name="Freeform 412">
                <a:extLst>
                  <a:ext uri="{FF2B5EF4-FFF2-40B4-BE49-F238E27FC236}">
                    <a16:creationId xmlns:a16="http://schemas.microsoft.com/office/drawing/2014/main" id="{43331A34-8DCB-0A08-7C7B-EEAB3A062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7" name="Freeform 413">
                <a:extLst>
                  <a:ext uri="{FF2B5EF4-FFF2-40B4-BE49-F238E27FC236}">
                    <a16:creationId xmlns:a16="http://schemas.microsoft.com/office/drawing/2014/main" id="{B6E47099-3B7A-AE99-BC67-BB28C0420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8" name="Freeform 414">
                <a:extLst>
                  <a:ext uri="{FF2B5EF4-FFF2-40B4-BE49-F238E27FC236}">
                    <a16:creationId xmlns:a16="http://schemas.microsoft.com/office/drawing/2014/main" id="{9B3280D4-DB92-6FC0-7D28-47FF5AA7A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9" name="Freeform 415">
                <a:extLst>
                  <a:ext uri="{FF2B5EF4-FFF2-40B4-BE49-F238E27FC236}">
                    <a16:creationId xmlns:a16="http://schemas.microsoft.com/office/drawing/2014/main" id="{FB962F6D-CDD5-7630-070F-49D16CA20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0" name="Freeform 416">
                <a:extLst>
                  <a:ext uri="{FF2B5EF4-FFF2-40B4-BE49-F238E27FC236}">
                    <a16:creationId xmlns:a16="http://schemas.microsoft.com/office/drawing/2014/main" id="{2A9CBFBC-A2FD-B623-EEF2-EFFD63DB1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1" name="Freeform 417">
                <a:extLst>
                  <a:ext uri="{FF2B5EF4-FFF2-40B4-BE49-F238E27FC236}">
                    <a16:creationId xmlns:a16="http://schemas.microsoft.com/office/drawing/2014/main" id="{7C57B822-72D6-D200-14D2-6BA390157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2" name="Freeform 418">
                <a:extLst>
                  <a:ext uri="{FF2B5EF4-FFF2-40B4-BE49-F238E27FC236}">
                    <a16:creationId xmlns:a16="http://schemas.microsoft.com/office/drawing/2014/main" id="{1EF049E4-6F26-89E4-DEEB-1AB4E9BF6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3" name="Freeform 419">
                <a:extLst>
                  <a:ext uri="{FF2B5EF4-FFF2-40B4-BE49-F238E27FC236}">
                    <a16:creationId xmlns:a16="http://schemas.microsoft.com/office/drawing/2014/main" id="{39F0D04D-4AF0-381F-7614-6F4CAEA90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4" name="Freeform 420">
                <a:extLst>
                  <a:ext uri="{FF2B5EF4-FFF2-40B4-BE49-F238E27FC236}">
                    <a16:creationId xmlns:a16="http://schemas.microsoft.com/office/drawing/2014/main" id="{C095DDBE-7FF0-F132-5B0C-A7B8709BC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5" name="Freeform 421">
                <a:extLst>
                  <a:ext uri="{FF2B5EF4-FFF2-40B4-BE49-F238E27FC236}">
                    <a16:creationId xmlns:a16="http://schemas.microsoft.com/office/drawing/2014/main" id="{BFDABA9C-D7ED-E570-61A2-32CC5DAB0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6" name="Freeform 422">
                <a:extLst>
                  <a:ext uri="{FF2B5EF4-FFF2-40B4-BE49-F238E27FC236}">
                    <a16:creationId xmlns:a16="http://schemas.microsoft.com/office/drawing/2014/main" id="{9356A775-B216-4897-1060-14D8F6564E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7" name="Freeform 423">
                <a:extLst>
                  <a:ext uri="{FF2B5EF4-FFF2-40B4-BE49-F238E27FC236}">
                    <a16:creationId xmlns:a16="http://schemas.microsoft.com/office/drawing/2014/main" id="{D7C4C42F-BFA2-AA05-6FD7-367F92E70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8" name="Freeform 424">
                <a:extLst>
                  <a:ext uri="{FF2B5EF4-FFF2-40B4-BE49-F238E27FC236}">
                    <a16:creationId xmlns:a16="http://schemas.microsoft.com/office/drawing/2014/main" id="{57645FAD-5D3D-65BA-2F98-62DCE14E0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9" name="Freeform 425">
                <a:extLst>
                  <a:ext uri="{FF2B5EF4-FFF2-40B4-BE49-F238E27FC236}">
                    <a16:creationId xmlns:a16="http://schemas.microsoft.com/office/drawing/2014/main" id="{E9BAFC80-0AC5-95AC-768A-100B00769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0" name="Freeform 426">
                <a:extLst>
                  <a:ext uri="{FF2B5EF4-FFF2-40B4-BE49-F238E27FC236}">
                    <a16:creationId xmlns:a16="http://schemas.microsoft.com/office/drawing/2014/main" id="{8E7D0CF9-B00B-071B-592C-72ECAE82B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1" name="Freeform 427">
                <a:extLst>
                  <a:ext uri="{FF2B5EF4-FFF2-40B4-BE49-F238E27FC236}">
                    <a16:creationId xmlns:a16="http://schemas.microsoft.com/office/drawing/2014/main" id="{A3068776-549C-76CE-04FB-0A8637EEF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2" name="Freeform 428">
                <a:extLst>
                  <a:ext uri="{FF2B5EF4-FFF2-40B4-BE49-F238E27FC236}">
                    <a16:creationId xmlns:a16="http://schemas.microsoft.com/office/drawing/2014/main" id="{6E9EDDDC-3F71-122C-112A-E6CCADD15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3" name="Freeform 429">
                <a:extLst>
                  <a:ext uri="{FF2B5EF4-FFF2-40B4-BE49-F238E27FC236}">
                    <a16:creationId xmlns:a16="http://schemas.microsoft.com/office/drawing/2014/main" id="{C9373AB6-B660-CD85-5154-109157D93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4" name="Freeform 430">
                <a:extLst>
                  <a:ext uri="{FF2B5EF4-FFF2-40B4-BE49-F238E27FC236}">
                    <a16:creationId xmlns:a16="http://schemas.microsoft.com/office/drawing/2014/main" id="{B0BBB8BE-C0A4-B201-D3F1-D737F4EF0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5" name="Freeform 431">
                <a:extLst>
                  <a:ext uri="{FF2B5EF4-FFF2-40B4-BE49-F238E27FC236}">
                    <a16:creationId xmlns:a16="http://schemas.microsoft.com/office/drawing/2014/main" id="{FE8AD634-5883-A64E-9384-232DEAED4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6" name="Freeform 432">
                <a:extLst>
                  <a:ext uri="{FF2B5EF4-FFF2-40B4-BE49-F238E27FC236}">
                    <a16:creationId xmlns:a16="http://schemas.microsoft.com/office/drawing/2014/main" id="{97EB946D-16A1-6CC3-F7A7-B83F8D9BF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7" name="Freeform 433">
                <a:extLst>
                  <a:ext uri="{FF2B5EF4-FFF2-40B4-BE49-F238E27FC236}">
                    <a16:creationId xmlns:a16="http://schemas.microsoft.com/office/drawing/2014/main" id="{143F9045-4595-AA4C-1C9D-4EA946D26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79" name="Freeform 434">
              <a:extLst>
                <a:ext uri="{FF2B5EF4-FFF2-40B4-BE49-F238E27FC236}">
                  <a16:creationId xmlns:a16="http://schemas.microsoft.com/office/drawing/2014/main" id="{C7C91B1A-2F1D-D981-BCFE-FEDAD100C670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078288" y="2346326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0" name="Freeform 435">
              <a:extLst>
                <a:ext uri="{FF2B5EF4-FFF2-40B4-BE49-F238E27FC236}">
                  <a16:creationId xmlns:a16="http://schemas.microsoft.com/office/drawing/2014/main" id="{BE8910F7-7053-8F83-9E24-0FD56F87CB5A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184650" y="2497138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1" name="Freeform 436">
              <a:extLst>
                <a:ext uri="{FF2B5EF4-FFF2-40B4-BE49-F238E27FC236}">
                  <a16:creationId xmlns:a16="http://schemas.microsoft.com/office/drawing/2014/main" id="{CE730476-BAE9-A848-4726-966DFE162DEC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3675063" y="1733551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2" name="Freeform 437">
              <a:extLst>
                <a:ext uri="{FF2B5EF4-FFF2-40B4-BE49-F238E27FC236}">
                  <a16:creationId xmlns:a16="http://schemas.microsoft.com/office/drawing/2014/main" id="{23D67BDA-6904-18F2-E620-0D09C4746F29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3351213" y="1116013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83" name="Group 438">
              <a:extLst>
                <a:ext uri="{FF2B5EF4-FFF2-40B4-BE49-F238E27FC236}">
                  <a16:creationId xmlns:a16="http://schemas.microsoft.com/office/drawing/2014/main" id="{DF6FF8D1-DD94-0E7A-EEA1-1DCAC804B3F0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1651000" y="3176588"/>
              <a:ext cx="384175" cy="1031875"/>
              <a:chOff x="1589" y="3126"/>
              <a:chExt cx="290" cy="657"/>
            </a:xfrm>
          </p:grpSpPr>
          <p:sp>
            <p:nvSpPr>
              <p:cNvPr id="393" name="Freeform 439">
                <a:extLst>
                  <a:ext uri="{FF2B5EF4-FFF2-40B4-BE49-F238E27FC236}">
                    <a16:creationId xmlns:a16="http://schemas.microsoft.com/office/drawing/2014/main" id="{57EEF5CF-C229-A82B-D5D0-8139892B8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4" name="Freeform 440">
                <a:extLst>
                  <a:ext uri="{FF2B5EF4-FFF2-40B4-BE49-F238E27FC236}">
                    <a16:creationId xmlns:a16="http://schemas.microsoft.com/office/drawing/2014/main" id="{1F7C9216-EE47-4CAD-637B-A15CF2E31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5" name="Freeform 441">
                <a:extLst>
                  <a:ext uri="{FF2B5EF4-FFF2-40B4-BE49-F238E27FC236}">
                    <a16:creationId xmlns:a16="http://schemas.microsoft.com/office/drawing/2014/main" id="{9F43E359-DD54-D0C7-5FEB-DA425E0E2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84" name="Freeform 442">
              <a:extLst>
                <a:ext uri="{FF2B5EF4-FFF2-40B4-BE49-F238E27FC236}">
                  <a16:creationId xmlns:a16="http://schemas.microsoft.com/office/drawing/2014/main" id="{7BF44A6B-2A92-840C-F8A4-A282D9D81DB9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360863" y="1128713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5" name="Freeform 443">
              <a:extLst>
                <a:ext uri="{FF2B5EF4-FFF2-40B4-BE49-F238E27FC236}">
                  <a16:creationId xmlns:a16="http://schemas.microsoft.com/office/drawing/2014/main" id="{C52892EA-2939-8F54-0B04-210119F63BB2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3827463" y="701676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6" name="Freeform 444">
              <a:extLst>
                <a:ext uri="{FF2B5EF4-FFF2-40B4-BE49-F238E27FC236}">
                  <a16:creationId xmlns:a16="http://schemas.microsoft.com/office/drawing/2014/main" id="{6257DC11-CAD2-5C6A-4C7B-0D1D5245F813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3684588" y="1033463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7" name="Freeform 445">
              <a:extLst>
                <a:ext uri="{FF2B5EF4-FFF2-40B4-BE49-F238E27FC236}">
                  <a16:creationId xmlns:a16="http://schemas.microsoft.com/office/drawing/2014/main" id="{80BE5E50-9B6B-3C97-27E8-F55C637AA93D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049463" y="2470151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8" name="Freeform 446">
              <a:extLst>
                <a:ext uri="{FF2B5EF4-FFF2-40B4-BE49-F238E27FC236}">
                  <a16:creationId xmlns:a16="http://schemas.microsoft.com/office/drawing/2014/main" id="{3B1DA5F1-4363-05DA-9F27-FE140D86425D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843338" y="1068388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9" name="Freeform 447">
              <a:extLst>
                <a:ext uri="{FF2B5EF4-FFF2-40B4-BE49-F238E27FC236}">
                  <a16:creationId xmlns:a16="http://schemas.microsoft.com/office/drawing/2014/main" id="{54308D6B-63BD-4B1B-767D-8A8911E3D551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198813" y="1995488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0" name="Freeform 448">
              <a:extLst>
                <a:ext uri="{FF2B5EF4-FFF2-40B4-BE49-F238E27FC236}">
                  <a16:creationId xmlns:a16="http://schemas.microsoft.com/office/drawing/2014/main" id="{F79ADA7E-781F-05F3-A22C-66285D8272BB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546475" y="2063751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1" name="Freeform 449">
              <a:extLst>
                <a:ext uri="{FF2B5EF4-FFF2-40B4-BE49-F238E27FC236}">
                  <a16:creationId xmlns:a16="http://schemas.microsoft.com/office/drawing/2014/main" id="{CC4E2D9A-0210-CD0A-80AA-B35FF3CBFF97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997575" y="1822451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2" name="Freeform 450">
              <a:extLst>
                <a:ext uri="{FF2B5EF4-FFF2-40B4-BE49-F238E27FC236}">
                  <a16:creationId xmlns:a16="http://schemas.microsoft.com/office/drawing/2014/main" id="{5AD3CAE5-51E2-D2DF-6CFD-D25FF940A676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1352550" y="2085976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3" name="Freeform 451">
              <a:extLst>
                <a:ext uri="{FF2B5EF4-FFF2-40B4-BE49-F238E27FC236}">
                  <a16:creationId xmlns:a16="http://schemas.microsoft.com/office/drawing/2014/main" id="{23AACF1D-9F6E-AD23-A337-31AA077F74AD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3605213" y="2354263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4" name="Freeform 452">
              <a:extLst>
                <a:ext uri="{FF2B5EF4-FFF2-40B4-BE49-F238E27FC236}">
                  <a16:creationId xmlns:a16="http://schemas.microsoft.com/office/drawing/2014/main" id="{CC376DA2-7128-A813-7B11-569AE9C4421B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3636963" y="996951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5" name="Freeform 453">
              <a:extLst>
                <a:ext uri="{FF2B5EF4-FFF2-40B4-BE49-F238E27FC236}">
                  <a16:creationId xmlns:a16="http://schemas.microsoft.com/office/drawing/2014/main" id="{EFFD5B88-7C60-DD18-E91B-29E2E4438C94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3587750" y="855663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6" name="Freeform 454">
              <a:extLst>
                <a:ext uri="{FF2B5EF4-FFF2-40B4-BE49-F238E27FC236}">
                  <a16:creationId xmlns:a16="http://schemas.microsoft.com/office/drawing/2014/main" id="{D415BF73-A02B-EE2B-F272-CE1E4F6C61DB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3551238" y="711201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7" name="Freeform 455">
              <a:extLst>
                <a:ext uri="{FF2B5EF4-FFF2-40B4-BE49-F238E27FC236}">
                  <a16:creationId xmlns:a16="http://schemas.microsoft.com/office/drawing/2014/main" id="{8DDF87A4-951D-07D0-34CA-66702D17A44C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3522663" y="715963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8" name="Freeform 456">
              <a:extLst>
                <a:ext uri="{FF2B5EF4-FFF2-40B4-BE49-F238E27FC236}">
                  <a16:creationId xmlns:a16="http://schemas.microsoft.com/office/drawing/2014/main" id="{3540439B-4926-7197-A9A8-0542DA5397AE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492500" y="661988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9" name="Freeform 457">
              <a:extLst>
                <a:ext uri="{FF2B5EF4-FFF2-40B4-BE49-F238E27FC236}">
                  <a16:creationId xmlns:a16="http://schemas.microsoft.com/office/drawing/2014/main" id="{0AF88CEA-1500-FC10-B7BC-4D1AE28644A7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3924300" y="1466851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0" name="Freeform 458">
              <a:extLst>
                <a:ext uri="{FF2B5EF4-FFF2-40B4-BE49-F238E27FC236}">
                  <a16:creationId xmlns:a16="http://schemas.microsoft.com/office/drawing/2014/main" id="{4E1DB9C2-B09B-1156-28C2-6F04EBABCC01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3519488" y="1101726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1" name="Freeform 459">
              <a:extLst>
                <a:ext uri="{FF2B5EF4-FFF2-40B4-BE49-F238E27FC236}">
                  <a16:creationId xmlns:a16="http://schemas.microsoft.com/office/drawing/2014/main" id="{632AF3FB-62D2-3A7A-E6C5-6D5013D0E86E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237235" y="852488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2" name="Freeform 460">
              <a:extLst>
                <a:ext uri="{FF2B5EF4-FFF2-40B4-BE49-F238E27FC236}">
                  <a16:creationId xmlns:a16="http://schemas.microsoft.com/office/drawing/2014/main" id="{8719B557-F074-6C33-4E3F-3C96BA3980DD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240213" y="1087438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3" name="Freeform 461">
              <a:extLst>
                <a:ext uri="{FF2B5EF4-FFF2-40B4-BE49-F238E27FC236}">
                  <a16:creationId xmlns:a16="http://schemas.microsoft.com/office/drawing/2014/main" id="{2B649C40-98D6-5545-870D-DB06746B4480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789363" y="1147763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4" name="Freeform 462">
              <a:extLst>
                <a:ext uri="{FF2B5EF4-FFF2-40B4-BE49-F238E27FC236}">
                  <a16:creationId xmlns:a16="http://schemas.microsoft.com/office/drawing/2014/main" id="{027C2220-1F0D-DFD4-BB92-B8436588029C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3873500" y="1339851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5" name="Freeform 463">
              <a:extLst>
                <a:ext uri="{FF2B5EF4-FFF2-40B4-BE49-F238E27FC236}">
                  <a16:creationId xmlns:a16="http://schemas.microsoft.com/office/drawing/2014/main" id="{7BB761A8-B933-3551-466A-CFCFB21290F8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2952750" y="2071688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6" name="Freeform 464">
              <a:extLst>
                <a:ext uri="{FF2B5EF4-FFF2-40B4-BE49-F238E27FC236}">
                  <a16:creationId xmlns:a16="http://schemas.microsoft.com/office/drawing/2014/main" id="{E83D1B23-3CBB-ACF2-34EA-062EB712BC97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4997450" y="1335088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7" name="Freeform 465">
              <a:extLst>
                <a:ext uri="{FF2B5EF4-FFF2-40B4-BE49-F238E27FC236}">
                  <a16:creationId xmlns:a16="http://schemas.microsoft.com/office/drawing/2014/main" id="{90D1F171-DD4B-CC73-6F73-878F93CE1224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119438" y="2130426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8" name="Freeform 466">
              <a:extLst>
                <a:ext uri="{FF2B5EF4-FFF2-40B4-BE49-F238E27FC236}">
                  <a16:creationId xmlns:a16="http://schemas.microsoft.com/office/drawing/2014/main" id="{5970FEEC-3D6A-6C2F-7B40-6E6421822BA9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187825" y="2325688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9" name="Freeform 467">
              <a:extLst>
                <a:ext uri="{FF2B5EF4-FFF2-40B4-BE49-F238E27FC236}">
                  <a16:creationId xmlns:a16="http://schemas.microsoft.com/office/drawing/2014/main" id="{1EF009E3-E6DF-4C9F-B4C2-4DB3EAFD2F6F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170363" y="1411288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0" name="Freeform 468">
              <a:extLst>
                <a:ext uri="{FF2B5EF4-FFF2-40B4-BE49-F238E27FC236}">
                  <a16:creationId xmlns:a16="http://schemas.microsoft.com/office/drawing/2014/main" id="{3DED8A9B-FD7D-3C1A-2CC3-41201BC840AD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468813" y="1514476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1" name="Freeform 469">
              <a:extLst>
                <a:ext uri="{FF2B5EF4-FFF2-40B4-BE49-F238E27FC236}">
                  <a16:creationId xmlns:a16="http://schemas.microsoft.com/office/drawing/2014/main" id="{E7CCAEA2-7132-69EB-C309-D65AFECF121E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3756025" y="649288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2" name="Freeform 470">
              <a:extLst>
                <a:ext uri="{FF2B5EF4-FFF2-40B4-BE49-F238E27FC236}">
                  <a16:creationId xmlns:a16="http://schemas.microsoft.com/office/drawing/2014/main" id="{01603471-FF50-8A04-6EB8-E54FEDE91D8B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167188" y="1370013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3" name="Freeform 471">
              <a:extLst>
                <a:ext uri="{FF2B5EF4-FFF2-40B4-BE49-F238E27FC236}">
                  <a16:creationId xmlns:a16="http://schemas.microsoft.com/office/drawing/2014/main" id="{516FF5C0-D340-D5E3-E236-3AA6152C79FE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3983038" y="338137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4" name="Freeform 472">
              <a:extLst>
                <a:ext uri="{FF2B5EF4-FFF2-40B4-BE49-F238E27FC236}">
                  <a16:creationId xmlns:a16="http://schemas.microsoft.com/office/drawing/2014/main" id="{84202BD8-3B84-FE3A-060D-1F97FB929808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3754438" y="696913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5" name="Freeform 473">
              <a:extLst>
                <a:ext uri="{FF2B5EF4-FFF2-40B4-BE49-F238E27FC236}">
                  <a16:creationId xmlns:a16="http://schemas.microsoft.com/office/drawing/2014/main" id="{C9B1D508-4878-6C8B-F4E3-AB6F73AB39AD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3460750" y="882651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6" name="Freeform 474">
              <a:extLst>
                <a:ext uri="{FF2B5EF4-FFF2-40B4-BE49-F238E27FC236}">
                  <a16:creationId xmlns:a16="http://schemas.microsoft.com/office/drawing/2014/main" id="{E342AF16-13A8-F436-EA62-5209D81235FD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157663" y="2767013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7" name="Freeform 475">
              <a:extLst>
                <a:ext uri="{FF2B5EF4-FFF2-40B4-BE49-F238E27FC236}">
                  <a16:creationId xmlns:a16="http://schemas.microsoft.com/office/drawing/2014/main" id="{2F28532A-0443-5BAB-41A5-9A92EF1E7738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3649663" y="1338263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8" name="Freeform 476">
              <a:extLst>
                <a:ext uri="{FF2B5EF4-FFF2-40B4-BE49-F238E27FC236}">
                  <a16:creationId xmlns:a16="http://schemas.microsoft.com/office/drawing/2014/main" id="{4AF9380A-CA81-E3C6-7F9E-44B2CB231491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3968750" y="2959101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9" name="Freeform 477">
              <a:extLst>
                <a:ext uri="{FF2B5EF4-FFF2-40B4-BE49-F238E27FC236}">
                  <a16:creationId xmlns:a16="http://schemas.microsoft.com/office/drawing/2014/main" id="{DE63BA59-7457-3827-B221-58CE68954498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881438" y="2735263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0" name="Freeform 478">
              <a:extLst>
                <a:ext uri="{FF2B5EF4-FFF2-40B4-BE49-F238E27FC236}">
                  <a16:creationId xmlns:a16="http://schemas.microsoft.com/office/drawing/2014/main" id="{4901A90D-A0C6-5B62-2991-73DB6C60702C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3617913" y="3008313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1" name="Freeform 479">
              <a:extLst>
                <a:ext uri="{FF2B5EF4-FFF2-40B4-BE49-F238E27FC236}">
                  <a16:creationId xmlns:a16="http://schemas.microsoft.com/office/drawing/2014/main" id="{B8888F2D-4128-4DBC-7243-6889EB88CE2C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2897188" y="1938338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2" name="Freeform 480">
              <a:extLst>
                <a:ext uri="{FF2B5EF4-FFF2-40B4-BE49-F238E27FC236}">
                  <a16:creationId xmlns:a16="http://schemas.microsoft.com/office/drawing/2014/main" id="{386D204D-B353-9656-0DF3-BD6893F7D30B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070350" y="2500313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3" name="Freeform 481">
              <a:extLst>
                <a:ext uri="{FF2B5EF4-FFF2-40B4-BE49-F238E27FC236}">
                  <a16:creationId xmlns:a16="http://schemas.microsoft.com/office/drawing/2014/main" id="{E0501348-7A16-EF2B-AA55-80CAA94AAE7B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6634163" y="1014413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4" name="Freeform 482">
              <a:extLst>
                <a:ext uri="{FF2B5EF4-FFF2-40B4-BE49-F238E27FC236}">
                  <a16:creationId xmlns:a16="http://schemas.microsoft.com/office/drawing/2014/main" id="{49F663F4-F846-B4CF-D130-A6F342225458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6492875" y="1016001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5" name="Freeform 483">
              <a:extLst>
                <a:ext uri="{FF2B5EF4-FFF2-40B4-BE49-F238E27FC236}">
                  <a16:creationId xmlns:a16="http://schemas.microsoft.com/office/drawing/2014/main" id="{2EBC2EC6-96F6-E782-1E02-EEF691D47BB7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6462713" y="1370013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6" name="Freeform 484">
              <a:extLst>
                <a:ext uri="{FF2B5EF4-FFF2-40B4-BE49-F238E27FC236}">
                  <a16:creationId xmlns:a16="http://schemas.microsoft.com/office/drawing/2014/main" id="{67C79605-18EB-D517-9E65-DC7C130AEB8E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408738" y="1384301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7" name="Freeform 485">
              <a:extLst>
                <a:ext uri="{FF2B5EF4-FFF2-40B4-BE49-F238E27FC236}">
                  <a16:creationId xmlns:a16="http://schemas.microsoft.com/office/drawing/2014/main" id="{DC3BC072-76F1-01C9-625A-D066C1F2A76C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6424613" y="1146176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8" name="Freeform 486">
              <a:extLst>
                <a:ext uri="{FF2B5EF4-FFF2-40B4-BE49-F238E27FC236}">
                  <a16:creationId xmlns:a16="http://schemas.microsoft.com/office/drawing/2014/main" id="{AD902C4C-01CF-096C-76F1-70D32ECE0158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008438" y="36513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9" name="Freeform 487">
              <a:extLst>
                <a:ext uri="{FF2B5EF4-FFF2-40B4-BE49-F238E27FC236}">
                  <a16:creationId xmlns:a16="http://schemas.microsoft.com/office/drawing/2014/main" id="{8CB6840C-A75E-364B-C205-B3FFFF91B3E7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151313" y="19051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0" name="Freeform 488">
              <a:extLst>
                <a:ext uri="{FF2B5EF4-FFF2-40B4-BE49-F238E27FC236}">
                  <a16:creationId xmlns:a16="http://schemas.microsoft.com/office/drawing/2014/main" id="{B43D263E-DD54-F6E3-C130-92060334BBE9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187825" y="26988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1" name="Freeform 489">
              <a:extLst>
                <a:ext uri="{FF2B5EF4-FFF2-40B4-BE49-F238E27FC236}">
                  <a16:creationId xmlns:a16="http://schemas.microsoft.com/office/drawing/2014/main" id="{5E602225-1DE5-2DF2-B189-29E8647A5A1B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4721225" y="212726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2" name="Freeform 490">
              <a:extLst>
                <a:ext uri="{FF2B5EF4-FFF2-40B4-BE49-F238E27FC236}">
                  <a16:creationId xmlns:a16="http://schemas.microsoft.com/office/drawing/2014/main" id="{68C2413B-A6C6-EBEF-F736-3C21BC5BD4FC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4630738" y="71438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3" name="Freeform 491">
              <a:extLst>
                <a:ext uri="{FF2B5EF4-FFF2-40B4-BE49-F238E27FC236}">
                  <a16:creationId xmlns:a16="http://schemas.microsoft.com/office/drawing/2014/main" id="{27CE470C-308F-4679-81AC-5ACCAE5B6D87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4652963" y="30163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4" name="Freeform 492">
              <a:extLst>
                <a:ext uri="{FF2B5EF4-FFF2-40B4-BE49-F238E27FC236}">
                  <a16:creationId xmlns:a16="http://schemas.microsoft.com/office/drawing/2014/main" id="{36484AB0-BBAA-4B40-FEFF-C9CEA87891CC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4797425" y="146051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5" name="Freeform 493">
              <a:extLst>
                <a:ext uri="{FF2B5EF4-FFF2-40B4-BE49-F238E27FC236}">
                  <a16:creationId xmlns:a16="http://schemas.microsoft.com/office/drawing/2014/main" id="{BF213DE0-0B1D-B4BB-387F-DF12405DE35B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4851400" y="30163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6" name="Freeform 494">
              <a:extLst>
                <a:ext uri="{FF2B5EF4-FFF2-40B4-BE49-F238E27FC236}">
                  <a16:creationId xmlns:a16="http://schemas.microsoft.com/office/drawing/2014/main" id="{89248542-849C-97B6-7FA0-8726C7DA9EA0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4911725" y="55563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7" name="Freeform 495">
              <a:extLst>
                <a:ext uri="{FF2B5EF4-FFF2-40B4-BE49-F238E27FC236}">
                  <a16:creationId xmlns:a16="http://schemas.microsoft.com/office/drawing/2014/main" id="{CC2E723B-915B-18AC-9AC5-852BB5C97A46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029200" y="69851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8" name="Freeform 496">
              <a:extLst>
                <a:ext uri="{FF2B5EF4-FFF2-40B4-BE49-F238E27FC236}">
                  <a16:creationId xmlns:a16="http://schemas.microsoft.com/office/drawing/2014/main" id="{61FE3755-6322-A0C8-F38B-179ED52FFD34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556250" y="195263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9" name="Freeform 497">
              <a:extLst>
                <a:ext uri="{FF2B5EF4-FFF2-40B4-BE49-F238E27FC236}">
                  <a16:creationId xmlns:a16="http://schemas.microsoft.com/office/drawing/2014/main" id="{F0F529FE-D7B2-A38F-96A2-359D13DA508B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5622925" y="212726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0" name="Freeform 498">
              <a:extLst>
                <a:ext uri="{FF2B5EF4-FFF2-40B4-BE49-F238E27FC236}">
                  <a16:creationId xmlns:a16="http://schemas.microsoft.com/office/drawing/2014/main" id="{38A52FE9-7004-7054-B74E-7FBC7C728C33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5653088" y="223838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1" name="Freeform 499">
              <a:extLst>
                <a:ext uri="{FF2B5EF4-FFF2-40B4-BE49-F238E27FC236}">
                  <a16:creationId xmlns:a16="http://schemas.microsoft.com/office/drawing/2014/main" id="{0176A307-6EB8-EDB4-4F4F-6EA67AEF79DE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5424488" y="196851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2" name="Freeform 500">
              <a:extLst>
                <a:ext uri="{FF2B5EF4-FFF2-40B4-BE49-F238E27FC236}">
                  <a16:creationId xmlns:a16="http://schemas.microsoft.com/office/drawing/2014/main" id="{BEB34BEF-02C9-B8E7-A0A5-09106D6ACAC9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5724525" y="138113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3" name="Freeform 501">
              <a:extLst>
                <a:ext uri="{FF2B5EF4-FFF2-40B4-BE49-F238E27FC236}">
                  <a16:creationId xmlns:a16="http://schemas.microsoft.com/office/drawing/2014/main" id="{4057967D-8148-41EC-0F67-01D79FEB6309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5884863" y="146051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4" name="Freeform 502">
              <a:extLst>
                <a:ext uri="{FF2B5EF4-FFF2-40B4-BE49-F238E27FC236}">
                  <a16:creationId xmlns:a16="http://schemas.microsoft.com/office/drawing/2014/main" id="{9D45B63D-26B5-6027-10E3-4D65AEA79A7E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5845175" y="193676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5" name="Freeform 503">
              <a:extLst>
                <a:ext uri="{FF2B5EF4-FFF2-40B4-BE49-F238E27FC236}">
                  <a16:creationId xmlns:a16="http://schemas.microsoft.com/office/drawing/2014/main" id="{2E0B27E2-3E65-7285-137B-0440EE44EC18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5824538" y="190501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6" name="Line 504">
              <a:extLst>
                <a:ext uri="{FF2B5EF4-FFF2-40B4-BE49-F238E27FC236}">
                  <a16:creationId xmlns:a16="http://schemas.microsoft.com/office/drawing/2014/main" id="{5D1CA8D4-8E2C-9B73-7B72-BEABE043D680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5826125" y="188913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7" name="Freeform 505">
              <a:extLst>
                <a:ext uri="{FF2B5EF4-FFF2-40B4-BE49-F238E27FC236}">
                  <a16:creationId xmlns:a16="http://schemas.microsoft.com/office/drawing/2014/main" id="{69E4DD34-25BD-7F99-0F80-8661C127524D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4995863" y="117476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8" name="Freeform 506">
              <a:extLst>
                <a:ext uri="{FF2B5EF4-FFF2-40B4-BE49-F238E27FC236}">
                  <a16:creationId xmlns:a16="http://schemas.microsoft.com/office/drawing/2014/main" id="{DED76608-AA32-A5EC-0712-0AF60459FF7B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5745163" y="188913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9" name="Freeform 507">
              <a:extLst>
                <a:ext uri="{FF2B5EF4-FFF2-40B4-BE49-F238E27FC236}">
                  <a16:creationId xmlns:a16="http://schemas.microsoft.com/office/drawing/2014/main" id="{F922149F-3318-EB59-A66A-6025C5E91401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5699125" y="152401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0" name="Freeform 508">
              <a:extLst>
                <a:ext uri="{FF2B5EF4-FFF2-40B4-BE49-F238E27FC236}">
                  <a16:creationId xmlns:a16="http://schemas.microsoft.com/office/drawing/2014/main" id="{A9877738-EC42-1F53-E642-2945CF5F717A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199188" y="722313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1" name="Freeform 509">
              <a:extLst>
                <a:ext uri="{FF2B5EF4-FFF2-40B4-BE49-F238E27FC236}">
                  <a16:creationId xmlns:a16="http://schemas.microsoft.com/office/drawing/2014/main" id="{C0A94155-7F57-85A0-897D-5F901C04C0EA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6492875" y="244476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2" name="Freeform 510">
              <a:extLst>
                <a:ext uri="{FF2B5EF4-FFF2-40B4-BE49-F238E27FC236}">
                  <a16:creationId xmlns:a16="http://schemas.microsoft.com/office/drawing/2014/main" id="{F414439C-762A-2A3B-FBD5-429DFA3BB1CB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6629400" y="596901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3" name="Freeform 511">
              <a:extLst>
                <a:ext uri="{FF2B5EF4-FFF2-40B4-BE49-F238E27FC236}">
                  <a16:creationId xmlns:a16="http://schemas.microsoft.com/office/drawing/2014/main" id="{E7B6D4DD-FFB8-2C6D-2F6F-A4057E79C556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6778625" y="709613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4" name="Freeform 512">
              <a:extLst>
                <a:ext uri="{FF2B5EF4-FFF2-40B4-BE49-F238E27FC236}">
                  <a16:creationId xmlns:a16="http://schemas.microsoft.com/office/drawing/2014/main" id="{76F23FF2-BEC4-F379-0654-C18E70CB4F14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6829425" y="725488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5" name="Freeform 513">
              <a:extLst>
                <a:ext uri="{FF2B5EF4-FFF2-40B4-BE49-F238E27FC236}">
                  <a16:creationId xmlns:a16="http://schemas.microsoft.com/office/drawing/2014/main" id="{E7D424A6-EEB2-CB3C-941E-DECD51FBE4E8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6694488" y="852488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6" name="Freeform 514">
              <a:extLst>
                <a:ext uri="{FF2B5EF4-FFF2-40B4-BE49-F238E27FC236}">
                  <a16:creationId xmlns:a16="http://schemas.microsoft.com/office/drawing/2014/main" id="{A6836E54-7A01-62A6-8F55-F64BB56FC2DE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6705600" y="881063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7" name="Freeform 515">
              <a:extLst>
                <a:ext uri="{FF2B5EF4-FFF2-40B4-BE49-F238E27FC236}">
                  <a16:creationId xmlns:a16="http://schemas.microsoft.com/office/drawing/2014/main" id="{EA491319-ECD3-FF97-8725-2DF1197CFEBB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6692900" y="963613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8" name="Freeform 516">
              <a:extLst>
                <a:ext uri="{FF2B5EF4-FFF2-40B4-BE49-F238E27FC236}">
                  <a16:creationId xmlns:a16="http://schemas.microsoft.com/office/drawing/2014/main" id="{5EBE825F-2F55-841F-B386-9CC67E10106F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6670675" y="998538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9" name="Freeform 517">
              <a:extLst>
                <a:ext uri="{FF2B5EF4-FFF2-40B4-BE49-F238E27FC236}">
                  <a16:creationId xmlns:a16="http://schemas.microsoft.com/office/drawing/2014/main" id="{6F908EF0-11B2-3A5A-A1A8-87CFB980D3BA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6670675" y="998538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0" name="Freeform 518">
              <a:extLst>
                <a:ext uri="{FF2B5EF4-FFF2-40B4-BE49-F238E27FC236}">
                  <a16:creationId xmlns:a16="http://schemas.microsoft.com/office/drawing/2014/main" id="{71E8CBFB-AD52-31CF-1BEF-15C8E06C0FDC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6424613" y="585788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1" name="Freeform 519">
              <a:extLst>
                <a:ext uri="{FF2B5EF4-FFF2-40B4-BE49-F238E27FC236}">
                  <a16:creationId xmlns:a16="http://schemas.microsoft.com/office/drawing/2014/main" id="{4DE4D543-B210-13F4-C2C8-A05556E0AFB6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3740150" y="725488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2" name="Freeform 520">
              <a:extLst>
                <a:ext uri="{FF2B5EF4-FFF2-40B4-BE49-F238E27FC236}">
                  <a16:creationId xmlns:a16="http://schemas.microsoft.com/office/drawing/2014/main" id="{7F9CB1BB-27BC-45CC-0C8D-EDE32D814044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189413" y="317501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3" name="Freeform 521">
              <a:extLst>
                <a:ext uri="{FF2B5EF4-FFF2-40B4-BE49-F238E27FC236}">
                  <a16:creationId xmlns:a16="http://schemas.microsoft.com/office/drawing/2014/main" id="{C7FEFEE0-C6BF-BA99-E5C7-C7720F81A415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224338" y="130176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4" name="Freeform 522">
              <a:extLst>
                <a:ext uri="{FF2B5EF4-FFF2-40B4-BE49-F238E27FC236}">
                  <a16:creationId xmlns:a16="http://schemas.microsoft.com/office/drawing/2014/main" id="{8423A72F-AB48-7CDE-5E2D-019288F94BB3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016375" y="441326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5" name="Freeform 523">
              <a:extLst>
                <a:ext uri="{FF2B5EF4-FFF2-40B4-BE49-F238E27FC236}">
                  <a16:creationId xmlns:a16="http://schemas.microsoft.com/office/drawing/2014/main" id="{6EC7093C-E418-D5EC-C445-0C02094B7F28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6321425" y="738188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366" name="Group 524">
              <a:extLst>
                <a:ext uri="{FF2B5EF4-FFF2-40B4-BE49-F238E27FC236}">
                  <a16:creationId xmlns:a16="http://schemas.microsoft.com/office/drawing/2014/main" id="{5C741989-D5C1-BC56-9A5A-33CD85B9C749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111750" y="693738"/>
              <a:ext cx="671513" cy="384175"/>
              <a:chOff x="4115" y="1551"/>
              <a:chExt cx="504" cy="244"/>
            </a:xfrm>
          </p:grpSpPr>
          <p:sp>
            <p:nvSpPr>
              <p:cNvPr id="391" name="Freeform 525">
                <a:extLst>
                  <a:ext uri="{FF2B5EF4-FFF2-40B4-BE49-F238E27FC236}">
                    <a16:creationId xmlns:a16="http://schemas.microsoft.com/office/drawing/2014/main" id="{A8003DF8-9891-A4C5-B571-C00256053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2" name="Freeform 526">
                <a:extLst>
                  <a:ext uri="{FF2B5EF4-FFF2-40B4-BE49-F238E27FC236}">
                    <a16:creationId xmlns:a16="http://schemas.microsoft.com/office/drawing/2014/main" id="{8BCA8C88-FDA6-866D-381A-F75F4971E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367" name="Freeform 527">
              <a:extLst>
                <a:ext uri="{FF2B5EF4-FFF2-40B4-BE49-F238E27FC236}">
                  <a16:creationId xmlns:a16="http://schemas.microsoft.com/office/drawing/2014/main" id="{2D29842B-A46F-A8E6-364E-4BBA63F83A88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168775" y="1443038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8" name="Freeform 528">
              <a:extLst>
                <a:ext uri="{FF2B5EF4-FFF2-40B4-BE49-F238E27FC236}">
                  <a16:creationId xmlns:a16="http://schemas.microsoft.com/office/drawing/2014/main" id="{17E8EE95-8A45-CEAB-4F79-5923958D1F6C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3643313" y="987426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9" name="Freeform 529">
              <a:extLst>
                <a:ext uri="{FF2B5EF4-FFF2-40B4-BE49-F238E27FC236}">
                  <a16:creationId xmlns:a16="http://schemas.microsoft.com/office/drawing/2014/main" id="{608A9AD4-4358-9EBD-1803-E3D5FEDC23D1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3382963" y="1200151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0" name="Freeform 530">
              <a:extLst>
                <a:ext uri="{FF2B5EF4-FFF2-40B4-BE49-F238E27FC236}">
                  <a16:creationId xmlns:a16="http://schemas.microsoft.com/office/drawing/2014/main" id="{690D954A-E376-151D-75C4-E17340D29AE5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2974975" y="1546226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1" name="Freeform 531">
              <a:extLst>
                <a:ext uri="{FF2B5EF4-FFF2-40B4-BE49-F238E27FC236}">
                  <a16:creationId xmlns:a16="http://schemas.microsoft.com/office/drawing/2014/main" id="{A5F907AE-B195-E074-5461-F2218ACF25AD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2916238" y="1562101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2" name="Freeform 532">
              <a:extLst>
                <a:ext uri="{FF2B5EF4-FFF2-40B4-BE49-F238E27FC236}">
                  <a16:creationId xmlns:a16="http://schemas.microsoft.com/office/drawing/2014/main" id="{2AE766FE-C7A1-1D2C-FB30-338E6B9AE080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2890838" y="1555751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3" name="Freeform 533">
              <a:extLst>
                <a:ext uri="{FF2B5EF4-FFF2-40B4-BE49-F238E27FC236}">
                  <a16:creationId xmlns:a16="http://schemas.microsoft.com/office/drawing/2014/main" id="{557BCB6B-1269-9DE7-93BC-2CF6C4971420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162425" y="1284288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4" name="Freeform 534">
              <a:extLst>
                <a:ext uri="{FF2B5EF4-FFF2-40B4-BE49-F238E27FC236}">
                  <a16:creationId xmlns:a16="http://schemas.microsoft.com/office/drawing/2014/main" id="{F4594236-8D46-BDB1-8AD5-CE111690104F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256338" y="1665288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375" name="Group 535">
              <a:extLst>
                <a:ext uri="{FF2B5EF4-FFF2-40B4-BE49-F238E27FC236}">
                  <a16:creationId xmlns:a16="http://schemas.microsoft.com/office/drawing/2014/main" id="{3F982734-8083-4277-623E-3F111442C094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3903663" y="1133476"/>
              <a:ext cx="482600" cy="201612"/>
              <a:chOff x="3289" y="1830"/>
              <a:chExt cx="363" cy="128"/>
            </a:xfrm>
          </p:grpSpPr>
          <p:sp>
            <p:nvSpPr>
              <p:cNvPr id="386" name="Freeform 536">
                <a:extLst>
                  <a:ext uri="{FF2B5EF4-FFF2-40B4-BE49-F238E27FC236}">
                    <a16:creationId xmlns:a16="http://schemas.microsoft.com/office/drawing/2014/main" id="{F2F25E4C-51B0-FE1A-6C20-7FFF0720F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87" name="Freeform 537">
                <a:extLst>
                  <a:ext uri="{FF2B5EF4-FFF2-40B4-BE49-F238E27FC236}">
                    <a16:creationId xmlns:a16="http://schemas.microsoft.com/office/drawing/2014/main" id="{62380286-A4F4-F0FC-F6DD-AC8E5221E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88" name="Freeform 538">
                <a:extLst>
                  <a:ext uri="{FF2B5EF4-FFF2-40B4-BE49-F238E27FC236}">
                    <a16:creationId xmlns:a16="http://schemas.microsoft.com/office/drawing/2014/main" id="{F4040AB2-71DE-E775-3A3F-7C434DE0E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89" name="Freeform 539">
                <a:extLst>
                  <a:ext uri="{FF2B5EF4-FFF2-40B4-BE49-F238E27FC236}">
                    <a16:creationId xmlns:a16="http://schemas.microsoft.com/office/drawing/2014/main" id="{75608BAB-67F0-D0FE-2E4D-C97CA4F23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0" name="Freeform 540">
                <a:extLst>
                  <a:ext uri="{FF2B5EF4-FFF2-40B4-BE49-F238E27FC236}">
                    <a16:creationId xmlns:a16="http://schemas.microsoft.com/office/drawing/2014/main" id="{17AA3DD5-BD21-B6C7-90ED-4386B37E6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376" name="Freeform 541">
              <a:extLst>
                <a:ext uri="{FF2B5EF4-FFF2-40B4-BE49-F238E27FC236}">
                  <a16:creationId xmlns:a16="http://schemas.microsoft.com/office/drawing/2014/main" id="{3ABB63C6-6586-0AA3-23E8-212B2140D1A1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1892300" y="2286001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7" name="Freeform 542">
              <a:extLst>
                <a:ext uri="{FF2B5EF4-FFF2-40B4-BE49-F238E27FC236}">
                  <a16:creationId xmlns:a16="http://schemas.microsoft.com/office/drawing/2014/main" id="{5BCE458E-6172-A2D2-0834-B7E0625A09F3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5837238" y="1722438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8" name="Freeform 543">
              <a:extLst>
                <a:ext uri="{FF2B5EF4-FFF2-40B4-BE49-F238E27FC236}">
                  <a16:creationId xmlns:a16="http://schemas.microsoft.com/office/drawing/2014/main" id="{EE955745-1F92-3F5A-06B5-828680607A98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5924550" y="2408238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9" name="Freeform 544">
              <a:extLst>
                <a:ext uri="{FF2B5EF4-FFF2-40B4-BE49-F238E27FC236}">
                  <a16:creationId xmlns:a16="http://schemas.microsoft.com/office/drawing/2014/main" id="{624F38F1-C53B-2C51-2A87-40C2E38BA3C8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4616450" y="1666876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0" name="Freeform 545">
              <a:extLst>
                <a:ext uri="{FF2B5EF4-FFF2-40B4-BE49-F238E27FC236}">
                  <a16:creationId xmlns:a16="http://schemas.microsoft.com/office/drawing/2014/main" id="{EB89A57D-EF87-09EE-12D2-75D7BD3B45AC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3343275" y="1720851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1" name="Freeform 546">
              <a:extLst>
                <a:ext uri="{FF2B5EF4-FFF2-40B4-BE49-F238E27FC236}">
                  <a16:creationId xmlns:a16="http://schemas.microsoft.com/office/drawing/2014/main" id="{CD9F4211-FD09-573F-FCA3-8A5C0F99D411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013075" y="1338263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2" name="Freeform 547">
              <a:extLst>
                <a:ext uri="{FF2B5EF4-FFF2-40B4-BE49-F238E27FC236}">
                  <a16:creationId xmlns:a16="http://schemas.microsoft.com/office/drawing/2014/main" id="{9375CF95-4A6F-93A9-D968-CBE006ECB8E5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3713163" y="268288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3" name="Freeform 548">
              <a:extLst>
                <a:ext uri="{FF2B5EF4-FFF2-40B4-BE49-F238E27FC236}">
                  <a16:creationId xmlns:a16="http://schemas.microsoft.com/office/drawing/2014/main" id="{B3CF9F34-AC2C-B900-1EE6-048BF97162CD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224338" y="252413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4" name="Freeform 549">
              <a:extLst>
                <a:ext uri="{FF2B5EF4-FFF2-40B4-BE49-F238E27FC236}">
                  <a16:creationId xmlns:a16="http://schemas.microsoft.com/office/drawing/2014/main" id="{3F6A67EF-753C-183C-AE0A-080F352FD3E5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4367213" y="234951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5" name="Freeform 550">
              <a:extLst>
                <a:ext uri="{FF2B5EF4-FFF2-40B4-BE49-F238E27FC236}">
                  <a16:creationId xmlns:a16="http://schemas.microsoft.com/office/drawing/2014/main" id="{8773E113-09B0-6738-2B2D-E748DE380F47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4403725" y="242888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554" name="TextBox 553">
            <a:extLst>
              <a:ext uri="{FF2B5EF4-FFF2-40B4-BE49-F238E27FC236}">
                <a16:creationId xmlns:a16="http://schemas.microsoft.com/office/drawing/2014/main" id="{053CE09B-2A13-EFDF-EBAE-9BDABAC631AE}"/>
              </a:ext>
            </a:extLst>
          </p:cNvPr>
          <p:cNvSpPr txBox="1"/>
          <p:nvPr/>
        </p:nvSpPr>
        <p:spPr>
          <a:xfrm>
            <a:off x="266609" y="96736"/>
            <a:ext cx="4836580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Tenorite" pitchFamily="2" charset="0"/>
              </a:rPr>
              <a:t>A multi-disciplinary global health team</a:t>
            </a:r>
          </a:p>
        </p:txBody>
      </p: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4C31FA98-A59D-12A0-1DD7-630F55F7E8C4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1" name="Group 570">
            <a:extLst>
              <a:ext uri="{FF2B5EF4-FFF2-40B4-BE49-F238E27FC236}">
                <a16:creationId xmlns:a16="http://schemas.microsoft.com/office/drawing/2014/main" id="{A6207C1A-2165-B3ED-3460-C72C908A4975}"/>
              </a:ext>
            </a:extLst>
          </p:cNvPr>
          <p:cNvGrpSpPr/>
          <p:nvPr/>
        </p:nvGrpSpPr>
        <p:grpSpPr>
          <a:xfrm>
            <a:off x="1675827" y="1196284"/>
            <a:ext cx="5042951" cy="3150554"/>
            <a:chOff x="2234436" y="1595044"/>
            <a:chExt cx="6723934" cy="4200739"/>
          </a:xfrm>
        </p:grpSpPr>
        <p:sp>
          <p:nvSpPr>
            <p:cNvPr id="570" name="Rounded Rectangle 569">
              <a:extLst>
                <a:ext uri="{FF2B5EF4-FFF2-40B4-BE49-F238E27FC236}">
                  <a16:creationId xmlns:a16="http://schemas.microsoft.com/office/drawing/2014/main" id="{E5BCAC41-F674-BE07-8826-12DEFBB8DC85}"/>
                </a:ext>
              </a:extLst>
            </p:cNvPr>
            <p:cNvSpPr/>
            <p:nvPr/>
          </p:nvSpPr>
          <p:spPr>
            <a:xfrm>
              <a:off x="2234436" y="1595044"/>
              <a:ext cx="6723934" cy="4200739"/>
            </a:xfrm>
            <a:prstGeom prst="roundRect">
              <a:avLst>
                <a:gd name="adj" fmla="val 4941"/>
              </a:avLst>
            </a:prstGeom>
            <a:solidFill>
              <a:srgbClr val="F2F2F2">
                <a:alpha val="92157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 sz="1050" dirty="0">
                <a:latin typeface="Tenorite" pitchFamily="2" charset="0"/>
              </a:endParaRPr>
            </a:p>
          </p:txBody>
        </p:sp>
        <p:sp>
          <p:nvSpPr>
            <p:cNvPr id="556" name="TextBox 555">
              <a:extLst>
                <a:ext uri="{FF2B5EF4-FFF2-40B4-BE49-F238E27FC236}">
                  <a16:creationId xmlns:a16="http://schemas.microsoft.com/office/drawing/2014/main" id="{2C6020F5-B904-4F5D-3DD9-08AF267641A7}"/>
                </a:ext>
              </a:extLst>
            </p:cNvPr>
            <p:cNvSpPr txBox="1"/>
            <p:nvPr/>
          </p:nvSpPr>
          <p:spPr>
            <a:xfrm>
              <a:off x="4093602" y="1595044"/>
              <a:ext cx="2667825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buClr>
                  <a:srgbClr val="000000"/>
                </a:buClr>
                <a:buSzPts val="4400"/>
              </a:pPr>
              <a:r>
                <a:rPr lang="en-US" sz="1050" b="1" dirty="0">
                  <a:latin typeface="Tenorite" pitchFamily="2" charset="0"/>
                  <a:ea typeface="Roboto" panose="020B0604020202020204" charset="0"/>
                  <a:cs typeface="Calibri"/>
                  <a:sym typeface="Calibri"/>
                </a:rPr>
                <a:t>~ 60 people from ~24 countries</a:t>
              </a:r>
            </a:p>
          </p:txBody>
        </p:sp>
        <p:grpSp>
          <p:nvGrpSpPr>
            <p:cNvPr id="557" name="Group 556">
              <a:extLst>
                <a:ext uri="{FF2B5EF4-FFF2-40B4-BE49-F238E27FC236}">
                  <a16:creationId xmlns:a16="http://schemas.microsoft.com/office/drawing/2014/main" id="{06E6C6AF-7896-29D1-0E5F-5AFD2CDA9064}"/>
                </a:ext>
              </a:extLst>
            </p:cNvPr>
            <p:cNvGrpSpPr/>
            <p:nvPr/>
          </p:nvGrpSpPr>
          <p:grpSpPr>
            <a:xfrm>
              <a:off x="2724714" y="2056041"/>
              <a:ext cx="5931300" cy="3565129"/>
              <a:chOff x="3255967" y="3873960"/>
              <a:chExt cx="5931300" cy="3565129"/>
            </a:xfrm>
          </p:grpSpPr>
          <p:sp>
            <p:nvSpPr>
              <p:cNvPr id="558" name="TextBox 13">
                <a:extLst>
                  <a:ext uri="{FF2B5EF4-FFF2-40B4-BE49-F238E27FC236}">
                    <a16:creationId xmlns:a16="http://schemas.microsoft.com/office/drawing/2014/main" id="{34C1DAFC-D94B-AA4F-D7A0-22A961B9EB6A}"/>
                  </a:ext>
                </a:extLst>
              </p:cNvPr>
              <p:cNvSpPr txBox="1"/>
              <p:nvPr/>
            </p:nvSpPr>
            <p:spPr>
              <a:xfrm>
                <a:off x="3255967" y="4708357"/>
                <a:ext cx="1733464" cy="2730729"/>
              </a:xfrm>
              <a:prstGeom prst="rect">
                <a:avLst/>
              </a:prstGeom>
              <a:noFill/>
            </p:spPr>
            <p:txBody>
              <a:bodyPr vert="horz" wrap="square" lIns="54000" tIns="54000" rIns="54000" bIns="54000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Université Joseph KI-ZERBO 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(Burkina Faso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Université de Kinshasa (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DRC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Makerere University (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Uganda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University of 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Malawi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Swiss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 Tropical Health Institute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Swiss 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Federal Institute of Technology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etc.</a:t>
                </a:r>
              </a:p>
            </p:txBody>
          </p:sp>
          <p:sp>
            <p:nvSpPr>
              <p:cNvPr id="559" name="TextBox 14">
                <a:extLst>
                  <a:ext uri="{FF2B5EF4-FFF2-40B4-BE49-F238E27FC236}">
                    <a16:creationId xmlns:a16="http://schemas.microsoft.com/office/drawing/2014/main" id="{60991E4C-2686-8DD8-3209-E45F166440E6}"/>
                  </a:ext>
                </a:extLst>
              </p:cNvPr>
              <p:cNvSpPr txBox="1"/>
              <p:nvPr/>
            </p:nvSpPr>
            <p:spPr>
              <a:xfrm>
                <a:off x="5077354" y="4708359"/>
                <a:ext cx="1969677" cy="2730730"/>
              </a:xfrm>
              <a:prstGeom prst="rect">
                <a:avLst/>
              </a:prstGeom>
              <a:noFill/>
            </p:spPr>
            <p:txBody>
              <a:bodyPr vert="horz" wrap="square" lIns="54000" tIns="54000" rIns="54000" bIns="54000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 err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Institut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 </a:t>
                </a:r>
                <a:r>
                  <a:rPr lang="en-US" sz="900" dirty="0" err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Superieur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 des Sciences de la Population (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Burkina Faso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Le Conseil National de </a:t>
                </a:r>
                <a:r>
                  <a:rPr lang="en-US" sz="900" dirty="0" err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Lutte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 </a:t>
                </a:r>
                <a:r>
                  <a:rPr lang="en-US" sz="900" dirty="0" err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contre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 le SIDA (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Senegal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Ministries of Health (</a:t>
                </a:r>
                <a:r>
                  <a:rPr lang="en-US" sz="900" b="1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Kenya, Ivory Coast, Senegal Burkina Faso, Congo, Uganda, Zimbabwe, Nigeria, Malawi</a:t>
                </a: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etc.</a:t>
                </a:r>
              </a:p>
            </p:txBody>
          </p:sp>
          <p:sp>
            <p:nvSpPr>
              <p:cNvPr id="560" name="TextBox 15">
                <a:extLst>
                  <a:ext uri="{FF2B5EF4-FFF2-40B4-BE49-F238E27FC236}">
                    <a16:creationId xmlns:a16="http://schemas.microsoft.com/office/drawing/2014/main" id="{816EF9C9-2C6D-245A-0005-BE23F868A11C}"/>
                  </a:ext>
                </a:extLst>
              </p:cNvPr>
              <p:cNvSpPr txBox="1"/>
              <p:nvPr/>
            </p:nvSpPr>
            <p:spPr>
              <a:xfrm>
                <a:off x="7101179" y="4708356"/>
                <a:ext cx="2086088" cy="2730729"/>
              </a:xfrm>
              <a:prstGeom prst="rect">
                <a:avLst/>
              </a:prstGeom>
              <a:noFill/>
            </p:spPr>
            <p:txBody>
              <a:bodyPr vert="horz" wrap="square" lIns="54000" tIns="54000" rIns="54000" bIns="54000" rtlCol="0" anchor="ctr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UNAIDS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USAID (</a:t>
                </a:r>
                <a:r>
                  <a:rPr lang="en-US" sz="900" b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Nigeria</a:t>
                </a: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Ruedi Luethy Foundation Newlands Clinic (</a:t>
                </a:r>
                <a:r>
                  <a:rPr lang="en-US" sz="900" b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Zimbabwe</a:t>
                </a: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Projet d'appui au développement de l'agriculture commerciale (</a:t>
                </a:r>
                <a:r>
                  <a:rPr lang="en-US" sz="900" b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Congo Brazzaville</a:t>
                </a: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Centre international pour la recherche en agroforesterie (</a:t>
                </a:r>
                <a:r>
                  <a:rPr lang="en-US" sz="900" b="1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Ivory Coast</a:t>
                </a: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)</a:t>
                </a:r>
              </a:p>
              <a:p>
                <a:pPr marL="128588" indent="-128588">
                  <a:buFont typeface="Arial" panose="020B0604020202020204" pitchFamily="34" charset="0"/>
                  <a:buChar char="•"/>
                </a:pPr>
                <a:r>
                  <a:rPr lang="en-US" sz="900">
                    <a:solidFill>
                      <a:schemeClr val="accent6">
                        <a:lumMod val="50000"/>
                      </a:schemeClr>
                    </a:solidFill>
                    <a:latin typeface="Tenorite" pitchFamily="2" charset="0"/>
                  </a:rPr>
                  <a:t>etc.</a:t>
                </a:r>
              </a:p>
            </p:txBody>
          </p:sp>
          <p:grpSp>
            <p:nvGrpSpPr>
              <p:cNvPr id="561" name="Group 560">
                <a:extLst>
                  <a:ext uri="{FF2B5EF4-FFF2-40B4-BE49-F238E27FC236}">
                    <a16:creationId xmlns:a16="http://schemas.microsoft.com/office/drawing/2014/main" id="{E8414B51-8CA8-CF05-0497-3216B6ECC5C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425446" y="3899351"/>
                <a:ext cx="920262" cy="792000"/>
                <a:chOff x="450735" y="3078882"/>
                <a:chExt cx="1299784" cy="1080000"/>
              </a:xfrm>
            </p:grpSpPr>
            <p:sp>
              <p:nvSpPr>
                <p:cNvPr id="568" name="Oval 567">
                  <a:extLst>
                    <a:ext uri="{FF2B5EF4-FFF2-40B4-BE49-F238E27FC236}">
                      <a16:creationId xmlns:a16="http://schemas.microsoft.com/office/drawing/2014/main" id="{EE0B5D80-3F5F-D056-7E68-FC9A42CBE47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16763" y="3078882"/>
                  <a:ext cx="1155074" cy="1080000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buClrTx/>
                    <a:defRPr/>
                  </a:pPr>
                  <a:endParaRPr lang="en-US" sz="788" kern="0">
                    <a:solidFill>
                      <a:srgbClr val="FFFFFF"/>
                    </a:solidFill>
                    <a:latin typeface="Tenorite" pitchFamily="2" charset="0"/>
                  </a:endParaRPr>
                </a:p>
              </p:txBody>
            </p:sp>
            <p:sp>
              <p:nvSpPr>
                <p:cNvPr id="569" name="TextBox 19">
                  <a:extLst>
                    <a:ext uri="{FF2B5EF4-FFF2-40B4-BE49-F238E27FC236}">
                      <a16:creationId xmlns:a16="http://schemas.microsoft.com/office/drawing/2014/main" id="{4A37534B-3A07-10D9-0759-AA3E14F0CCBA}"/>
                    </a:ext>
                  </a:extLst>
                </p:cNvPr>
                <p:cNvSpPr txBox="1"/>
                <p:nvPr/>
              </p:nvSpPr>
              <p:spPr>
                <a:xfrm>
                  <a:off x="450735" y="3446589"/>
                  <a:ext cx="1299784" cy="38833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r>
                    <a:rPr lang="en-US" sz="788" b="1" dirty="0">
                      <a:solidFill>
                        <a:srgbClr val="FFFFFF"/>
                      </a:solidFill>
                      <a:latin typeface="Tenorite" pitchFamily="2" charset="0"/>
                    </a:rPr>
                    <a:t>Academic</a:t>
                  </a:r>
                  <a:endParaRPr lang="en-GB" sz="900" b="1" dirty="0">
                    <a:solidFill>
                      <a:srgbClr val="FFFFFF"/>
                    </a:solidFill>
                    <a:latin typeface="Tenorite" pitchFamily="2" charset="0"/>
                    <a:ea typeface="Noto Sans" panose="020B0502040504020204" pitchFamily="34"/>
                    <a:cs typeface="Noto Sans" panose="020B0502040504020204" pitchFamily="34"/>
                  </a:endParaRPr>
                </a:p>
              </p:txBody>
            </p:sp>
          </p:grpSp>
          <p:grpSp>
            <p:nvGrpSpPr>
              <p:cNvPr id="562" name="Group 561">
                <a:extLst>
                  <a:ext uri="{FF2B5EF4-FFF2-40B4-BE49-F238E27FC236}">
                    <a16:creationId xmlns:a16="http://schemas.microsoft.com/office/drawing/2014/main" id="{C95C6C3C-B6C1-32BF-6B11-ECD503F57935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338407" y="3873960"/>
                <a:ext cx="1100900" cy="792000"/>
                <a:chOff x="2398553" y="3078882"/>
                <a:chExt cx="1402636" cy="1080000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250540DE-9E80-1FB9-40A0-1E752E24D85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565917" y="3078882"/>
                  <a:ext cx="1077682" cy="1080000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buClrTx/>
                    <a:defRPr/>
                  </a:pPr>
                  <a:endParaRPr lang="en-US" sz="788" kern="0">
                    <a:solidFill>
                      <a:srgbClr val="FFFFFF"/>
                    </a:solidFill>
                    <a:latin typeface="Tenorite" pitchFamily="2" charset="0"/>
                  </a:endParaRPr>
                </a:p>
              </p:txBody>
            </p:sp>
            <p:sp>
              <p:nvSpPr>
                <p:cNvPr id="567" name="TextBox 20">
                  <a:extLst>
                    <a:ext uri="{FF2B5EF4-FFF2-40B4-BE49-F238E27FC236}">
                      <a16:creationId xmlns:a16="http://schemas.microsoft.com/office/drawing/2014/main" id="{0C7F59DF-99F3-92DE-A01D-4CAC82527093}"/>
                    </a:ext>
                  </a:extLst>
                </p:cNvPr>
                <p:cNvSpPr txBox="1"/>
                <p:nvPr/>
              </p:nvSpPr>
              <p:spPr>
                <a:xfrm>
                  <a:off x="2398553" y="3433507"/>
                  <a:ext cx="1402636" cy="38833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r>
                    <a:rPr lang="en-US" sz="788" b="1">
                      <a:solidFill>
                        <a:srgbClr val="FFFFFF"/>
                      </a:solidFill>
                      <a:latin typeface="Tenorite" pitchFamily="2" charset="0"/>
                    </a:rPr>
                    <a:t>Government</a:t>
                  </a:r>
                  <a:endParaRPr lang="en-GB" sz="788" b="1">
                    <a:solidFill>
                      <a:srgbClr val="FFFFFF"/>
                    </a:solidFill>
                    <a:latin typeface="Tenorite" pitchFamily="2" charset="0"/>
                    <a:ea typeface="Noto Sans" panose="020B0502040504020204" pitchFamily="34"/>
                    <a:cs typeface="Noto Sans" panose="020B0502040504020204" pitchFamily="34"/>
                  </a:endParaRPr>
                </a:p>
              </p:txBody>
            </p:sp>
          </p:grpSp>
          <p:grpSp>
            <p:nvGrpSpPr>
              <p:cNvPr id="563" name="Group 562">
                <a:extLst>
                  <a:ext uri="{FF2B5EF4-FFF2-40B4-BE49-F238E27FC236}">
                    <a16:creationId xmlns:a16="http://schemas.microsoft.com/office/drawing/2014/main" id="{83137DFC-8A5B-FD3C-FCA6-2EF8E4E69A70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7290796" y="3873960"/>
                <a:ext cx="1100900" cy="792000"/>
                <a:chOff x="4268800" y="3078882"/>
                <a:chExt cx="1402636" cy="1080000"/>
              </a:xfrm>
            </p:grpSpPr>
            <p:sp>
              <p:nvSpPr>
                <p:cNvPr id="564" name="Oval 563">
                  <a:extLst>
                    <a:ext uri="{FF2B5EF4-FFF2-40B4-BE49-F238E27FC236}">
                      <a16:creationId xmlns:a16="http://schemas.microsoft.com/office/drawing/2014/main" id="{02A94283-724F-7908-055C-DF94E62CDA7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16390" y="3078882"/>
                  <a:ext cx="1077682" cy="1080000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685800">
                    <a:buClrTx/>
                    <a:defRPr/>
                  </a:pPr>
                  <a:endParaRPr lang="en-US" sz="788" kern="0">
                    <a:solidFill>
                      <a:srgbClr val="FFFFFF"/>
                    </a:solidFill>
                    <a:latin typeface="Tenorite" pitchFamily="2" charset="0"/>
                  </a:endParaRPr>
                </a:p>
              </p:txBody>
            </p:sp>
            <p:sp>
              <p:nvSpPr>
                <p:cNvPr id="565" name="TextBox 21">
                  <a:extLst>
                    <a:ext uri="{FF2B5EF4-FFF2-40B4-BE49-F238E27FC236}">
                      <a16:creationId xmlns:a16="http://schemas.microsoft.com/office/drawing/2014/main" id="{F73432D3-07FC-A9EC-9529-07D1C33D28EF}"/>
                    </a:ext>
                  </a:extLst>
                </p:cNvPr>
                <p:cNvSpPr txBox="1"/>
                <p:nvPr/>
              </p:nvSpPr>
              <p:spPr>
                <a:xfrm>
                  <a:off x="4268800" y="3423820"/>
                  <a:ext cx="1402636" cy="38833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r>
                    <a:rPr lang="en-US" sz="788" b="1">
                      <a:solidFill>
                        <a:srgbClr val="FFFFFF"/>
                      </a:solidFill>
                      <a:latin typeface="Tenorite" pitchFamily="2" charset="0"/>
                    </a:rPr>
                    <a:t>NGO</a:t>
                  </a:r>
                  <a:endParaRPr lang="en-GB" sz="788" b="1">
                    <a:solidFill>
                      <a:srgbClr val="FFFFFF"/>
                    </a:solidFill>
                    <a:latin typeface="Tenorite" pitchFamily="2" charset="0"/>
                    <a:ea typeface="Noto Sans" panose="020B0502040504020204" pitchFamily="34"/>
                    <a:cs typeface="Noto Sans" panose="020B0502040504020204" pitchFamily="3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4739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3B1358A-EB51-4E5E-C7B8-F061A282F494}"/>
              </a:ext>
            </a:extLst>
          </p:cNvPr>
          <p:cNvGrpSpPr/>
          <p:nvPr/>
        </p:nvGrpSpPr>
        <p:grpSpPr>
          <a:xfrm>
            <a:off x="470994" y="631445"/>
            <a:ext cx="7929453" cy="4282144"/>
            <a:chOff x="-1587" y="1588"/>
            <a:chExt cx="7500937" cy="426085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AE74DE14-7D47-FA90-5969-853894B080D5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839913" y="4198938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B61A13F-5474-8213-60BD-F8D69EE39FC0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-1587" y="300038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CD94E3E-63D2-06CE-AE6E-6D1E38AE7CD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58788" y="915988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F8ACA7E-A2FD-EB0B-9F96-B1AAC59D5C3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292225" y="2466976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12E726BA-8083-79AB-01A3-46F733A8B2E5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592263" y="3030538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96CC24C-01A8-728B-C827-6DE72605523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497013" y="2312988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E4884BD-0E8D-9A03-7520-C8C11CBDF96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609975" y="1258888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12C59C4-5C99-808D-A9EC-AF8FA54885E8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108325" y="1133476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9823D50-B3F8-F342-8BE4-7432D229EC3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189288" y="619126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782AD94-4F29-6494-D1F3-F9F7EA48F943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548063" y="922338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5AE4A362-80AF-6CDD-E6E7-FD6F57588DEE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040313" y="771526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DAAAA18-CDFF-3395-7A5E-3B3A02A20C91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732213" y="312738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0D50D949-BA2E-156F-1ECB-8D54009ED738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468688" y="730251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1724265-E5FC-0638-F902-8955B7BED352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494088" y="987426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0E6C938-3F75-DFED-F621-9EFE951A444F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511550" y="1155701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B5DB1ED-0CDA-D064-8775-6CD8A4EB0D04}"/>
                </a:ext>
              </a:extLst>
            </p:cNvPr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30888" y="2216151"/>
              <a:ext cx="473075" cy="212725"/>
              <a:chOff x="4488" y="2394"/>
              <a:chExt cx="358" cy="124"/>
            </a:xfrm>
          </p:grpSpPr>
          <p:sp>
            <p:nvSpPr>
              <p:cNvPr id="550" name="Freeform 20">
                <a:extLst>
                  <a:ext uri="{FF2B5EF4-FFF2-40B4-BE49-F238E27FC236}">
                    <a16:creationId xmlns:a16="http://schemas.microsoft.com/office/drawing/2014/main" id="{56903D89-5470-4222-8E50-96E88A622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51" name="Freeform 21">
                <a:extLst>
                  <a:ext uri="{FF2B5EF4-FFF2-40B4-BE49-F238E27FC236}">
                    <a16:creationId xmlns:a16="http://schemas.microsoft.com/office/drawing/2014/main" id="{213758C7-ECCA-0D6F-ED3C-A5232C352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1A79D1BF-E5CE-08A6-A6AB-2B7716DB0682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852863" y="92076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72B0C113-F726-7232-AE0A-F6CCCEE401F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116263" y="1079501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C52E2692-D57B-F7C8-080F-2F45D779696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748338" y="1817688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08B93ECC-EE18-356D-353F-5B88D88E25E4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857375" y="4205288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" name="Line 26" descr="Horizontal dunkel">
              <a:extLst>
                <a:ext uri="{FF2B5EF4-FFF2-40B4-BE49-F238E27FC236}">
                  <a16:creationId xmlns:a16="http://schemas.microsoft.com/office/drawing/2014/main" id="{1AC91BA6-D121-0804-1072-90B32E4C8DC5}"/>
                </a:ext>
              </a:extLst>
            </p:cNvPr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auto">
            <a:xfrm>
              <a:off x="319088" y="1127126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38BD5875-D769-97DC-A172-809EC4D717B6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22263" y="1123951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5F3F0542-6830-AA79-B04F-0881E38CDA1F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98450" y="1177926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5BCB9A66-51C9-1895-2747-B1CA936AB63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624013" y="1173163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B8542966-D116-217C-AE0C-E27EDBD49EC2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362450" y="730251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D386AB31-D079-2A76-A691-88AEB9815739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592638" y="1033463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132F329A-F082-28D8-9297-A95A01618386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400425" y="2036763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F94BBC3D-D619-290E-87E8-90451B50447E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243388" y="1901826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386FAD6A-4689-78AF-3F3C-A3FBB65D59B7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705225" y="906463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81507954-B6E2-BCAD-9D93-EAE2A61FAE80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568825" y="1627188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5AC77A53-935B-A454-04DA-7238996A5137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687888" y="1631951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264D913D-EECE-C2EB-BD66-9692EBA754D1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175375" y="2292351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37" name="Group 38">
              <a:extLst>
                <a:ext uri="{FF2B5EF4-FFF2-40B4-BE49-F238E27FC236}">
                  <a16:creationId xmlns:a16="http://schemas.microsoft.com/office/drawing/2014/main" id="{5B09679A-A804-1157-DDEA-93A4EF6C53C9}"/>
                </a:ext>
              </a:extLst>
            </p:cNvPr>
            <p:cNvGrpSpPr>
              <a:grpSpLocks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2027238" y="4100513"/>
              <a:ext cx="65087" cy="55563"/>
              <a:chOff x="1654" y="3671"/>
              <a:chExt cx="49" cy="17"/>
            </a:xfrm>
          </p:grpSpPr>
          <p:sp>
            <p:nvSpPr>
              <p:cNvPr id="548" name="Freeform 39">
                <a:extLst>
                  <a:ext uri="{FF2B5EF4-FFF2-40B4-BE49-F238E27FC236}">
                    <a16:creationId xmlns:a16="http://schemas.microsoft.com/office/drawing/2014/main" id="{2402E6CC-859E-A34A-FAD8-65DA7961F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9" name="Freeform 40">
                <a:extLst>
                  <a:ext uri="{FF2B5EF4-FFF2-40B4-BE49-F238E27FC236}">
                    <a16:creationId xmlns:a16="http://schemas.microsoft.com/office/drawing/2014/main" id="{2DB93BDF-89AE-DF26-8270-BCF1359E6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38" name="Freeform 41">
              <a:extLst>
                <a:ext uri="{FF2B5EF4-FFF2-40B4-BE49-F238E27FC236}">
                  <a16:creationId xmlns:a16="http://schemas.microsoft.com/office/drawing/2014/main" id="{D53DFBA0-A78A-E821-EF7C-1AF1266EB666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674813" y="1895476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9" name="Freeform 42">
              <a:extLst>
                <a:ext uri="{FF2B5EF4-FFF2-40B4-BE49-F238E27FC236}">
                  <a16:creationId xmlns:a16="http://schemas.microsoft.com/office/drawing/2014/main" id="{C16512B3-E982-17A8-25A8-B67A29136911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730375" y="1901826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0" name="Freeform 43">
              <a:extLst>
                <a:ext uri="{FF2B5EF4-FFF2-40B4-BE49-F238E27FC236}">
                  <a16:creationId xmlns:a16="http://schemas.microsoft.com/office/drawing/2014/main" id="{C3B8B9AE-E1C6-4E12-273F-1BB7D8F2F21E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743075" y="1903413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id="{97725EF5-2F05-3A67-452A-2CBB5466ED22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757363" y="1893888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id="{466FCB9C-4B0D-6326-77E4-AA01C873691C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736725" y="1885951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3" name="Freeform 46">
              <a:extLst>
                <a:ext uri="{FF2B5EF4-FFF2-40B4-BE49-F238E27FC236}">
                  <a16:creationId xmlns:a16="http://schemas.microsoft.com/office/drawing/2014/main" id="{6D570B26-22E6-4D5B-8EDC-5E2D28A2615D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1785938" y="1914526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4" name="Line 47">
              <a:extLst>
                <a:ext uri="{FF2B5EF4-FFF2-40B4-BE49-F238E27FC236}">
                  <a16:creationId xmlns:a16="http://schemas.microsoft.com/office/drawing/2014/main" id="{DF096502-080D-29F1-5FC3-858F483E43B4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 flipV="1">
              <a:off x="1793875" y="1911351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5" name="Line 48">
              <a:extLst>
                <a:ext uri="{FF2B5EF4-FFF2-40B4-BE49-F238E27FC236}">
                  <a16:creationId xmlns:a16="http://schemas.microsoft.com/office/drawing/2014/main" id="{71017EA0-EF0A-82E7-C691-F4E2D6491F4A}"/>
                </a:ext>
              </a:extLst>
            </p:cNvPr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auto">
            <a:xfrm flipH="1">
              <a:off x="1793875" y="1936751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6" name="Freeform 49">
              <a:extLst>
                <a:ext uri="{FF2B5EF4-FFF2-40B4-BE49-F238E27FC236}">
                  <a16:creationId xmlns:a16="http://schemas.microsoft.com/office/drawing/2014/main" id="{0D4A638F-CF3B-68EA-AC16-BB8B7BA3A8D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793875" y="1931988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7" name="Freeform 50">
              <a:extLst>
                <a:ext uri="{FF2B5EF4-FFF2-40B4-BE49-F238E27FC236}">
                  <a16:creationId xmlns:a16="http://schemas.microsoft.com/office/drawing/2014/main" id="{94D86CCE-595B-2FFE-887B-575DAD4A177C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800225" y="1960563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id="{DE1A379F-66EE-964A-4E1F-D6648C2F6ED6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806575" y="2008188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869578C1-A933-BCF0-F07B-E164B2FF6692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816100" y="2033588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0" name="Freeform 53">
              <a:extLst>
                <a:ext uri="{FF2B5EF4-FFF2-40B4-BE49-F238E27FC236}">
                  <a16:creationId xmlns:a16="http://schemas.microsoft.com/office/drawing/2014/main" id="{9D6898AD-09F3-34E9-97D6-CB72FEEC55DE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1838325" y="2063751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1" name="Freeform 54">
              <a:extLst>
                <a:ext uri="{FF2B5EF4-FFF2-40B4-BE49-F238E27FC236}">
                  <a16:creationId xmlns:a16="http://schemas.microsoft.com/office/drawing/2014/main" id="{2BDDF326-5074-D97D-3CB0-8A6ABF72E37E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800225" y="2076451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47C258E8-C92A-E2E9-2D8E-886B5D0152DE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785938" y="2141538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id="{7AB4CA8D-F4E5-AACB-98A6-628B8EDC551D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804988" y="2117726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id="{1125FCCA-B425-B606-E2FC-512D5D4B31A0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287463" y="1789113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55" name="Group 58">
              <a:extLst>
                <a:ext uri="{FF2B5EF4-FFF2-40B4-BE49-F238E27FC236}">
                  <a16:creationId xmlns:a16="http://schemas.microsoft.com/office/drawing/2014/main" id="{0E8F3990-DB58-899F-6D31-E88308A7A79A}"/>
                </a:ext>
              </a:extLst>
            </p:cNvPr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1412875" y="1622426"/>
              <a:ext cx="131763" cy="195262"/>
              <a:chOff x="1199" y="2121"/>
              <a:chExt cx="97" cy="123"/>
            </a:xfrm>
          </p:grpSpPr>
          <p:sp>
            <p:nvSpPr>
              <p:cNvPr id="538" name="Freeform 59">
                <a:extLst>
                  <a:ext uri="{FF2B5EF4-FFF2-40B4-BE49-F238E27FC236}">
                    <a16:creationId xmlns:a16="http://schemas.microsoft.com/office/drawing/2014/main" id="{0A1A26B4-8D09-26FE-5210-97969268E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9" name="Freeform 60">
                <a:extLst>
                  <a:ext uri="{FF2B5EF4-FFF2-40B4-BE49-F238E27FC236}">
                    <a16:creationId xmlns:a16="http://schemas.microsoft.com/office/drawing/2014/main" id="{DFCE4BFC-D860-F53C-471F-FCC861947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0" name="Freeform 61">
                <a:extLst>
                  <a:ext uri="{FF2B5EF4-FFF2-40B4-BE49-F238E27FC236}">
                    <a16:creationId xmlns:a16="http://schemas.microsoft.com/office/drawing/2014/main" id="{5E46B911-1A99-DBAB-A09E-FEF8896A5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1" name="Freeform 62">
                <a:extLst>
                  <a:ext uri="{FF2B5EF4-FFF2-40B4-BE49-F238E27FC236}">
                    <a16:creationId xmlns:a16="http://schemas.microsoft.com/office/drawing/2014/main" id="{B637FD0A-73B1-8590-9BD4-7C7840F55E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2" name="Freeform 63">
                <a:extLst>
                  <a:ext uri="{FF2B5EF4-FFF2-40B4-BE49-F238E27FC236}">
                    <a16:creationId xmlns:a16="http://schemas.microsoft.com/office/drawing/2014/main" id="{3C412B96-15F1-0350-0E09-0601391D5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3" name="Freeform 64">
                <a:extLst>
                  <a:ext uri="{FF2B5EF4-FFF2-40B4-BE49-F238E27FC236}">
                    <a16:creationId xmlns:a16="http://schemas.microsoft.com/office/drawing/2014/main" id="{2D1DDFAF-047E-43CA-683F-A7D94E41B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4" name="Freeform 65">
                <a:extLst>
                  <a:ext uri="{FF2B5EF4-FFF2-40B4-BE49-F238E27FC236}">
                    <a16:creationId xmlns:a16="http://schemas.microsoft.com/office/drawing/2014/main" id="{9424264E-A6B6-E76D-521C-881966383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5" name="Freeform 66">
                <a:extLst>
                  <a:ext uri="{FF2B5EF4-FFF2-40B4-BE49-F238E27FC236}">
                    <a16:creationId xmlns:a16="http://schemas.microsoft.com/office/drawing/2014/main" id="{5390CDEB-BB7F-43DF-B1E1-B4AFA0A25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6" name="Freeform 67">
                <a:extLst>
                  <a:ext uri="{FF2B5EF4-FFF2-40B4-BE49-F238E27FC236}">
                    <a16:creationId xmlns:a16="http://schemas.microsoft.com/office/drawing/2014/main" id="{FE4706D0-53EB-07C3-6274-4341F6068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47" name="Freeform 68">
                <a:extLst>
                  <a:ext uri="{FF2B5EF4-FFF2-40B4-BE49-F238E27FC236}">
                    <a16:creationId xmlns:a16="http://schemas.microsoft.com/office/drawing/2014/main" id="{5DC46344-AE7E-0180-69B3-17D2CD093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56" name="Freeform 69">
              <a:extLst>
                <a:ext uri="{FF2B5EF4-FFF2-40B4-BE49-F238E27FC236}">
                  <a16:creationId xmlns:a16="http://schemas.microsoft.com/office/drawing/2014/main" id="{A67E87DC-11F6-F393-12A9-A8B2C22E7E52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226300" y="3049588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7" name="Freeform 70">
              <a:extLst>
                <a:ext uri="{FF2B5EF4-FFF2-40B4-BE49-F238E27FC236}">
                  <a16:creationId xmlns:a16="http://schemas.microsoft.com/office/drawing/2014/main" id="{46324B52-126C-859F-A3AE-C17844C77125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235825" y="3140076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8" name="Freeform 71">
              <a:extLst>
                <a:ext uri="{FF2B5EF4-FFF2-40B4-BE49-F238E27FC236}">
                  <a16:creationId xmlns:a16="http://schemas.microsoft.com/office/drawing/2014/main" id="{3FF42CAF-EE62-91FC-5F41-E523A0191688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350125" y="3049588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59" name="Freeform 72">
              <a:extLst>
                <a:ext uri="{FF2B5EF4-FFF2-40B4-BE49-F238E27FC236}">
                  <a16:creationId xmlns:a16="http://schemas.microsoft.com/office/drawing/2014/main" id="{807C3125-F956-F89B-E0B1-DFE59EFC8086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50125" y="3022601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60" name="Group 73">
              <a:extLst>
                <a:ext uri="{FF2B5EF4-FFF2-40B4-BE49-F238E27FC236}">
                  <a16:creationId xmlns:a16="http://schemas.microsoft.com/office/drawing/2014/main" id="{AC69D6DA-05F3-4E17-786F-F0522EC9F16C}"/>
                </a:ext>
              </a:extLst>
            </p:cNvPr>
            <p:cNvGrpSpPr>
              <a:grpSpLocks/>
            </p:cNvGrpSpPr>
            <p:nvPr>
              <p:custDataLst>
                <p:tags r:id="rId58"/>
              </p:custDataLst>
            </p:nvPr>
          </p:nvGrpSpPr>
          <p:grpSpPr bwMode="auto">
            <a:xfrm>
              <a:off x="7040563" y="3543301"/>
              <a:ext cx="458787" cy="404812"/>
              <a:chOff x="5372" y="3323"/>
              <a:chExt cx="341" cy="253"/>
            </a:xfrm>
          </p:grpSpPr>
          <p:sp>
            <p:nvSpPr>
              <p:cNvPr id="535" name="Freeform 74">
                <a:extLst>
                  <a:ext uri="{FF2B5EF4-FFF2-40B4-BE49-F238E27FC236}">
                    <a16:creationId xmlns:a16="http://schemas.microsoft.com/office/drawing/2014/main" id="{9987B315-9842-CC92-7488-79D311F0D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6" name="Freeform 75">
                <a:extLst>
                  <a:ext uri="{FF2B5EF4-FFF2-40B4-BE49-F238E27FC236}">
                    <a16:creationId xmlns:a16="http://schemas.microsoft.com/office/drawing/2014/main" id="{8554341C-9F7C-78CD-E939-10D3FAE9F8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7" name="Freeform 76">
                <a:extLst>
                  <a:ext uri="{FF2B5EF4-FFF2-40B4-BE49-F238E27FC236}">
                    <a16:creationId xmlns:a16="http://schemas.microsoft.com/office/drawing/2014/main" id="{7B811521-4D24-5A9E-4F7F-5B38C99C9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61" name="Freeform 77">
              <a:extLst>
                <a:ext uri="{FF2B5EF4-FFF2-40B4-BE49-F238E27FC236}">
                  <a16:creationId xmlns:a16="http://schemas.microsoft.com/office/drawing/2014/main" id="{51E130B2-07B5-8999-CA73-F7235DCB2E50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6683375" y="2200276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2" name="Freeform 78">
              <a:extLst>
                <a:ext uri="{FF2B5EF4-FFF2-40B4-BE49-F238E27FC236}">
                  <a16:creationId xmlns:a16="http://schemas.microsoft.com/office/drawing/2014/main" id="{F2DAA560-45F4-31A5-8066-7E1977D67993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10450" y="3101976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3" name="Freeform 79">
              <a:extLst>
                <a:ext uri="{FF2B5EF4-FFF2-40B4-BE49-F238E27FC236}">
                  <a16:creationId xmlns:a16="http://schemas.microsoft.com/office/drawing/2014/main" id="{F343C896-CB6F-FC22-62FB-618691DA9547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32675" y="3111501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4" name="Freeform 80">
              <a:extLst>
                <a:ext uri="{FF2B5EF4-FFF2-40B4-BE49-F238E27FC236}">
                  <a16:creationId xmlns:a16="http://schemas.microsoft.com/office/drawing/2014/main" id="{EB3E8160-5136-4FFF-7E14-D69D590AE34A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746875" y="2189163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5" name="Freeform 81">
              <a:extLst>
                <a:ext uri="{FF2B5EF4-FFF2-40B4-BE49-F238E27FC236}">
                  <a16:creationId xmlns:a16="http://schemas.microsoft.com/office/drawing/2014/main" id="{9E737A4A-6B25-A9EF-644B-D4B4B8AE5880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6805613" y="2133601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6" name="Freeform 82">
              <a:extLst>
                <a:ext uri="{FF2B5EF4-FFF2-40B4-BE49-F238E27FC236}">
                  <a16:creationId xmlns:a16="http://schemas.microsoft.com/office/drawing/2014/main" id="{ECCA161C-57AF-0C01-FBBC-798104440411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6918325" y="2022476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7" name="Freeform 83">
              <a:extLst>
                <a:ext uri="{FF2B5EF4-FFF2-40B4-BE49-F238E27FC236}">
                  <a16:creationId xmlns:a16="http://schemas.microsoft.com/office/drawing/2014/main" id="{66AD9582-0554-1421-BE1B-F82D0971FFBF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070725" y="2720976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8" name="Freeform 84">
              <a:extLst>
                <a:ext uri="{FF2B5EF4-FFF2-40B4-BE49-F238E27FC236}">
                  <a16:creationId xmlns:a16="http://schemas.microsoft.com/office/drawing/2014/main" id="{DD660BE7-F6CC-47B1-E372-9B3CE9ED701F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134225" y="2735263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69" name="Freeform 85">
              <a:extLst>
                <a:ext uri="{FF2B5EF4-FFF2-40B4-BE49-F238E27FC236}">
                  <a16:creationId xmlns:a16="http://schemas.microsoft.com/office/drawing/2014/main" id="{C1045DDF-3A73-7E9D-FA07-AAB48115C595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6991350" y="2511426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0" name="Freeform 86">
              <a:extLst>
                <a:ext uri="{FF2B5EF4-FFF2-40B4-BE49-F238E27FC236}">
                  <a16:creationId xmlns:a16="http://schemas.microsoft.com/office/drawing/2014/main" id="{C07F76DB-8291-9105-6D89-9B29686690D0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6934200" y="2486026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1" name="Freeform 87">
              <a:extLst>
                <a:ext uri="{FF2B5EF4-FFF2-40B4-BE49-F238E27FC236}">
                  <a16:creationId xmlns:a16="http://schemas.microsoft.com/office/drawing/2014/main" id="{8ED7D115-4D60-B401-0216-559BC9F0F8F5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134225" y="2817813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2" name="Freeform 88">
              <a:extLst>
                <a:ext uri="{FF2B5EF4-FFF2-40B4-BE49-F238E27FC236}">
                  <a16:creationId xmlns:a16="http://schemas.microsoft.com/office/drawing/2014/main" id="{5278EA8A-23B6-9CAB-29B3-4F2863D535E5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089775" y="2806701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3" name="Line 89">
              <a:extLst>
                <a:ext uri="{FF2B5EF4-FFF2-40B4-BE49-F238E27FC236}">
                  <a16:creationId xmlns:a16="http://schemas.microsoft.com/office/drawing/2014/main" id="{307C45AE-0D69-D10B-E748-87C42D9F1F43}"/>
                </a:ext>
              </a:extLst>
            </p:cNvPr>
            <p:cNvSpPr>
              <a:spLocks noChangeShapeType="1"/>
            </p:cNvSpPr>
            <p:nvPr>
              <p:custDataLst>
                <p:tags r:id="rId71"/>
              </p:custDataLst>
            </p:nvPr>
          </p:nvSpPr>
          <p:spPr bwMode="auto">
            <a:xfrm>
              <a:off x="7123113" y="2792413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4" name="Freeform 90">
              <a:extLst>
                <a:ext uri="{FF2B5EF4-FFF2-40B4-BE49-F238E27FC236}">
                  <a16:creationId xmlns:a16="http://schemas.microsoft.com/office/drawing/2014/main" id="{A74B4D7E-988C-FEB2-B20B-7BB722FF15D7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143750" y="2798763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5" name="Freeform 91">
              <a:extLst>
                <a:ext uri="{FF2B5EF4-FFF2-40B4-BE49-F238E27FC236}">
                  <a16:creationId xmlns:a16="http://schemas.microsoft.com/office/drawing/2014/main" id="{CE38CD69-1680-8139-BF19-4E62702613CC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097713" y="2792413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6" name="Freeform 92">
              <a:extLst>
                <a:ext uri="{FF2B5EF4-FFF2-40B4-BE49-F238E27FC236}">
                  <a16:creationId xmlns:a16="http://schemas.microsoft.com/office/drawing/2014/main" id="{AD353E3A-D578-B7CF-89BD-6F44FB7BDDB7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091363" y="2773363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77" name="Freeform 93">
              <a:extLst>
                <a:ext uri="{FF2B5EF4-FFF2-40B4-BE49-F238E27FC236}">
                  <a16:creationId xmlns:a16="http://schemas.microsoft.com/office/drawing/2014/main" id="{9E1290CD-C98F-0915-270E-C52A0B5B3711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172325" y="2500313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78" name="Group 94">
              <a:extLst>
                <a:ext uri="{FF2B5EF4-FFF2-40B4-BE49-F238E27FC236}">
                  <a16:creationId xmlns:a16="http://schemas.microsoft.com/office/drawing/2014/main" id="{83286353-BF0E-1C54-777C-4E9D0A9C8AE7}"/>
                </a:ext>
              </a:extLst>
            </p:cNvPr>
            <p:cNvGrpSpPr>
              <a:grpSpLocks/>
            </p:cNvGrpSpPr>
            <p:nvPr>
              <p:custDataLst>
                <p:tags r:id="rId76"/>
              </p:custDataLst>
            </p:nvPr>
          </p:nvGrpSpPr>
          <p:grpSpPr bwMode="auto">
            <a:xfrm>
              <a:off x="7046913" y="2171701"/>
              <a:ext cx="163512" cy="114300"/>
              <a:chOff x="5379" y="2466"/>
              <a:chExt cx="122" cy="71"/>
            </a:xfrm>
          </p:grpSpPr>
          <p:sp>
            <p:nvSpPr>
              <p:cNvPr id="526" name="Freeform 95">
                <a:extLst>
                  <a:ext uri="{FF2B5EF4-FFF2-40B4-BE49-F238E27FC236}">
                    <a16:creationId xmlns:a16="http://schemas.microsoft.com/office/drawing/2014/main" id="{05A9FC4A-EE6F-4B1A-070F-22F124E956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7" name="Freeform 96">
                <a:extLst>
                  <a:ext uri="{FF2B5EF4-FFF2-40B4-BE49-F238E27FC236}">
                    <a16:creationId xmlns:a16="http://schemas.microsoft.com/office/drawing/2014/main" id="{E43B175E-AA22-CAF9-1EE3-476342D46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8" name="Freeform 97">
                <a:extLst>
                  <a:ext uri="{FF2B5EF4-FFF2-40B4-BE49-F238E27FC236}">
                    <a16:creationId xmlns:a16="http://schemas.microsoft.com/office/drawing/2014/main" id="{ABD3FEB5-E09A-75E5-7FAE-5CDA3F3D6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9" name="Freeform 98">
                <a:extLst>
                  <a:ext uri="{FF2B5EF4-FFF2-40B4-BE49-F238E27FC236}">
                    <a16:creationId xmlns:a16="http://schemas.microsoft.com/office/drawing/2014/main" id="{D6009B0B-1E26-A124-26FB-71EAB1B3D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0" name="Freeform 99">
                <a:extLst>
                  <a:ext uri="{FF2B5EF4-FFF2-40B4-BE49-F238E27FC236}">
                    <a16:creationId xmlns:a16="http://schemas.microsoft.com/office/drawing/2014/main" id="{462E09CD-392E-4123-DF37-5A2A85A75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1" name="Line 100">
                <a:extLst>
                  <a:ext uri="{FF2B5EF4-FFF2-40B4-BE49-F238E27FC236}">
                    <a16:creationId xmlns:a16="http://schemas.microsoft.com/office/drawing/2014/main" id="{9401FE88-96AE-FBED-61B7-7B465C7424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2" name="Freeform 101">
                <a:extLst>
                  <a:ext uri="{FF2B5EF4-FFF2-40B4-BE49-F238E27FC236}">
                    <a16:creationId xmlns:a16="http://schemas.microsoft.com/office/drawing/2014/main" id="{2EC1AF4C-905B-6B34-D637-2E5080561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3" name="Line 102">
                <a:extLst>
                  <a:ext uri="{FF2B5EF4-FFF2-40B4-BE49-F238E27FC236}">
                    <a16:creationId xmlns:a16="http://schemas.microsoft.com/office/drawing/2014/main" id="{A787CE3C-507D-B54C-227B-193C0243B0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34" name="Freeform 103">
                <a:extLst>
                  <a:ext uri="{FF2B5EF4-FFF2-40B4-BE49-F238E27FC236}">
                    <a16:creationId xmlns:a16="http://schemas.microsoft.com/office/drawing/2014/main" id="{06709C23-4296-78F1-08CE-A70BF0E7F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79" name="Freeform 104">
              <a:extLst>
                <a:ext uri="{FF2B5EF4-FFF2-40B4-BE49-F238E27FC236}">
                  <a16:creationId xmlns:a16="http://schemas.microsoft.com/office/drawing/2014/main" id="{72A99405-CCD0-D0F8-4765-6FAB0CAB6122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630863" y="2033588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0" name="Freeform 105">
              <a:extLst>
                <a:ext uri="{FF2B5EF4-FFF2-40B4-BE49-F238E27FC236}">
                  <a16:creationId xmlns:a16="http://schemas.microsoft.com/office/drawing/2014/main" id="{40775A07-B444-D5F0-8AE4-A52A9F218471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2530475" y="4173538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1" name="Freeform 106">
              <a:extLst>
                <a:ext uri="{FF2B5EF4-FFF2-40B4-BE49-F238E27FC236}">
                  <a16:creationId xmlns:a16="http://schemas.microsoft.com/office/drawing/2014/main" id="{E4635706-8AAA-092F-CA99-B9A309CF487E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832350" y="4011613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2" name="Freeform 107">
              <a:extLst>
                <a:ext uri="{FF2B5EF4-FFF2-40B4-BE49-F238E27FC236}">
                  <a16:creationId xmlns:a16="http://schemas.microsoft.com/office/drawing/2014/main" id="{830116A1-DF92-A931-31A7-15D43157A7B5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6986588" y="782638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3" name="Freeform 108">
              <a:extLst>
                <a:ext uri="{FF2B5EF4-FFF2-40B4-BE49-F238E27FC236}">
                  <a16:creationId xmlns:a16="http://schemas.microsoft.com/office/drawing/2014/main" id="{5843980D-8D45-55E4-4103-D8801BC39188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62800" y="815976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4" name="Freeform 109">
              <a:extLst>
                <a:ext uri="{FF2B5EF4-FFF2-40B4-BE49-F238E27FC236}">
                  <a16:creationId xmlns:a16="http://schemas.microsoft.com/office/drawing/2014/main" id="{C2F7AA5A-7E20-570F-3BF6-84301439BAA1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6611938" y="1046163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5" name="Freeform 110">
              <a:extLst>
                <a:ext uri="{FF2B5EF4-FFF2-40B4-BE49-F238E27FC236}">
                  <a16:creationId xmlns:a16="http://schemas.microsoft.com/office/drawing/2014/main" id="{EC69F828-B768-BA53-FA50-50070C27DD3B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6426200" y="1608138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6" name="Freeform 111">
              <a:extLst>
                <a:ext uri="{FF2B5EF4-FFF2-40B4-BE49-F238E27FC236}">
                  <a16:creationId xmlns:a16="http://schemas.microsoft.com/office/drawing/2014/main" id="{4B2E7915-ECED-F149-EA3C-4D8E51D01A0E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6443663" y="1543051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7" name="Freeform 112">
              <a:extLst>
                <a:ext uri="{FF2B5EF4-FFF2-40B4-BE49-F238E27FC236}">
                  <a16:creationId xmlns:a16="http://schemas.microsoft.com/office/drawing/2014/main" id="{ECC1CBD1-21B0-C08D-10A9-E4AF779AA756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6332538" y="1392238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8" name="Freeform 113">
              <a:extLst>
                <a:ext uri="{FF2B5EF4-FFF2-40B4-BE49-F238E27FC236}">
                  <a16:creationId xmlns:a16="http://schemas.microsoft.com/office/drawing/2014/main" id="{045F0CBC-53B7-877A-A2A3-D4FBD0960D9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184525" y="519113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89" name="Freeform 114">
              <a:extLst>
                <a:ext uri="{FF2B5EF4-FFF2-40B4-BE49-F238E27FC236}">
                  <a16:creationId xmlns:a16="http://schemas.microsoft.com/office/drawing/2014/main" id="{C338F484-1A23-5614-ED23-65230105AD6E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170238" y="287338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0" name="Freeform 115">
              <a:extLst>
                <a:ext uri="{FF2B5EF4-FFF2-40B4-BE49-F238E27FC236}">
                  <a16:creationId xmlns:a16="http://schemas.microsoft.com/office/drawing/2014/main" id="{68AF4192-A733-4911-AC10-82A73430773B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4651375" y="2065338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1" name="Freeform 116">
              <a:extLst>
                <a:ext uri="{FF2B5EF4-FFF2-40B4-BE49-F238E27FC236}">
                  <a16:creationId xmlns:a16="http://schemas.microsoft.com/office/drawing/2014/main" id="{4BA3EDF1-C08F-A8C8-7425-2B681A91BBDE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4354513" y="1927226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92" name="Group 117">
              <a:extLst>
                <a:ext uri="{FF2B5EF4-FFF2-40B4-BE49-F238E27FC236}">
                  <a16:creationId xmlns:a16="http://schemas.microsoft.com/office/drawing/2014/main" id="{3D9FF823-B082-14FB-388D-2F2E201355E6}"/>
                </a:ext>
              </a:extLst>
            </p:cNvPr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5126038" y="2114551"/>
              <a:ext cx="46037" cy="374650"/>
              <a:chOff x="3950" y="2430"/>
              <a:chExt cx="36" cy="234"/>
            </a:xfrm>
          </p:grpSpPr>
          <p:sp>
            <p:nvSpPr>
              <p:cNvPr id="495" name="Freeform 118">
                <a:extLst>
                  <a:ext uri="{FF2B5EF4-FFF2-40B4-BE49-F238E27FC236}">
                    <a16:creationId xmlns:a16="http://schemas.microsoft.com/office/drawing/2014/main" id="{AB9F1A8E-33ED-46C5-37AD-F2007D836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6" name="Freeform 119">
                <a:extLst>
                  <a:ext uri="{FF2B5EF4-FFF2-40B4-BE49-F238E27FC236}">
                    <a16:creationId xmlns:a16="http://schemas.microsoft.com/office/drawing/2014/main" id="{FDECF8E9-AF61-FB4B-C8A3-D2ABE3934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7" name="Freeform 120">
                <a:extLst>
                  <a:ext uri="{FF2B5EF4-FFF2-40B4-BE49-F238E27FC236}">
                    <a16:creationId xmlns:a16="http://schemas.microsoft.com/office/drawing/2014/main" id="{4B1951A4-AC16-0B51-1DB6-DEE1292FB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8" name="Rectangle 121">
                <a:extLst>
                  <a:ext uri="{FF2B5EF4-FFF2-40B4-BE49-F238E27FC236}">
                    <a16:creationId xmlns:a16="http://schemas.microsoft.com/office/drawing/2014/main" id="{7577A16F-77FF-DAA8-BE43-22FA8AA79B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CH" sz="1050">
                  <a:latin typeface="Tenorite" pitchFamily="2" charset="0"/>
                </a:endParaRPr>
              </a:p>
            </p:txBody>
          </p:sp>
          <p:sp>
            <p:nvSpPr>
              <p:cNvPr id="499" name="Line 122">
                <a:extLst>
                  <a:ext uri="{FF2B5EF4-FFF2-40B4-BE49-F238E27FC236}">
                    <a16:creationId xmlns:a16="http://schemas.microsoft.com/office/drawing/2014/main" id="{6172D70F-488E-00BA-F577-92D9B67D0B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0" name="Freeform 123">
                <a:extLst>
                  <a:ext uri="{FF2B5EF4-FFF2-40B4-BE49-F238E27FC236}">
                    <a16:creationId xmlns:a16="http://schemas.microsoft.com/office/drawing/2014/main" id="{CCF4D000-57AD-4417-A5F4-9A02F22DA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1" name="Freeform 124">
                <a:extLst>
                  <a:ext uri="{FF2B5EF4-FFF2-40B4-BE49-F238E27FC236}">
                    <a16:creationId xmlns:a16="http://schemas.microsoft.com/office/drawing/2014/main" id="{E72E9977-0314-3275-3ECC-EEB5B7A5B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2" name="Line 125">
                <a:extLst>
                  <a:ext uri="{FF2B5EF4-FFF2-40B4-BE49-F238E27FC236}">
                    <a16:creationId xmlns:a16="http://schemas.microsoft.com/office/drawing/2014/main" id="{AA89B404-EB9B-87D7-761C-0E8C89B67B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3" name="Freeform 126">
                <a:extLst>
                  <a:ext uri="{FF2B5EF4-FFF2-40B4-BE49-F238E27FC236}">
                    <a16:creationId xmlns:a16="http://schemas.microsoft.com/office/drawing/2014/main" id="{9EBC2453-CA20-6D84-807A-99581B9EB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4" name="Freeform 127">
                <a:extLst>
                  <a:ext uri="{FF2B5EF4-FFF2-40B4-BE49-F238E27FC236}">
                    <a16:creationId xmlns:a16="http://schemas.microsoft.com/office/drawing/2014/main" id="{E93D1057-E9C8-7720-372B-93CD6E9CF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5" name="Line 128">
                <a:extLst>
                  <a:ext uri="{FF2B5EF4-FFF2-40B4-BE49-F238E27FC236}">
                    <a16:creationId xmlns:a16="http://schemas.microsoft.com/office/drawing/2014/main" id="{6B83B7D5-E21A-7DBD-5E86-A04C0EAE95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6" name="Freeform 129">
                <a:extLst>
                  <a:ext uri="{FF2B5EF4-FFF2-40B4-BE49-F238E27FC236}">
                    <a16:creationId xmlns:a16="http://schemas.microsoft.com/office/drawing/2014/main" id="{0DAE2FC9-9F39-E0B9-C0D6-91B773ED5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7" name="Freeform 130">
                <a:extLst>
                  <a:ext uri="{FF2B5EF4-FFF2-40B4-BE49-F238E27FC236}">
                    <a16:creationId xmlns:a16="http://schemas.microsoft.com/office/drawing/2014/main" id="{9F0D5767-53E2-E60B-A739-E099941AB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8" name="Freeform 131">
                <a:extLst>
                  <a:ext uri="{FF2B5EF4-FFF2-40B4-BE49-F238E27FC236}">
                    <a16:creationId xmlns:a16="http://schemas.microsoft.com/office/drawing/2014/main" id="{61D8DED5-8B6E-6549-8738-D176F8902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09" name="Freeform 132">
                <a:extLst>
                  <a:ext uri="{FF2B5EF4-FFF2-40B4-BE49-F238E27FC236}">
                    <a16:creationId xmlns:a16="http://schemas.microsoft.com/office/drawing/2014/main" id="{62463291-2B10-EAA3-A41C-07CC3BE38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0" name="Freeform 133">
                <a:extLst>
                  <a:ext uri="{FF2B5EF4-FFF2-40B4-BE49-F238E27FC236}">
                    <a16:creationId xmlns:a16="http://schemas.microsoft.com/office/drawing/2014/main" id="{E2A39E67-413B-BBDD-5DBD-9E7A89129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1" name="Freeform 134">
                <a:extLst>
                  <a:ext uri="{FF2B5EF4-FFF2-40B4-BE49-F238E27FC236}">
                    <a16:creationId xmlns:a16="http://schemas.microsoft.com/office/drawing/2014/main" id="{3FBA831C-9BBA-CB66-1F3B-718EEC6F0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2" name="Freeform 135">
                <a:extLst>
                  <a:ext uri="{FF2B5EF4-FFF2-40B4-BE49-F238E27FC236}">
                    <a16:creationId xmlns:a16="http://schemas.microsoft.com/office/drawing/2014/main" id="{43C74B7F-6247-8AFC-7FC4-ECCE13147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3" name="Rectangle 136">
                <a:extLst>
                  <a:ext uri="{FF2B5EF4-FFF2-40B4-BE49-F238E27FC236}">
                    <a16:creationId xmlns:a16="http://schemas.microsoft.com/office/drawing/2014/main" id="{FE93F362-8237-AE23-8C80-768333EB2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CH" sz="1050">
                  <a:latin typeface="Tenorite" pitchFamily="2" charset="0"/>
                </a:endParaRPr>
              </a:p>
            </p:txBody>
          </p:sp>
          <p:sp>
            <p:nvSpPr>
              <p:cNvPr id="514" name="Line 137">
                <a:extLst>
                  <a:ext uri="{FF2B5EF4-FFF2-40B4-BE49-F238E27FC236}">
                    <a16:creationId xmlns:a16="http://schemas.microsoft.com/office/drawing/2014/main" id="{A4C92461-4901-17DF-3509-B03883B43E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5" name="Freeform 138">
                <a:extLst>
                  <a:ext uri="{FF2B5EF4-FFF2-40B4-BE49-F238E27FC236}">
                    <a16:creationId xmlns:a16="http://schemas.microsoft.com/office/drawing/2014/main" id="{548E089B-7C47-099F-D742-7B356C447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6" name="Freeform 139">
                <a:extLst>
                  <a:ext uri="{FF2B5EF4-FFF2-40B4-BE49-F238E27FC236}">
                    <a16:creationId xmlns:a16="http://schemas.microsoft.com/office/drawing/2014/main" id="{D47E1387-7297-F950-4BCC-76D7E6A6E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7" name="Line 140">
                <a:extLst>
                  <a:ext uri="{FF2B5EF4-FFF2-40B4-BE49-F238E27FC236}">
                    <a16:creationId xmlns:a16="http://schemas.microsoft.com/office/drawing/2014/main" id="{CBEB0F83-976F-DFF5-6FCD-AE91F23CE1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8" name="Freeform 141">
                <a:extLst>
                  <a:ext uri="{FF2B5EF4-FFF2-40B4-BE49-F238E27FC236}">
                    <a16:creationId xmlns:a16="http://schemas.microsoft.com/office/drawing/2014/main" id="{76C8B26F-EF01-E374-65BE-9CA405A27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19" name="Freeform 142">
                <a:extLst>
                  <a:ext uri="{FF2B5EF4-FFF2-40B4-BE49-F238E27FC236}">
                    <a16:creationId xmlns:a16="http://schemas.microsoft.com/office/drawing/2014/main" id="{289A9A72-F35D-D5D0-5957-65AA61D20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0" name="Line 143">
                <a:extLst>
                  <a:ext uri="{FF2B5EF4-FFF2-40B4-BE49-F238E27FC236}">
                    <a16:creationId xmlns:a16="http://schemas.microsoft.com/office/drawing/2014/main" id="{F27C3EAD-6F2A-8D4C-E132-3914AF9E16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1" name="Freeform 144">
                <a:extLst>
                  <a:ext uri="{FF2B5EF4-FFF2-40B4-BE49-F238E27FC236}">
                    <a16:creationId xmlns:a16="http://schemas.microsoft.com/office/drawing/2014/main" id="{B87E9496-CDA7-32FF-6752-77FCA23F0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2" name="Freeform 145">
                <a:extLst>
                  <a:ext uri="{FF2B5EF4-FFF2-40B4-BE49-F238E27FC236}">
                    <a16:creationId xmlns:a16="http://schemas.microsoft.com/office/drawing/2014/main" id="{7C71D219-650A-45CF-3A28-B29C1248B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3" name="Freeform 146">
                <a:extLst>
                  <a:ext uri="{FF2B5EF4-FFF2-40B4-BE49-F238E27FC236}">
                    <a16:creationId xmlns:a16="http://schemas.microsoft.com/office/drawing/2014/main" id="{F2F22990-6CAA-D231-6437-D2E722E45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4" name="Freeform 147">
                <a:extLst>
                  <a:ext uri="{FF2B5EF4-FFF2-40B4-BE49-F238E27FC236}">
                    <a16:creationId xmlns:a16="http://schemas.microsoft.com/office/drawing/2014/main" id="{603A3A52-0CB3-19CF-0EE7-A258AD2AE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525" name="Freeform 148">
                <a:extLst>
                  <a:ext uri="{FF2B5EF4-FFF2-40B4-BE49-F238E27FC236}">
                    <a16:creationId xmlns:a16="http://schemas.microsoft.com/office/drawing/2014/main" id="{2ED40875-E871-EBEB-0544-04E690CEF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grpSp>
          <p:nvGrpSpPr>
            <p:cNvPr id="93" name="Group 149">
              <a:extLst>
                <a:ext uri="{FF2B5EF4-FFF2-40B4-BE49-F238E27FC236}">
                  <a16:creationId xmlns:a16="http://schemas.microsoft.com/office/drawing/2014/main" id="{31B9D841-5668-7B67-D51F-39C552BD624C}"/>
                </a:ext>
              </a:extLst>
            </p:cNvPr>
            <p:cNvGrpSpPr>
              <a:grpSpLocks/>
            </p:cNvGrpSpPr>
            <p:nvPr>
              <p:custDataLst>
                <p:tags r:id="rId91"/>
              </p:custDataLst>
            </p:nvPr>
          </p:nvGrpSpPr>
          <p:grpSpPr bwMode="auto">
            <a:xfrm>
              <a:off x="7191375" y="2614613"/>
              <a:ext cx="185738" cy="214313"/>
              <a:chOff x="5486" y="2743"/>
              <a:chExt cx="137" cy="132"/>
            </a:xfrm>
          </p:grpSpPr>
          <p:sp>
            <p:nvSpPr>
              <p:cNvPr id="486" name="Freeform 150">
                <a:extLst>
                  <a:ext uri="{FF2B5EF4-FFF2-40B4-BE49-F238E27FC236}">
                    <a16:creationId xmlns:a16="http://schemas.microsoft.com/office/drawing/2014/main" id="{B5502E84-6899-B157-4B4E-49A30DAA3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7" name="Freeform 151">
                <a:extLst>
                  <a:ext uri="{FF2B5EF4-FFF2-40B4-BE49-F238E27FC236}">
                    <a16:creationId xmlns:a16="http://schemas.microsoft.com/office/drawing/2014/main" id="{D4CB5EF8-6E72-40A4-EBB0-3C979AE1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8" name="Freeform 152">
                <a:extLst>
                  <a:ext uri="{FF2B5EF4-FFF2-40B4-BE49-F238E27FC236}">
                    <a16:creationId xmlns:a16="http://schemas.microsoft.com/office/drawing/2014/main" id="{B2F44805-4038-CC49-6998-D0D5B66BB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9" name="Freeform 153">
                <a:extLst>
                  <a:ext uri="{FF2B5EF4-FFF2-40B4-BE49-F238E27FC236}">
                    <a16:creationId xmlns:a16="http://schemas.microsoft.com/office/drawing/2014/main" id="{FB8C3037-1BE0-8C70-8B2F-7B6E00090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0" name="Freeform 154">
                <a:extLst>
                  <a:ext uri="{FF2B5EF4-FFF2-40B4-BE49-F238E27FC236}">
                    <a16:creationId xmlns:a16="http://schemas.microsoft.com/office/drawing/2014/main" id="{AFDFB332-F7EF-DE4C-E9EE-1CB8243A7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1" name="Freeform 155">
                <a:extLst>
                  <a:ext uri="{FF2B5EF4-FFF2-40B4-BE49-F238E27FC236}">
                    <a16:creationId xmlns:a16="http://schemas.microsoft.com/office/drawing/2014/main" id="{73312AD1-8982-3059-7F49-218157EF8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2" name="Freeform 156">
                <a:extLst>
                  <a:ext uri="{FF2B5EF4-FFF2-40B4-BE49-F238E27FC236}">
                    <a16:creationId xmlns:a16="http://schemas.microsoft.com/office/drawing/2014/main" id="{9688B110-0BDE-16E5-8A00-80985DEF7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3" name="Freeform 157">
                <a:extLst>
                  <a:ext uri="{FF2B5EF4-FFF2-40B4-BE49-F238E27FC236}">
                    <a16:creationId xmlns:a16="http://schemas.microsoft.com/office/drawing/2014/main" id="{AA75DA75-A0C4-495B-9835-5B16D71DAF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94" name="Freeform 158">
                <a:extLst>
                  <a:ext uri="{FF2B5EF4-FFF2-40B4-BE49-F238E27FC236}">
                    <a16:creationId xmlns:a16="http://schemas.microsoft.com/office/drawing/2014/main" id="{9024F409-A338-01ED-7354-2A7E1DF19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94" name="Freeform 159">
              <a:extLst>
                <a:ext uri="{FF2B5EF4-FFF2-40B4-BE49-F238E27FC236}">
                  <a16:creationId xmlns:a16="http://schemas.microsoft.com/office/drawing/2014/main" id="{C6470D38-1BEA-13E5-CF6B-E7CBE5867866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536950" y="2352676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5" name="Freeform 160">
              <a:extLst>
                <a:ext uri="{FF2B5EF4-FFF2-40B4-BE49-F238E27FC236}">
                  <a16:creationId xmlns:a16="http://schemas.microsoft.com/office/drawing/2014/main" id="{49388A97-90AC-D13D-A6DD-1B7CB9D99F0B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460750" y="2492376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6" name="Freeform 161">
              <a:extLst>
                <a:ext uri="{FF2B5EF4-FFF2-40B4-BE49-F238E27FC236}">
                  <a16:creationId xmlns:a16="http://schemas.microsoft.com/office/drawing/2014/main" id="{4F4970C4-FCEA-F571-E203-994336F9174E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5259388" y="819151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7" name="Freeform 162">
              <a:extLst>
                <a:ext uri="{FF2B5EF4-FFF2-40B4-BE49-F238E27FC236}">
                  <a16:creationId xmlns:a16="http://schemas.microsoft.com/office/drawing/2014/main" id="{9FADBB6B-8A66-5B8D-BD58-35E7E2329831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1585913" y="2786063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98" name="Freeform 163">
              <a:extLst>
                <a:ext uri="{FF2B5EF4-FFF2-40B4-BE49-F238E27FC236}">
                  <a16:creationId xmlns:a16="http://schemas.microsoft.com/office/drawing/2014/main" id="{C63882A9-64E2-6662-369A-85954E9B5FD1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1800225" y="2216151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99" name="Group 164">
              <a:extLst>
                <a:ext uri="{FF2B5EF4-FFF2-40B4-BE49-F238E27FC236}">
                  <a16:creationId xmlns:a16="http://schemas.microsoft.com/office/drawing/2014/main" id="{14D61B1C-94E7-6A0F-00F7-9FABF4A2E382}"/>
                </a:ext>
              </a:extLst>
            </p:cNvPr>
            <p:cNvGrpSpPr>
              <a:grpSpLocks/>
            </p:cNvGrpSpPr>
            <p:nvPr>
              <p:custDataLst>
                <p:tags r:id="rId97"/>
              </p:custDataLst>
            </p:nvPr>
          </p:nvGrpSpPr>
          <p:grpSpPr bwMode="auto">
            <a:xfrm>
              <a:off x="1514475" y="2051051"/>
              <a:ext cx="323850" cy="401637"/>
              <a:chOff x="1486" y="2412"/>
              <a:chExt cx="244" cy="256"/>
            </a:xfrm>
          </p:grpSpPr>
          <p:sp>
            <p:nvSpPr>
              <p:cNvPr id="482" name="Freeform 165">
                <a:extLst>
                  <a:ext uri="{FF2B5EF4-FFF2-40B4-BE49-F238E27FC236}">
                    <a16:creationId xmlns:a16="http://schemas.microsoft.com/office/drawing/2014/main" id="{A12C80A3-31BB-A7B8-0983-0556F9D9D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3" name="Freeform 166">
                <a:extLst>
                  <a:ext uri="{FF2B5EF4-FFF2-40B4-BE49-F238E27FC236}">
                    <a16:creationId xmlns:a16="http://schemas.microsoft.com/office/drawing/2014/main" id="{20FE04BF-0E34-885C-22BD-AE78BAB6D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4" name="Freeform 167">
                <a:extLst>
                  <a:ext uri="{FF2B5EF4-FFF2-40B4-BE49-F238E27FC236}">
                    <a16:creationId xmlns:a16="http://schemas.microsoft.com/office/drawing/2014/main" id="{9BB20476-E0B8-5845-04FE-7B9FDE142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5" name="Freeform 168">
                <a:extLst>
                  <a:ext uri="{FF2B5EF4-FFF2-40B4-BE49-F238E27FC236}">
                    <a16:creationId xmlns:a16="http://schemas.microsoft.com/office/drawing/2014/main" id="{0A6EA203-BA1A-D9B8-00F7-5E038489F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100" name="Freeform 169">
              <a:extLst>
                <a:ext uri="{FF2B5EF4-FFF2-40B4-BE49-F238E27FC236}">
                  <a16:creationId xmlns:a16="http://schemas.microsoft.com/office/drawing/2014/main" id="{E4A3FE08-BC55-487D-C546-FB01B537A09D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6535738" y="3590926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1" name="Freeform 170">
              <a:extLst>
                <a:ext uri="{FF2B5EF4-FFF2-40B4-BE49-F238E27FC236}">
                  <a16:creationId xmlns:a16="http://schemas.microsoft.com/office/drawing/2014/main" id="{FCF6CE65-781E-A5E1-D104-F2FC8275E872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6651625" y="3724276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2" name="Line 171">
              <a:extLst>
                <a:ext uri="{FF2B5EF4-FFF2-40B4-BE49-F238E27FC236}">
                  <a16:creationId xmlns:a16="http://schemas.microsoft.com/office/drawing/2014/main" id="{53BD1011-A2E3-6F0F-2097-81A1455D36C8}"/>
                </a:ext>
              </a:extLst>
            </p:cNvPr>
            <p:cNvSpPr>
              <a:spLocks noChangeShapeType="1"/>
            </p:cNvSpPr>
            <p:nvPr>
              <p:custDataLst>
                <p:tags r:id="rId100"/>
              </p:custDataLst>
            </p:nvPr>
          </p:nvSpPr>
          <p:spPr bwMode="auto">
            <a:xfrm flipV="1">
              <a:off x="6742113" y="3722688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3" name="Freeform 172">
              <a:extLst>
                <a:ext uri="{FF2B5EF4-FFF2-40B4-BE49-F238E27FC236}">
                  <a16:creationId xmlns:a16="http://schemas.microsoft.com/office/drawing/2014/main" id="{3BE10FAF-304F-87CF-48A5-F9B14578CAB5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6742113" y="3722688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4" name="Freeform 173">
              <a:extLst>
                <a:ext uri="{FF2B5EF4-FFF2-40B4-BE49-F238E27FC236}">
                  <a16:creationId xmlns:a16="http://schemas.microsoft.com/office/drawing/2014/main" id="{920DD349-9451-27F0-8B19-8C0CDF2384B1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040563" y="3192463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5" name="Freeform 174">
              <a:extLst>
                <a:ext uri="{FF2B5EF4-FFF2-40B4-BE49-F238E27FC236}">
                  <a16:creationId xmlns:a16="http://schemas.microsoft.com/office/drawing/2014/main" id="{B7ACCBCB-C77C-307D-37E4-43B8460347F5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046913" y="3119438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6" name="Freeform 175">
              <a:extLst>
                <a:ext uri="{FF2B5EF4-FFF2-40B4-BE49-F238E27FC236}">
                  <a16:creationId xmlns:a16="http://schemas.microsoft.com/office/drawing/2014/main" id="{AF8E4D02-8D1D-FBA9-43D4-F70DC76CDEF6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023100" y="3095626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7" name="Freeform 176">
              <a:extLst>
                <a:ext uri="{FF2B5EF4-FFF2-40B4-BE49-F238E27FC236}">
                  <a16:creationId xmlns:a16="http://schemas.microsoft.com/office/drawing/2014/main" id="{92F384AE-15A8-901B-F652-D58BC05BCCE9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6942138" y="2973388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8" name="Line 177">
              <a:extLst>
                <a:ext uri="{FF2B5EF4-FFF2-40B4-BE49-F238E27FC236}">
                  <a16:creationId xmlns:a16="http://schemas.microsoft.com/office/drawing/2014/main" id="{FC908394-E900-D127-5EE4-78109400262A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H="1" flipV="1">
              <a:off x="6935788" y="2940051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09" name="Freeform 178">
              <a:extLst>
                <a:ext uri="{FF2B5EF4-FFF2-40B4-BE49-F238E27FC236}">
                  <a16:creationId xmlns:a16="http://schemas.microsoft.com/office/drawing/2014/main" id="{72DF6106-FEB8-0BAC-18ED-1354FBE1F3AA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935788" y="2924176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0" name="Line 179">
              <a:extLst>
                <a:ext uri="{FF2B5EF4-FFF2-40B4-BE49-F238E27FC236}">
                  <a16:creationId xmlns:a16="http://schemas.microsoft.com/office/drawing/2014/main" id="{909A88E0-4702-F839-C034-92FF0127B832}"/>
                </a:ext>
              </a:extLst>
            </p:cNvPr>
            <p:cNvSpPr>
              <a:spLocks noChangeShapeType="1"/>
            </p:cNvSpPr>
            <p:nvPr>
              <p:custDataLst>
                <p:tags r:id="rId108"/>
              </p:custDataLst>
            </p:nvPr>
          </p:nvSpPr>
          <p:spPr bwMode="auto">
            <a:xfrm flipV="1">
              <a:off x="6942138" y="2911476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1" name="Freeform 180">
              <a:extLst>
                <a:ext uri="{FF2B5EF4-FFF2-40B4-BE49-F238E27FC236}">
                  <a16:creationId xmlns:a16="http://schemas.microsoft.com/office/drawing/2014/main" id="{75EC757E-B654-7E2D-D36B-2E78D42D69F0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6896100" y="2844801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2" name="Freeform 181">
              <a:extLst>
                <a:ext uri="{FF2B5EF4-FFF2-40B4-BE49-F238E27FC236}">
                  <a16:creationId xmlns:a16="http://schemas.microsoft.com/office/drawing/2014/main" id="{30F1668E-96BC-06A8-F21D-1374A10A1349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6910388" y="2787651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3" name="Freeform 182">
              <a:extLst>
                <a:ext uri="{FF2B5EF4-FFF2-40B4-BE49-F238E27FC236}">
                  <a16:creationId xmlns:a16="http://schemas.microsoft.com/office/drawing/2014/main" id="{9E2716A1-BCE7-A256-C231-D7769BB3052E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6916738" y="2781301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4" name="Freeform 183">
              <a:extLst>
                <a:ext uri="{FF2B5EF4-FFF2-40B4-BE49-F238E27FC236}">
                  <a16:creationId xmlns:a16="http://schemas.microsoft.com/office/drawing/2014/main" id="{45F042F0-36B7-639C-8FA1-2B38212311EB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6932613" y="2762251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5" name="Line 184">
              <a:extLst>
                <a:ext uri="{FF2B5EF4-FFF2-40B4-BE49-F238E27FC236}">
                  <a16:creationId xmlns:a16="http://schemas.microsoft.com/office/drawing/2014/main" id="{7AA5E440-D87D-693F-A946-030FB0D66362}"/>
                </a:ext>
              </a:extLst>
            </p:cNvPr>
            <p:cNvSpPr>
              <a:spLocks noChangeShapeType="1"/>
            </p:cNvSpPr>
            <p:nvPr>
              <p:custDataLst>
                <p:tags r:id="rId113"/>
              </p:custDataLst>
            </p:nvPr>
          </p:nvSpPr>
          <p:spPr bwMode="auto">
            <a:xfrm flipV="1">
              <a:off x="6932613" y="2781301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6" name="Freeform 185">
              <a:extLst>
                <a:ext uri="{FF2B5EF4-FFF2-40B4-BE49-F238E27FC236}">
                  <a16:creationId xmlns:a16="http://schemas.microsoft.com/office/drawing/2014/main" id="{6451E3B8-5D0E-A509-D529-D76B352FDC22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6916738" y="2765426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7" name="Freeform 186">
              <a:extLst>
                <a:ext uri="{FF2B5EF4-FFF2-40B4-BE49-F238E27FC236}">
                  <a16:creationId xmlns:a16="http://schemas.microsoft.com/office/drawing/2014/main" id="{79E7CC14-FF0E-CD8B-D717-D485B00EE5AD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6637338" y="3754438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8" name="Freeform 187">
              <a:extLst>
                <a:ext uri="{FF2B5EF4-FFF2-40B4-BE49-F238E27FC236}">
                  <a16:creationId xmlns:a16="http://schemas.microsoft.com/office/drawing/2014/main" id="{A21DA2D4-0437-164F-CD0E-17CA9F34EDFC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6775450" y="2973388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19" name="Freeform 188">
              <a:extLst>
                <a:ext uri="{FF2B5EF4-FFF2-40B4-BE49-F238E27FC236}">
                  <a16:creationId xmlns:a16="http://schemas.microsoft.com/office/drawing/2014/main" id="{9E30614D-8075-9A9E-BF10-E1D56082217C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6708775" y="2895601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0" name="Freeform 189">
              <a:extLst>
                <a:ext uri="{FF2B5EF4-FFF2-40B4-BE49-F238E27FC236}">
                  <a16:creationId xmlns:a16="http://schemas.microsoft.com/office/drawing/2014/main" id="{020B8265-7934-607D-F5B9-DF34738EE28A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6724650" y="2808288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1" name="Freeform 190">
              <a:extLst>
                <a:ext uri="{FF2B5EF4-FFF2-40B4-BE49-F238E27FC236}">
                  <a16:creationId xmlns:a16="http://schemas.microsoft.com/office/drawing/2014/main" id="{5EAA4611-F3A4-C812-475C-F5A41EE89417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564313" y="2811463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2" name="Freeform 191">
              <a:extLst>
                <a:ext uri="{FF2B5EF4-FFF2-40B4-BE49-F238E27FC236}">
                  <a16:creationId xmlns:a16="http://schemas.microsoft.com/office/drawing/2014/main" id="{D83DDEE3-A050-3720-5306-9F23EE58032D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6808788" y="3275013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3" name="Freeform 192">
              <a:extLst>
                <a:ext uri="{FF2B5EF4-FFF2-40B4-BE49-F238E27FC236}">
                  <a16:creationId xmlns:a16="http://schemas.microsoft.com/office/drawing/2014/main" id="{E349314B-5F7A-25E1-AF8C-FCEC055180EA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6045200" y="2781301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4" name="Freeform 193">
              <a:extLst>
                <a:ext uri="{FF2B5EF4-FFF2-40B4-BE49-F238E27FC236}">
                  <a16:creationId xmlns:a16="http://schemas.microsoft.com/office/drawing/2014/main" id="{16A911BC-818A-C12C-BD11-901C772029FD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531813" y="1447801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5" name="Freeform 194">
              <a:extLst>
                <a:ext uri="{FF2B5EF4-FFF2-40B4-BE49-F238E27FC236}">
                  <a16:creationId xmlns:a16="http://schemas.microsoft.com/office/drawing/2014/main" id="{F721A364-4AA0-7830-1A5F-DD7425ED2230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806575" y="3087688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6" name="Freeform 195">
              <a:extLst>
                <a:ext uri="{FF2B5EF4-FFF2-40B4-BE49-F238E27FC236}">
                  <a16:creationId xmlns:a16="http://schemas.microsoft.com/office/drawing/2014/main" id="{65F6833C-5498-D4CB-7894-3F74AC4581D6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1976438" y="2292351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7" name="Freeform 196">
              <a:extLst>
                <a:ext uri="{FF2B5EF4-FFF2-40B4-BE49-F238E27FC236}">
                  <a16:creationId xmlns:a16="http://schemas.microsoft.com/office/drawing/2014/main" id="{1E130958-802A-CE99-44CE-A971FC78CAEB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1490663" y="1851026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8" name="Freeform 197">
              <a:extLst>
                <a:ext uri="{FF2B5EF4-FFF2-40B4-BE49-F238E27FC236}">
                  <a16:creationId xmlns:a16="http://schemas.microsoft.com/office/drawing/2014/main" id="{32A0B3B0-2700-404E-EDCE-92AE06AEA2C0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1857375" y="4205288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29" name="Freeform 198">
              <a:extLst>
                <a:ext uri="{FF2B5EF4-FFF2-40B4-BE49-F238E27FC236}">
                  <a16:creationId xmlns:a16="http://schemas.microsoft.com/office/drawing/2014/main" id="{2B400A7A-252A-E656-5D6C-309138844EE2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1822450" y="4184651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0" name="Freeform 199">
              <a:extLst>
                <a:ext uri="{FF2B5EF4-FFF2-40B4-BE49-F238E27FC236}">
                  <a16:creationId xmlns:a16="http://schemas.microsoft.com/office/drawing/2014/main" id="{9A41ACA0-5004-B792-32F2-EDBF74B4C499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1822450" y="4164013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1" name="Freeform 200">
              <a:extLst>
                <a:ext uri="{FF2B5EF4-FFF2-40B4-BE49-F238E27FC236}">
                  <a16:creationId xmlns:a16="http://schemas.microsoft.com/office/drawing/2014/main" id="{4115A4D1-F94B-7BA6-C211-0A32DA9C8AAE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792288" y="4157663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2" name="Freeform 201">
              <a:extLst>
                <a:ext uri="{FF2B5EF4-FFF2-40B4-BE49-F238E27FC236}">
                  <a16:creationId xmlns:a16="http://schemas.microsoft.com/office/drawing/2014/main" id="{E53DD77D-C4CA-A409-5F06-BBB570BE77D3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1766888" y="4148138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3" name="Freeform 202">
              <a:extLst>
                <a:ext uri="{FF2B5EF4-FFF2-40B4-BE49-F238E27FC236}">
                  <a16:creationId xmlns:a16="http://schemas.microsoft.com/office/drawing/2014/main" id="{1DC0A631-D136-C659-C1A8-2FC1D22A4939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743075" y="4135438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4" name="Freeform 203">
              <a:extLst>
                <a:ext uri="{FF2B5EF4-FFF2-40B4-BE49-F238E27FC236}">
                  <a16:creationId xmlns:a16="http://schemas.microsoft.com/office/drawing/2014/main" id="{225D52F6-1FDF-7AE0-53C6-640DD7644322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1736725" y="4116388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5" name="Freeform 204">
              <a:extLst>
                <a:ext uri="{FF2B5EF4-FFF2-40B4-BE49-F238E27FC236}">
                  <a16:creationId xmlns:a16="http://schemas.microsoft.com/office/drawing/2014/main" id="{AF66C2D1-6DF8-E105-ABAD-203498209CDF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1636713" y="3806826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6" name="Freeform 205">
              <a:extLst>
                <a:ext uri="{FF2B5EF4-FFF2-40B4-BE49-F238E27FC236}">
                  <a16:creationId xmlns:a16="http://schemas.microsoft.com/office/drawing/2014/main" id="{BB144E10-6B40-F1E7-03C6-A95AE1189C50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1666875" y="3902076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7" name="Freeform 206">
              <a:extLst>
                <a:ext uri="{FF2B5EF4-FFF2-40B4-BE49-F238E27FC236}">
                  <a16:creationId xmlns:a16="http://schemas.microsoft.com/office/drawing/2014/main" id="{309350D3-961E-DCF2-EA44-3139626E1F86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1671638" y="3924301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8" name="Freeform 207">
              <a:extLst>
                <a:ext uri="{FF2B5EF4-FFF2-40B4-BE49-F238E27FC236}">
                  <a16:creationId xmlns:a16="http://schemas.microsoft.com/office/drawing/2014/main" id="{1DB6F869-C576-421A-B6FF-7092D07267B1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1685925" y="3986213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39" name="Freeform 208">
              <a:extLst>
                <a:ext uri="{FF2B5EF4-FFF2-40B4-BE49-F238E27FC236}">
                  <a16:creationId xmlns:a16="http://schemas.microsoft.com/office/drawing/2014/main" id="{EFA40286-3F76-2D17-6592-8F9536A5E3EE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1673225" y="3998913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0" name="Freeform 209">
              <a:extLst>
                <a:ext uri="{FF2B5EF4-FFF2-40B4-BE49-F238E27FC236}">
                  <a16:creationId xmlns:a16="http://schemas.microsoft.com/office/drawing/2014/main" id="{D14093C2-4CC6-B69F-B21B-24A8C6A3AB20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1703388" y="4032251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1" name="Freeform 210">
              <a:extLst>
                <a:ext uri="{FF2B5EF4-FFF2-40B4-BE49-F238E27FC236}">
                  <a16:creationId xmlns:a16="http://schemas.microsoft.com/office/drawing/2014/main" id="{D3BC3820-1739-BF7B-1DB8-72196C86BFCE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1700213" y="4065588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2" name="Freeform 211">
              <a:extLst>
                <a:ext uri="{FF2B5EF4-FFF2-40B4-BE49-F238E27FC236}">
                  <a16:creationId xmlns:a16="http://schemas.microsoft.com/office/drawing/2014/main" id="{76CD5394-2BE3-ADC0-3267-F6935F07A2D2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724025" y="4079876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3" name="Freeform 212">
              <a:extLst>
                <a:ext uri="{FF2B5EF4-FFF2-40B4-BE49-F238E27FC236}">
                  <a16:creationId xmlns:a16="http://schemas.microsoft.com/office/drawing/2014/main" id="{0344B3C7-B2F2-1134-1A52-3F909D902A06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725613" y="4108451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4" name="Freeform 213">
              <a:extLst>
                <a:ext uri="{FF2B5EF4-FFF2-40B4-BE49-F238E27FC236}">
                  <a16:creationId xmlns:a16="http://schemas.microsoft.com/office/drawing/2014/main" id="{8506E42C-FD45-BF9B-DFE8-9C0EFC13F49A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800225" y="4178301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5" name="Freeform 214">
              <a:extLst>
                <a:ext uri="{FF2B5EF4-FFF2-40B4-BE49-F238E27FC236}">
                  <a16:creationId xmlns:a16="http://schemas.microsoft.com/office/drawing/2014/main" id="{90A82A94-8C1D-018B-676B-A7DAF89164D9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838325" y="4119563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6" name="Freeform 215">
              <a:extLst>
                <a:ext uri="{FF2B5EF4-FFF2-40B4-BE49-F238E27FC236}">
                  <a16:creationId xmlns:a16="http://schemas.microsoft.com/office/drawing/2014/main" id="{695C6855-CC7D-90F0-5C07-9ACCCE4BD0AB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390650" y="1885951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7" name="Freeform 216">
              <a:extLst>
                <a:ext uri="{FF2B5EF4-FFF2-40B4-BE49-F238E27FC236}">
                  <a16:creationId xmlns:a16="http://schemas.microsoft.com/office/drawing/2014/main" id="{01A215D7-5EB1-ADCE-2D48-ECDC32A6729F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247775" y="1747838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8" name="Freeform 217">
              <a:extLst>
                <a:ext uri="{FF2B5EF4-FFF2-40B4-BE49-F238E27FC236}">
                  <a16:creationId xmlns:a16="http://schemas.microsoft.com/office/drawing/2014/main" id="{C2608BC9-C718-1731-B31A-C788C437C037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552575" y="1851026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49" name="Freeform 218">
              <a:extLst>
                <a:ext uri="{FF2B5EF4-FFF2-40B4-BE49-F238E27FC236}">
                  <a16:creationId xmlns:a16="http://schemas.microsoft.com/office/drawing/2014/main" id="{20A78DC4-D0EE-D2F5-35D4-FEC82D68371C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120775" y="1911351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0" name="Freeform 219">
              <a:extLst>
                <a:ext uri="{FF2B5EF4-FFF2-40B4-BE49-F238E27FC236}">
                  <a16:creationId xmlns:a16="http://schemas.microsoft.com/office/drawing/2014/main" id="{D082D5B1-3F4F-3521-439E-C1D70C2D25C3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041400" y="1911351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1" name="Freeform 220">
              <a:extLst>
                <a:ext uri="{FF2B5EF4-FFF2-40B4-BE49-F238E27FC236}">
                  <a16:creationId xmlns:a16="http://schemas.microsoft.com/office/drawing/2014/main" id="{1FB75CF0-5C70-DC74-ACAE-B9AB52C373B1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089025" y="2022476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2" name="Freeform 221">
              <a:extLst>
                <a:ext uri="{FF2B5EF4-FFF2-40B4-BE49-F238E27FC236}">
                  <a16:creationId xmlns:a16="http://schemas.microsoft.com/office/drawing/2014/main" id="{9ABEB14D-F9E1-EDB4-AA65-466DF0B4B15B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120775" y="1984376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3" name="Freeform 222">
              <a:extLst>
                <a:ext uri="{FF2B5EF4-FFF2-40B4-BE49-F238E27FC236}">
                  <a16:creationId xmlns:a16="http://schemas.microsoft.com/office/drawing/2014/main" id="{8EF14965-B877-B136-9169-541E4B143C32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138238" y="2014538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4" name="Freeform 223">
              <a:extLst>
                <a:ext uri="{FF2B5EF4-FFF2-40B4-BE49-F238E27FC236}">
                  <a16:creationId xmlns:a16="http://schemas.microsoft.com/office/drawing/2014/main" id="{78A20843-F814-E540-FEE6-B1D2EF956BFC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1189038" y="2127251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5" name="Freeform 224">
              <a:extLst>
                <a:ext uri="{FF2B5EF4-FFF2-40B4-BE49-F238E27FC236}">
                  <a16:creationId xmlns:a16="http://schemas.microsoft.com/office/drawing/2014/main" id="{2878085C-46FB-291E-5A12-28DB5979DC85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1270000" y="2181226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6" name="Freeform 225">
              <a:extLst>
                <a:ext uri="{FF2B5EF4-FFF2-40B4-BE49-F238E27FC236}">
                  <a16:creationId xmlns:a16="http://schemas.microsoft.com/office/drawing/2014/main" id="{68432F4A-A895-9B31-F17E-DA763B4F9884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1951038" y="3435351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7" name="Freeform 226">
              <a:extLst>
                <a:ext uri="{FF2B5EF4-FFF2-40B4-BE49-F238E27FC236}">
                  <a16:creationId xmlns:a16="http://schemas.microsoft.com/office/drawing/2014/main" id="{699BB3E7-9575-51B7-6EDB-3112DCBD81EE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497263" y="52388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8" name="Freeform 227">
              <a:extLst>
                <a:ext uri="{FF2B5EF4-FFF2-40B4-BE49-F238E27FC236}">
                  <a16:creationId xmlns:a16="http://schemas.microsoft.com/office/drawing/2014/main" id="{6EE67FC0-9CF1-3907-60DC-32B527FC4661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3424238" y="282576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59" name="Freeform 228">
              <a:extLst>
                <a:ext uri="{FF2B5EF4-FFF2-40B4-BE49-F238E27FC236}">
                  <a16:creationId xmlns:a16="http://schemas.microsoft.com/office/drawing/2014/main" id="{08C30A0E-45BE-5041-4001-7B926AF4EB4B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763963" y="1123951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0" name="Freeform 229">
              <a:extLst>
                <a:ext uri="{FF2B5EF4-FFF2-40B4-BE49-F238E27FC236}">
                  <a16:creationId xmlns:a16="http://schemas.microsoft.com/office/drawing/2014/main" id="{73A3BFD6-D28F-E72A-6297-86A7CA16CC01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471863" y="963613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1" name="Freeform 230">
              <a:extLst>
                <a:ext uri="{FF2B5EF4-FFF2-40B4-BE49-F238E27FC236}">
                  <a16:creationId xmlns:a16="http://schemas.microsoft.com/office/drawing/2014/main" id="{ADAF5FC1-B711-41C7-4A66-BDF7BCA8DD46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409950" y="782638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2" name="Freeform 231">
              <a:extLst>
                <a:ext uri="{FF2B5EF4-FFF2-40B4-BE49-F238E27FC236}">
                  <a16:creationId xmlns:a16="http://schemas.microsoft.com/office/drawing/2014/main" id="{F8A08C05-8820-D2A6-FDEC-2E420D021BC0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390900" y="846138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3" name="Freeform 232">
              <a:extLst>
                <a:ext uri="{FF2B5EF4-FFF2-40B4-BE49-F238E27FC236}">
                  <a16:creationId xmlns:a16="http://schemas.microsoft.com/office/drawing/2014/main" id="{6F8CB80E-96AF-AA31-88BB-2B1CA75E97B4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151313" y="1400176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4" name="Freeform 233">
              <a:extLst>
                <a:ext uri="{FF2B5EF4-FFF2-40B4-BE49-F238E27FC236}">
                  <a16:creationId xmlns:a16="http://schemas.microsoft.com/office/drawing/2014/main" id="{2B862B3C-A18F-416A-3260-BD906D528045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100513" y="1452563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5" name="Freeform 234">
              <a:extLst>
                <a:ext uri="{FF2B5EF4-FFF2-40B4-BE49-F238E27FC236}">
                  <a16:creationId xmlns:a16="http://schemas.microsoft.com/office/drawing/2014/main" id="{26E4A99D-7419-4F9A-3E5D-01A5D4AD4DB5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101975" y="706438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6" name="Freeform 235">
              <a:extLst>
                <a:ext uri="{FF2B5EF4-FFF2-40B4-BE49-F238E27FC236}">
                  <a16:creationId xmlns:a16="http://schemas.microsoft.com/office/drawing/2014/main" id="{9B994689-CDFC-82D3-5C16-05A9A9532BC6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2914650" y="1617663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7" name="Freeform 236">
              <a:extLst>
                <a:ext uri="{FF2B5EF4-FFF2-40B4-BE49-F238E27FC236}">
                  <a16:creationId xmlns:a16="http://schemas.microsoft.com/office/drawing/2014/main" id="{0380C04C-2902-E57C-3104-75B0AEFEAAF1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030538" y="1677988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8" name="Freeform 237">
              <a:extLst>
                <a:ext uri="{FF2B5EF4-FFF2-40B4-BE49-F238E27FC236}">
                  <a16:creationId xmlns:a16="http://schemas.microsoft.com/office/drawing/2014/main" id="{B361B39A-A35C-6E9E-969D-C95825172797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128963" y="1284288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69" name="Freeform 238">
              <a:extLst>
                <a:ext uri="{FF2B5EF4-FFF2-40B4-BE49-F238E27FC236}">
                  <a16:creationId xmlns:a16="http://schemas.microsoft.com/office/drawing/2014/main" id="{4922886E-443B-13AB-2D99-5F9674333265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65525" y="1419226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0" name="Freeform 239">
              <a:extLst>
                <a:ext uri="{FF2B5EF4-FFF2-40B4-BE49-F238E27FC236}">
                  <a16:creationId xmlns:a16="http://schemas.microsoft.com/office/drawing/2014/main" id="{B5808EF8-0ADB-3ED0-EE94-530027D8B90C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17900" y="1284288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1" name="Freeform 240">
              <a:extLst>
                <a:ext uri="{FF2B5EF4-FFF2-40B4-BE49-F238E27FC236}">
                  <a16:creationId xmlns:a16="http://schemas.microsoft.com/office/drawing/2014/main" id="{89349B2E-AAD2-D475-F7D9-428D6020EA4E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900363" y="1595438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2" name="Freeform 241">
              <a:extLst>
                <a:ext uri="{FF2B5EF4-FFF2-40B4-BE49-F238E27FC236}">
                  <a16:creationId xmlns:a16="http://schemas.microsoft.com/office/drawing/2014/main" id="{3FAA7177-A4F4-5EE2-A9A5-2238B8830CEA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868613" y="403226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3" name="Freeform 242">
              <a:extLst>
                <a:ext uri="{FF2B5EF4-FFF2-40B4-BE49-F238E27FC236}">
                  <a16:creationId xmlns:a16="http://schemas.microsoft.com/office/drawing/2014/main" id="{CB415746-51BE-863F-47F5-9B261735AA1D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660775" y="666751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4" name="Freeform 243">
              <a:extLst>
                <a:ext uri="{FF2B5EF4-FFF2-40B4-BE49-F238E27FC236}">
                  <a16:creationId xmlns:a16="http://schemas.microsoft.com/office/drawing/2014/main" id="{A79019D5-3DE9-F3FE-BBDF-8BA0AF2500CD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548063" y="330201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5" name="Freeform 244">
              <a:extLst>
                <a:ext uri="{FF2B5EF4-FFF2-40B4-BE49-F238E27FC236}">
                  <a16:creationId xmlns:a16="http://schemas.microsoft.com/office/drawing/2014/main" id="{010F5CBE-70C4-032D-C07C-EA6BE72E872B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686175" y="644526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6" name="Freeform 245">
              <a:extLst>
                <a:ext uri="{FF2B5EF4-FFF2-40B4-BE49-F238E27FC236}">
                  <a16:creationId xmlns:a16="http://schemas.microsoft.com/office/drawing/2014/main" id="{E7A1C9B5-05E0-AF7C-50B2-14180DACDAED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3130550" y="806451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7" name="Freeform 246">
              <a:extLst>
                <a:ext uri="{FF2B5EF4-FFF2-40B4-BE49-F238E27FC236}">
                  <a16:creationId xmlns:a16="http://schemas.microsoft.com/office/drawing/2014/main" id="{3A29E8CE-88BD-767F-6496-15EEA15AA990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083050" y="1335088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8" name="Freeform 247">
              <a:extLst>
                <a:ext uri="{FF2B5EF4-FFF2-40B4-BE49-F238E27FC236}">
                  <a16:creationId xmlns:a16="http://schemas.microsoft.com/office/drawing/2014/main" id="{DC1B5FB3-049E-21F9-6DD1-2DDC24FFCA28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3690938" y="2127251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79" name="Freeform 248">
              <a:extLst>
                <a:ext uri="{FF2B5EF4-FFF2-40B4-BE49-F238E27FC236}">
                  <a16:creationId xmlns:a16="http://schemas.microsoft.com/office/drawing/2014/main" id="{2AAB1D39-7CEC-E2D5-4C2C-00E1DF517AAF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627438" y="2295526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0" name="Freeform 249">
              <a:extLst>
                <a:ext uri="{FF2B5EF4-FFF2-40B4-BE49-F238E27FC236}">
                  <a16:creationId xmlns:a16="http://schemas.microsoft.com/office/drawing/2014/main" id="{67EFD686-A18D-494F-4E48-B5D084610AEB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563938" y="2395538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1" name="Freeform 250">
              <a:extLst>
                <a:ext uri="{FF2B5EF4-FFF2-40B4-BE49-F238E27FC236}">
                  <a16:creationId xmlns:a16="http://schemas.microsoft.com/office/drawing/2014/main" id="{BEA42D3B-1292-96F5-427E-895507D68674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546475" y="2395538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2" name="Freeform 251">
              <a:extLst>
                <a:ext uri="{FF2B5EF4-FFF2-40B4-BE49-F238E27FC236}">
                  <a16:creationId xmlns:a16="http://schemas.microsoft.com/office/drawing/2014/main" id="{4021998B-C96C-6EC9-E0C4-63F3E60AABAF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079875" y="2800351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3" name="Freeform 252">
              <a:extLst>
                <a:ext uri="{FF2B5EF4-FFF2-40B4-BE49-F238E27FC236}">
                  <a16:creationId xmlns:a16="http://schemas.microsoft.com/office/drawing/2014/main" id="{7777913B-FE0A-0929-34D3-71EDBE6DA223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814763" y="3040063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4" name="Freeform 253">
              <a:extLst>
                <a:ext uri="{FF2B5EF4-FFF2-40B4-BE49-F238E27FC236}">
                  <a16:creationId xmlns:a16="http://schemas.microsoft.com/office/drawing/2014/main" id="{5DD093C7-9055-7F00-4AC8-D788198A3202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387850" y="2841626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5" name="Freeform 254">
              <a:extLst>
                <a:ext uri="{FF2B5EF4-FFF2-40B4-BE49-F238E27FC236}">
                  <a16:creationId xmlns:a16="http://schemas.microsoft.com/office/drawing/2014/main" id="{3A838885-FD67-5629-ED37-AFACD7080DF3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064000" y="2540001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6" name="Freeform 255">
              <a:extLst>
                <a:ext uri="{FF2B5EF4-FFF2-40B4-BE49-F238E27FC236}">
                  <a16:creationId xmlns:a16="http://schemas.microsoft.com/office/drawing/2014/main" id="{563D19CD-3749-6319-8D2C-236E82E9C083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4052888" y="2500313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7" name="Freeform 256">
              <a:extLst>
                <a:ext uri="{FF2B5EF4-FFF2-40B4-BE49-F238E27FC236}">
                  <a16:creationId xmlns:a16="http://schemas.microsoft.com/office/drawing/2014/main" id="{8A643F82-AC26-104D-B870-79430FB23B87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362450" y="1200151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8" name="Freeform 257">
              <a:extLst>
                <a:ext uri="{FF2B5EF4-FFF2-40B4-BE49-F238E27FC236}">
                  <a16:creationId xmlns:a16="http://schemas.microsoft.com/office/drawing/2014/main" id="{153AAB7D-316E-3423-3B69-E360A460483B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386263" y="1857376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89" name="Freeform 258">
              <a:extLst>
                <a:ext uri="{FF2B5EF4-FFF2-40B4-BE49-F238E27FC236}">
                  <a16:creationId xmlns:a16="http://schemas.microsoft.com/office/drawing/2014/main" id="{F7F8E7DE-BB63-1E47-8861-959E7FA05BD0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581525" y="1631951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0" name="Freeform 259">
              <a:extLst>
                <a:ext uri="{FF2B5EF4-FFF2-40B4-BE49-F238E27FC236}">
                  <a16:creationId xmlns:a16="http://schemas.microsoft.com/office/drawing/2014/main" id="{E2BFB396-795F-8F95-5323-ECD62C65480E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4268788" y="1284288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1" name="Freeform 260">
              <a:extLst>
                <a:ext uri="{FF2B5EF4-FFF2-40B4-BE49-F238E27FC236}">
                  <a16:creationId xmlns:a16="http://schemas.microsoft.com/office/drawing/2014/main" id="{E8407FE2-303C-7D09-680B-FEC7391EABCF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768850" y="1244601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2" name="Freeform 261">
              <a:extLst>
                <a:ext uri="{FF2B5EF4-FFF2-40B4-BE49-F238E27FC236}">
                  <a16:creationId xmlns:a16="http://schemas.microsoft.com/office/drawing/2014/main" id="{63625E6A-E64B-5638-C36F-FD4543C08485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4800600" y="1293813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3" name="Freeform 262">
              <a:extLst>
                <a:ext uri="{FF2B5EF4-FFF2-40B4-BE49-F238E27FC236}">
                  <a16:creationId xmlns:a16="http://schemas.microsoft.com/office/drawing/2014/main" id="{DE2E969E-5707-56A6-B59C-19D431F63FCC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591175" y="1562101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4" name="Freeform 263">
              <a:extLst>
                <a:ext uri="{FF2B5EF4-FFF2-40B4-BE49-F238E27FC236}">
                  <a16:creationId xmlns:a16="http://schemas.microsoft.com/office/drawing/2014/main" id="{D6A6BA54-C41F-B6D9-57E6-06D3F495338A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2914650" y="2071688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5" name="Freeform 264">
              <a:extLst>
                <a:ext uri="{FF2B5EF4-FFF2-40B4-BE49-F238E27FC236}">
                  <a16:creationId xmlns:a16="http://schemas.microsoft.com/office/drawing/2014/main" id="{32670E24-588B-4666-0465-092FE60E1F0E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2998788" y="2154238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6" name="Freeform 265">
              <a:extLst>
                <a:ext uri="{FF2B5EF4-FFF2-40B4-BE49-F238E27FC236}">
                  <a16:creationId xmlns:a16="http://schemas.microsoft.com/office/drawing/2014/main" id="{680A3C14-781B-C6F7-3FF1-FECF62623699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041650" y="2205038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7" name="Freeform 266">
              <a:extLst>
                <a:ext uri="{FF2B5EF4-FFF2-40B4-BE49-F238E27FC236}">
                  <a16:creationId xmlns:a16="http://schemas.microsoft.com/office/drawing/2014/main" id="{0298CE1B-C2C6-5857-98D2-CDE67A615F40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255963" y="2124076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8" name="Freeform 267">
              <a:extLst>
                <a:ext uri="{FF2B5EF4-FFF2-40B4-BE49-F238E27FC236}">
                  <a16:creationId xmlns:a16="http://schemas.microsoft.com/office/drawing/2014/main" id="{1BB2832A-C152-9BCB-D675-DA467E75B463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2908300" y="2039938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199" name="Freeform 268">
              <a:extLst>
                <a:ext uri="{FF2B5EF4-FFF2-40B4-BE49-F238E27FC236}">
                  <a16:creationId xmlns:a16="http://schemas.microsoft.com/office/drawing/2014/main" id="{D1362CC7-33F3-9082-A60E-2ADC4DF51CD5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333750" y="2117726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0" name="Freeform 269">
              <a:extLst>
                <a:ext uri="{FF2B5EF4-FFF2-40B4-BE49-F238E27FC236}">
                  <a16:creationId xmlns:a16="http://schemas.microsoft.com/office/drawing/2014/main" id="{69BA4BA4-EF15-09C6-983F-17A9A882F25B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3359150" y="2079626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1" name="Freeform 270">
              <a:extLst>
                <a:ext uri="{FF2B5EF4-FFF2-40B4-BE49-F238E27FC236}">
                  <a16:creationId xmlns:a16="http://schemas.microsoft.com/office/drawing/2014/main" id="{90BD9B92-175A-E59C-B325-0078F673F8C7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087813" y="3284538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2" name="Freeform 271">
              <a:extLst>
                <a:ext uri="{FF2B5EF4-FFF2-40B4-BE49-F238E27FC236}">
                  <a16:creationId xmlns:a16="http://schemas.microsoft.com/office/drawing/2014/main" id="{1C556DA5-7D4E-912E-D723-AE264400FD1C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3983038" y="338137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3" name="Freeform 272">
              <a:extLst>
                <a:ext uri="{FF2B5EF4-FFF2-40B4-BE49-F238E27FC236}">
                  <a16:creationId xmlns:a16="http://schemas.microsoft.com/office/drawing/2014/main" id="{31D5D9C4-EF95-E874-83A3-02618542E435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200775" y="1095376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4" name="Freeform 273">
              <a:extLst>
                <a:ext uri="{FF2B5EF4-FFF2-40B4-BE49-F238E27FC236}">
                  <a16:creationId xmlns:a16="http://schemas.microsoft.com/office/drawing/2014/main" id="{61D40D49-AD66-39F6-1EA7-CD4C4EC1DE3D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272088" y="1509713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5" name="Freeform 274">
              <a:extLst>
                <a:ext uri="{FF2B5EF4-FFF2-40B4-BE49-F238E27FC236}">
                  <a16:creationId xmlns:a16="http://schemas.microsoft.com/office/drawing/2014/main" id="{DF2961C2-BDA4-1CDC-F54A-32868E7F6E41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487988" y="1565276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6" name="Freeform 275">
              <a:extLst>
                <a:ext uri="{FF2B5EF4-FFF2-40B4-BE49-F238E27FC236}">
                  <a16:creationId xmlns:a16="http://schemas.microsoft.com/office/drawing/2014/main" id="{8B34913C-0AC7-FDCE-716F-7635F8349304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478463" y="1636713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7" name="Freeform 276">
              <a:extLst>
                <a:ext uri="{FF2B5EF4-FFF2-40B4-BE49-F238E27FC236}">
                  <a16:creationId xmlns:a16="http://schemas.microsoft.com/office/drawing/2014/main" id="{AABE9BF2-4BE5-C439-44EC-5E01E7DF7EE9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5795963" y="1752601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8" name="Freeform 277">
              <a:extLst>
                <a:ext uri="{FF2B5EF4-FFF2-40B4-BE49-F238E27FC236}">
                  <a16:creationId xmlns:a16="http://schemas.microsoft.com/office/drawing/2014/main" id="{288203E3-49E8-AE93-1A74-F740C2918FC3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878513" y="2003426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09" name="Freeform 278">
              <a:extLst>
                <a:ext uri="{FF2B5EF4-FFF2-40B4-BE49-F238E27FC236}">
                  <a16:creationId xmlns:a16="http://schemas.microsoft.com/office/drawing/2014/main" id="{C9C26BBE-F070-3AD9-790A-C58A1778076D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280150" y="1239838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0" name="Freeform 279">
              <a:extLst>
                <a:ext uri="{FF2B5EF4-FFF2-40B4-BE49-F238E27FC236}">
                  <a16:creationId xmlns:a16="http://schemas.microsoft.com/office/drawing/2014/main" id="{F32005C6-B118-E0F4-6F55-D659D73014E3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848475" y="2536826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1" name="Freeform 280">
              <a:extLst>
                <a:ext uri="{FF2B5EF4-FFF2-40B4-BE49-F238E27FC236}">
                  <a16:creationId xmlns:a16="http://schemas.microsoft.com/office/drawing/2014/main" id="{81884991-3B68-0EA2-E3C6-ADC39DBB5443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7040563" y="2520951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2" name="Freeform 281">
              <a:extLst>
                <a:ext uri="{FF2B5EF4-FFF2-40B4-BE49-F238E27FC236}">
                  <a16:creationId xmlns:a16="http://schemas.microsoft.com/office/drawing/2014/main" id="{E3131E90-8F98-5721-9041-029B973ED606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5316538" y="2154238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13" name="Group 282">
              <a:extLst>
                <a:ext uri="{FF2B5EF4-FFF2-40B4-BE49-F238E27FC236}">
                  <a16:creationId xmlns:a16="http://schemas.microsoft.com/office/drawing/2014/main" id="{9C7A6427-D3D3-D064-376A-774487B66E3F}"/>
                </a:ext>
              </a:extLst>
            </p:cNvPr>
            <p:cNvGrpSpPr>
              <a:grpSpLocks/>
            </p:cNvGrpSpPr>
            <p:nvPr>
              <p:custDataLst>
                <p:tags r:id="rId211"/>
              </p:custDataLst>
            </p:nvPr>
          </p:nvGrpSpPr>
          <p:grpSpPr bwMode="auto">
            <a:xfrm>
              <a:off x="6256338" y="1865313"/>
              <a:ext cx="233362" cy="439738"/>
              <a:chOff x="5062" y="2295"/>
              <a:chExt cx="177" cy="279"/>
            </a:xfrm>
          </p:grpSpPr>
          <p:sp>
            <p:nvSpPr>
              <p:cNvPr id="458" name="Freeform 283">
                <a:extLst>
                  <a:ext uri="{FF2B5EF4-FFF2-40B4-BE49-F238E27FC236}">
                    <a16:creationId xmlns:a16="http://schemas.microsoft.com/office/drawing/2014/main" id="{3C61FAA4-53BA-0291-1D7E-885B41E2E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9" name="Freeform 284">
                <a:extLst>
                  <a:ext uri="{FF2B5EF4-FFF2-40B4-BE49-F238E27FC236}">
                    <a16:creationId xmlns:a16="http://schemas.microsoft.com/office/drawing/2014/main" id="{B8B3210B-AAA1-189F-3876-A5AE11C34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0" name="Freeform 285">
                <a:extLst>
                  <a:ext uri="{FF2B5EF4-FFF2-40B4-BE49-F238E27FC236}">
                    <a16:creationId xmlns:a16="http://schemas.microsoft.com/office/drawing/2014/main" id="{D6A33DB3-5951-CF60-AFCD-EF1B4B15A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1" name="Freeform 286">
                <a:extLst>
                  <a:ext uri="{FF2B5EF4-FFF2-40B4-BE49-F238E27FC236}">
                    <a16:creationId xmlns:a16="http://schemas.microsoft.com/office/drawing/2014/main" id="{C92792B9-54CD-15B6-889C-223E0DF4F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2" name="Freeform 287">
                <a:extLst>
                  <a:ext uri="{FF2B5EF4-FFF2-40B4-BE49-F238E27FC236}">
                    <a16:creationId xmlns:a16="http://schemas.microsoft.com/office/drawing/2014/main" id="{A4D2862F-4392-F5DB-6334-86DF55C0C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3" name="Freeform 288">
                <a:extLst>
                  <a:ext uri="{FF2B5EF4-FFF2-40B4-BE49-F238E27FC236}">
                    <a16:creationId xmlns:a16="http://schemas.microsoft.com/office/drawing/2014/main" id="{C01A77EF-E896-D016-F6F9-A1EACBF6C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4" name="Freeform 289">
                <a:extLst>
                  <a:ext uri="{FF2B5EF4-FFF2-40B4-BE49-F238E27FC236}">
                    <a16:creationId xmlns:a16="http://schemas.microsoft.com/office/drawing/2014/main" id="{73484273-F62A-2EEE-925B-B955DC497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5" name="Freeform 290">
                <a:extLst>
                  <a:ext uri="{FF2B5EF4-FFF2-40B4-BE49-F238E27FC236}">
                    <a16:creationId xmlns:a16="http://schemas.microsoft.com/office/drawing/2014/main" id="{EB4E6668-697B-63A0-1DBA-676B59D42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6" name="Freeform 291">
                <a:extLst>
                  <a:ext uri="{FF2B5EF4-FFF2-40B4-BE49-F238E27FC236}">
                    <a16:creationId xmlns:a16="http://schemas.microsoft.com/office/drawing/2014/main" id="{056578BB-C10A-489D-8D30-705329E5B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7" name="Freeform 292">
                <a:extLst>
                  <a:ext uri="{FF2B5EF4-FFF2-40B4-BE49-F238E27FC236}">
                    <a16:creationId xmlns:a16="http://schemas.microsoft.com/office/drawing/2014/main" id="{2005B997-690B-E9B6-54F5-8148E9F03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8" name="Freeform 293">
                <a:extLst>
                  <a:ext uri="{FF2B5EF4-FFF2-40B4-BE49-F238E27FC236}">
                    <a16:creationId xmlns:a16="http://schemas.microsoft.com/office/drawing/2014/main" id="{C0DB9780-58C6-F085-7A34-09D0641C6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69" name="Freeform 294">
                <a:extLst>
                  <a:ext uri="{FF2B5EF4-FFF2-40B4-BE49-F238E27FC236}">
                    <a16:creationId xmlns:a16="http://schemas.microsoft.com/office/drawing/2014/main" id="{D224AE4B-C737-DE2F-0830-2D3636934B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0" name="Freeform 295">
                <a:extLst>
                  <a:ext uri="{FF2B5EF4-FFF2-40B4-BE49-F238E27FC236}">
                    <a16:creationId xmlns:a16="http://schemas.microsoft.com/office/drawing/2014/main" id="{6524129E-AA0B-012D-D872-882091A4F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1" name="Freeform 296">
                <a:extLst>
                  <a:ext uri="{FF2B5EF4-FFF2-40B4-BE49-F238E27FC236}">
                    <a16:creationId xmlns:a16="http://schemas.microsoft.com/office/drawing/2014/main" id="{8D00B2F0-5FD1-1A5A-9FE8-D2F9D7391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2" name="Freeform 297">
                <a:extLst>
                  <a:ext uri="{FF2B5EF4-FFF2-40B4-BE49-F238E27FC236}">
                    <a16:creationId xmlns:a16="http://schemas.microsoft.com/office/drawing/2014/main" id="{2EDF68C6-AB27-468A-C767-23AE1935D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3" name="Line 298">
                <a:extLst>
                  <a:ext uri="{FF2B5EF4-FFF2-40B4-BE49-F238E27FC236}">
                    <a16:creationId xmlns:a16="http://schemas.microsoft.com/office/drawing/2014/main" id="{652447A3-92CA-ECE2-00BD-F8C3A21FD2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4" name="Freeform 299">
                <a:extLst>
                  <a:ext uri="{FF2B5EF4-FFF2-40B4-BE49-F238E27FC236}">
                    <a16:creationId xmlns:a16="http://schemas.microsoft.com/office/drawing/2014/main" id="{704D8EE0-4292-BA87-7631-664F9802E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5" name="Line 300">
                <a:extLst>
                  <a:ext uri="{FF2B5EF4-FFF2-40B4-BE49-F238E27FC236}">
                    <a16:creationId xmlns:a16="http://schemas.microsoft.com/office/drawing/2014/main" id="{4CB19DD4-BA00-EE7C-9735-076128A2EB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6" name="Freeform 301">
                <a:extLst>
                  <a:ext uri="{FF2B5EF4-FFF2-40B4-BE49-F238E27FC236}">
                    <a16:creationId xmlns:a16="http://schemas.microsoft.com/office/drawing/2014/main" id="{D15CAAB8-DD34-7047-F454-F56CF32E3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7" name="Freeform 302">
                <a:extLst>
                  <a:ext uri="{FF2B5EF4-FFF2-40B4-BE49-F238E27FC236}">
                    <a16:creationId xmlns:a16="http://schemas.microsoft.com/office/drawing/2014/main" id="{EAF148B3-BA5D-81BC-E2E2-720379A3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8" name="Freeform 303">
                <a:extLst>
                  <a:ext uri="{FF2B5EF4-FFF2-40B4-BE49-F238E27FC236}">
                    <a16:creationId xmlns:a16="http://schemas.microsoft.com/office/drawing/2014/main" id="{EE9700E3-91AD-96D6-C0B8-06ECE8244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79" name="Freeform 304">
                <a:extLst>
                  <a:ext uri="{FF2B5EF4-FFF2-40B4-BE49-F238E27FC236}">
                    <a16:creationId xmlns:a16="http://schemas.microsoft.com/office/drawing/2014/main" id="{69233A19-00C7-91C0-B611-04BC9637C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0" name="Freeform 305">
                <a:extLst>
                  <a:ext uri="{FF2B5EF4-FFF2-40B4-BE49-F238E27FC236}">
                    <a16:creationId xmlns:a16="http://schemas.microsoft.com/office/drawing/2014/main" id="{539D92F6-E1F5-C101-B50C-402FF25F4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81" name="Line 306">
                <a:extLst>
                  <a:ext uri="{FF2B5EF4-FFF2-40B4-BE49-F238E27FC236}">
                    <a16:creationId xmlns:a16="http://schemas.microsoft.com/office/drawing/2014/main" id="{FBAA37C7-04F2-6E1C-36E1-0DFF8555D8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14" name="Freeform 307">
              <a:extLst>
                <a:ext uri="{FF2B5EF4-FFF2-40B4-BE49-F238E27FC236}">
                  <a16:creationId xmlns:a16="http://schemas.microsoft.com/office/drawing/2014/main" id="{67088A85-BDE4-E37F-0106-4817DA43DFD3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600825" y="2684463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5" name="Freeform 308">
              <a:extLst>
                <a:ext uri="{FF2B5EF4-FFF2-40B4-BE49-F238E27FC236}">
                  <a16:creationId xmlns:a16="http://schemas.microsoft.com/office/drawing/2014/main" id="{A6DE7F20-916B-E606-87B2-2FCBF957558D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677025" y="2624138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6" name="Freeform 309">
              <a:extLst>
                <a:ext uri="{FF2B5EF4-FFF2-40B4-BE49-F238E27FC236}">
                  <a16:creationId xmlns:a16="http://schemas.microsoft.com/office/drawing/2014/main" id="{85302EBA-B2AF-EBB6-A61B-0CE7C6A77F27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724650" y="2503488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7" name="Freeform 310">
              <a:extLst>
                <a:ext uri="{FF2B5EF4-FFF2-40B4-BE49-F238E27FC236}">
                  <a16:creationId xmlns:a16="http://schemas.microsoft.com/office/drawing/2014/main" id="{7FEBB36B-D6C4-C9D3-D539-69DA8AF7718A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708775" y="2473326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8" name="Freeform 311">
              <a:extLst>
                <a:ext uri="{FF2B5EF4-FFF2-40B4-BE49-F238E27FC236}">
                  <a16:creationId xmlns:a16="http://schemas.microsoft.com/office/drawing/2014/main" id="{9F0847AB-4E46-80F3-6D04-BE3315FA5CE7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6534150" y="2370138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19" name="Freeform 312">
              <a:extLst>
                <a:ext uri="{FF2B5EF4-FFF2-40B4-BE49-F238E27FC236}">
                  <a16:creationId xmlns:a16="http://schemas.microsoft.com/office/drawing/2014/main" id="{AE294078-A7F3-33CB-0429-520BDEB813BB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461125" y="2505076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0" name="Freeform 313">
              <a:extLst>
                <a:ext uri="{FF2B5EF4-FFF2-40B4-BE49-F238E27FC236}">
                  <a16:creationId xmlns:a16="http://schemas.microsoft.com/office/drawing/2014/main" id="{6CF04EF6-CE0F-5808-2384-3764F101D85F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469063" y="2690813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1" name="Freeform 314">
              <a:extLst>
                <a:ext uri="{FF2B5EF4-FFF2-40B4-BE49-F238E27FC236}">
                  <a16:creationId xmlns:a16="http://schemas.microsoft.com/office/drawing/2014/main" id="{CB01BFBD-F018-9242-3C87-9392EF9DC13A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581775" y="2509838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2" name="Freeform 315">
              <a:extLst>
                <a:ext uri="{FF2B5EF4-FFF2-40B4-BE49-F238E27FC236}">
                  <a16:creationId xmlns:a16="http://schemas.microsoft.com/office/drawing/2014/main" id="{67EC8C0C-C48D-02DA-9DD8-ED8E4626D2F5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442075" y="2505076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3" name="Freeform 316">
              <a:extLst>
                <a:ext uri="{FF2B5EF4-FFF2-40B4-BE49-F238E27FC236}">
                  <a16:creationId xmlns:a16="http://schemas.microsoft.com/office/drawing/2014/main" id="{55F36B68-921F-9E2A-36F2-41707655D67F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486525" y="2552701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4" name="Freeform 317">
              <a:extLst>
                <a:ext uri="{FF2B5EF4-FFF2-40B4-BE49-F238E27FC236}">
                  <a16:creationId xmlns:a16="http://schemas.microsoft.com/office/drawing/2014/main" id="{EC7118A9-93BE-C21F-A391-837D3177B3A4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288088" y="2755901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5" name="Freeform 318">
              <a:extLst>
                <a:ext uri="{FF2B5EF4-FFF2-40B4-BE49-F238E27FC236}">
                  <a16:creationId xmlns:a16="http://schemas.microsoft.com/office/drawing/2014/main" id="{11036C1C-EBF8-6709-5AB3-49A89687E34B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386513" y="2794001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6" name="Freeform 319">
              <a:extLst>
                <a:ext uri="{FF2B5EF4-FFF2-40B4-BE49-F238E27FC236}">
                  <a16:creationId xmlns:a16="http://schemas.microsoft.com/office/drawing/2014/main" id="{B0FAE6A1-9839-8726-6BE7-CDD305A1250F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219825" y="2725738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7" name="Freeform 320">
              <a:extLst>
                <a:ext uri="{FF2B5EF4-FFF2-40B4-BE49-F238E27FC236}">
                  <a16:creationId xmlns:a16="http://schemas.microsoft.com/office/drawing/2014/main" id="{E54C39BF-84C3-4282-C48D-03A865845FCB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6264275" y="2711451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8" name="Freeform 321">
              <a:extLst>
                <a:ext uri="{FF2B5EF4-FFF2-40B4-BE49-F238E27FC236}">
                  <a16:creationId xmlns:a16="http://schemas.microsoft.com/office/drawing/2014/main" id="{4E7FB76F-8969-04B7-ECA9-AEB56163BF97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316663" y="2720976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29" name="Freeform 322">
              <a:extLst>
                <a:ext uri="{FF2B5EF4-FFF2-40B4-BE49-F238E27FC236}">
                  <a16:creationId xmlns:a16="http://schemas.microsoft.com/office/drawing/2014/main" id="{EB692C83-CA35-87B7-BE86-82DDC836E14D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369050" y="2725738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0" name="Freeform 323">
              <a:extLst>
                <a:ext uri="{FF2B5EF4-FFF2-40B4-BE49-F238E27FC236}">
                  <a16:creationId xmlns:a16="http://schemas.microsoft.com/office/drawing/2014/main" id="{E6CF0C4C-3076-5250-B464-C50BA4514DE2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442075" y="2717801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1" name="Freeform 324">
              <a:extLst>
                <a:ext uri="{FF2B5EF4-FFF2-40B4-BE49-F238E27FC236}">
                  <a16:creationId xmlns:a16="http://schemas.microsoft.com/office/drawing/2014/main" id="{92A43264-2365-ABF2-04DA-8D3E2A7D75B8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016625" y="2532063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2" name="Freeform 325">
              <a:extLst>
                <a:ext uri="{FF2B5EF4-FFF2-40B4-BE49-F238E27FC236}">
                  <a16:creationId xmlns:a16="http://schemas.microsoft.com/office/drawing/2014/main" id="{A9422C03-19CE-B902-7984-9DA35E6052CB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5962650" y="2505076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3" name="Freeform 326">
              <a:extLst>
                <a:ext uri="{FF2B5EF4-FFF2-40B4-BE49-F238E27FC236}">
                  <a16:creationId xmlns:a16="http://schemas.microsoft.com/office/drawing/2014/main" id="{62C005B9-B04C-D05A-88F2-21D69D587084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797550" y="2489201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4" name="Line 327" descr="Horizontal dunkel">
              <a:extLst>
                <a:ext uri="{FF2B5EF4-FFF2-40B4-BE49-F238E27FC236}">
                  <a16:creationId xmlns:a16="http://schemas.microsoft.com/office/drawing/2014/main" id="{99A51E93-A99D-C534-57A6-ABE1DC7F2CC1}"/>
                </a:ext>
              </a:extLst>
            </p:cNvPr>
            <p:cNvSpPr>
              <a:spLocks noChangeShapeType="1"/>
            </p:cNvSpPr>
            <p:nvPr>
              <p:custDataLst>
                <p:tags r:id="rId232"/>
              </p:custDataLst>
            </p:nvPr>
          </p:nvSpPr>
          <p:spPr bwMode="auto">
            <a:xfrm>
              <a:off x="5822950" y="2525713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5" name="Freeform 328">
              <a:extLst>
                <a:ext uri="{FF2B5EF4-FFF2-40B4-BE49-F238E27FC236}">
                  <a16:creationId xmlns:a16="http://schemas.microsoft.com/office/drawing/2014/main" id="{90327D70-7FA6-3876-B6D1-9A71E64381DE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5819775" y="2525713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6" name="Freeform 329">
              <a:extLst>
                <a:ext uri="{FF2B5EF4-FFF2-40B4-BE49-F238E27FC236}">
                  <a16:creationId xmlns:a16="http://schemas.microsoft.com/office/drawing/2014/main" id="{DFAFCFCD-B812-CCB2-A5DE-7FB975C1CB47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5721350" y="2370138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7" name="Freeform 330">
              <a:extLst>
                <a:ext uri="{FF2B5EF4-FFF2-40B4-BE49-F238E27FC236}">
                  <a16:creationId xmlns:a16="http://schemas.microsoft.com/office/drawing/2014/main" id="{13D873E6-C814-4C4C-DDF8-9CBCB27E1E5D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249988" y="2733676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8" name="Freeform 331">
              <a:extLst>
                <a:ext uri="{FF2B5EF4-FFF2-40B4-BE49-F238E27FC236}">
                  <a16:creationId xmlns:a16="http://schemas.microsoft.com/office/drawing/2014/main" id="{25C88D74-E5D4-2C97-1DAB-1C985E7B550D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65925" y="2690813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39" name="Freeform 332">
              <a:extLst>
                <a:ext uri="{FF2B5EF4-FFF2-40B4-BE49-F238E27FC236}">
                  <a16:creationId xmlns:a16="http://schemas.microsoft.com/office/drawing/2014/main" id="{6C676FBC-27C9-C8A3-AC37-84907511FAB5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5703888" y="2273301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0" name="Freeform 333">
              <a:extLst>
                <a:ext uri="{FF2B5EF4-FFF2-40B4-BE49-F238E27FC236}">
                  <a16:creationId xmlns:a16="http://schemas.microsoft.com/office/drawing/2014/main" id="{34B41447-ED87-A111-4CAC-54DF67E3BE38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6045200" y="2322513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1" name="Freeform 334">
              <a:extLst>
                <a:ext uri="{FF2B5EF4-FFF2-40B4-BE49-F238E27FC236}">
                  <a16:creationId xmlns:a16="http://schemas.microsoft.com/office/drawing/2014/main" id="{AC73E7B4-AF3F-7650-7E7F-3898F1576EA7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400800" y="2728913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2" name="Freeform 335">
              <a:extLst>
                <a:ext uri="{FF2B5EF4-FFF2-40B4-BE49-F238E27FC236}">
                  <a16:creationId xmlns:a16="http://schemas.microsoft.com/office/drawing/2014/main" id="{E45FECBC-4998-8010-903A-2A1720ECB4CE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516688" y="2395538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3" name="Freeform 336">
              <a:extLst>
                <a:ext uri="{FF2B5EF4-FFF2-40B4-BE49-F238E27FC236}">
                  <a16:creationId xmlns:a16="http://schemas.microsoft.com/office/drawing/2014/main" id="{1D612897-F25B-7D9A-7AB9-C23FF3BADE94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529388" y="2540001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4" name="Freeform 337">
              <a:extLst>
                <a:ext uri="{FF2B5EF4-FFF2-40B4-BE49-F238E27FC236}">
                  <a16:creationId xmlns:a16="http://schemas.microsoft.com/office/drawing/2014/main" id="{38CCB9E6-7B18-DA20-22CF-72A031F800BB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05588" y="2463801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5" name="Freeform 338">
              <a:extLst>
                <a:ext uri="{FF2B5EF4-FFF2-40B4-BE49-F238E27FC236}">
                  <a16:creationId xmlns:a16="http://schemas.microsoft.com/office/drawing/2014/main" id="{05C9B826-5CE4-D3B9-14F7-414A6A3D7317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294438" y="2401888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6" name="Freeform 339">
              <a:extLst>
                <a:ext uri="{FF2B5EF4-FFF2-40B4-BE49-F238E27FC236}">
                  <a16:creationId xmlns:a16="http://schemas.microsoft.com/office/drawing/2014/main" id="{641D1D4C-2E84-F9D2-40A4-347527DEE74A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959475" y="2643188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7" name="Freeform 340">
              <a:extLst>
                <a:ext uri="{FF2B5EF4-FFF2-40B4-BE49-F238E27FC236}">
                  <a16:creationId xmlns:a16="http://schemas.microsoft.com/office/drawing/2014/main" id="{C79770CD-998D-88BE-FAD4-C761B53713B4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6640513" y="2500313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8" name="Freeform 341">
              <a:extLst>
                <a:ext uri="{FF2B5EF4-FFF2-40B4-BE49-F238E27FC236}">
                  <a16:creationId xmlns:a16="http://schemas.microsoft.com/office/drawing/2014/main" id="{D7D469F6-83C4-E6E8-8E44-80613EC92537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172075" y="1331913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49" name="Freeform 342">
              <a:extLst>
                <a:ext uri="{FF2B5EF4-FFF2-40B4-BE49-F238E27FC236}">
                  <a16:creationId xmlns:a16="http://schemas.microsoft.com/office/drawing/2014/main" id="{A877E48F-A461-8A04-49C7-10E8F56A7229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629025" y="736601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0" name="Freeform 343">
              <a:extLst>
                <a:ext uri="{FF2B5EF4-FFF2-40B4-BE49-F238E27FC236}">
                  <a16:creationId xmlns:a16="http://schemas.microsoft.com/office/drawing/2014/main" id="{6F279E71-5C38-8F11-6756-2934A48F76DA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692525" y="941388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1" name="Freeform 344">
              <a:extLst>
                <a:ext uri="{FF2B5EF4-FFF2-40B4-BE49-F238E27FC236}">
                  <a16:creationId xmlns:a16="http://schemas.microsoft.com/office/drawing/2014/main" id="{9143AE8C-58E8-D9F5-65DF-DB60C52C064C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3792538" y="596901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2" name="Freeform 345">
              <a:extLst>
                <a:ext uri="{FF2B5EF4-FFF2-40B4-BE49-F238E27FC236}">
                  <a16:creationId xmlns:a16="http://schemas.microsoft.com/office/drawing/2014/main" id="{7C7394C8-9C20-F670-41D2-562ADE7A94D5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3805238" y="944563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3" name="Freeform 346">
              <a:extLst>
                <a:ext uri="{FF2B5EF4-FFF2-40B4-BE49-F238E27FC236}">
                  <a16:creationId xmlns:a16="http://schemas.microsoft.com/office/drawing/2014/main" id="{876C17A1-8938-B31C-E8F3-E0D86BC3313D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1804988" y="1982788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4" name="Freeform 347">
              <a:extLst>
                <a:ext uri="{FF2B5EF4-FFF2-40B4-BE49-F238E27FC236}">
                  <a16:creationId xmlns:a16="http://schemas.microsoft.com/office/drawing/2014/main" id="{CB37CE36-025B-2470-A593-4C0FB797B15C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910013" y="936626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5" name="Freeform 348">
              <a:extLst>
                <a:ext uri="{FF2B5EF4-FFF2-40B4-BE49-F238E27FC236}">
                  <a16:creationId xmlns:a16="http://schemas.microsoft.com/office/drawing/2014/main" id="{2B5F9080-DC26-E45F-53FC-7BAC655527ED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3827463" y="819151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6" name="Freeform 349">
              <a:extLst>
                <a:ext uri="{FF2B5EF4-FFF2-40B4-BE49-F238E27FC236}">
                  <a16:creationId xmlns:a16="http://schemas.microsoft.com/office/drawing/2014/main" id="{8FBADB18-E7B5-7EFD-56EA-31BA9A2CC2EC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338638" y="1162051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7" name="Freeform 350">
              <a:extLst>
                <a:ext uri="{FF2B5EF4-FFF2-40B4-BE49-F238E27FC236}">
                  <a16:creationId xmlns:a16="http://schemas.microsoft.com/office/drawing/2014/main" id="{DE902DE4-668D-81EB-4163-14588AC8949B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881563" y="1176338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8" name="Freeform 351">
              <a:extLst>
                <a:ext uri="{FF2B5EF4-FFF2-40B4-BE49-F238E27FC236}">
                  <a16:creationId xmlns:a16="http://schemas.microsoft.com/office/drawing/2014/main" id="{CAA1B1A6-0EC9-4396-0557-2B64BEEB6DAD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930775" y="1104901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59" name="Freeform 352">
              <a:extLst>
                <a:ext uri="{FF2B5EF4-FFF2-40B4-BE49-F238E27FC236}">
                  <a16:creationId xmlns:a16="http://schemas.microsoft.com/office/drawing/2014/main" id="{5B7239DF-0269-EE5E-15DF-6855E2A4BBF7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537075" y="1120776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0" name="Freeform 353">
              <a:extLst>
                <a:ext uri="{FF2B5EF4-FFF2-40B4-BE49-F238E27FC236}">
                  <a16:creationId xmlns:a16="http://schemas.microsoft.com/office/drawing/2014/main" id="{B114908A-9F46-F68A-8ABF-62C07FA8EF61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3746500" y="1008063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1" name="Freeform 354">
              <a:extLst>
                <a:ext uri="{FF2B5EF4-FFF2-40B4-BE49-F238E27FC236}">
                  <a16:creationId xmlns:a16="http://schemas.microsoft.com/office/drawing/2014/main" id="{9975A7B4-1CE3-B6DB-DCB2-51DEA45B781C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3794125" y="1116013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2" name="Freeform 355">
              <a:extLst>
                <a:ext uri="{FF2B5EF4-FFF2-40B4-BE49-F238E27FC236}">
                  <a16:creationId xmlns:a16="http://schemas.microsoft.com/office/drawing/2014/main" id="{06247DBA-4945-8FA9-747D-50A9FA818530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3878263" y="1739901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3" name="Freeform 356">
              <a:extLst>
                <a:ext uri="{FF2B5EF4-FFF2-40B4-BE49-F238E27FC236}">
                  <a16:creationId xmlns:a16="http://schemas.microsoft.com/office/drawing/2014/main" id="{7A5357B9-5E47-EE28-23E7-2102D71BE27D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362450" y="2079626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4" name="Freeform 357">
              <a:extLst>
                <a:ext uri="{FF2B5EF4-FFF2-40B4-BE49-F238E27FC236}">
                  <a16:creationId xmlns:a16="http://schemas.microsoft.com/office/drawing/2014/main" id="{B0F1D82D-1AF2-177E-07B6-3D8D2FD7609D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370388" y="2066926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5" name="Freeform 358">
              <a:extLst>
                <a:ext uri="{FF2B5EF4-FFF2-40B4-BE49-F238E27FC236}">
                  <a16:creationId xmlns:a16="http://schemas.microsoft.com/office/drawing/2014/main" id="{AA3E791A-CCBE-E1E2-98C3-7364145BCB35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168775" y="1978026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6" name="Line 359">
              <a:extLst>
                <a:ext uri="{FF2B5EF4-FFF2-40B4-BE49-F238E27FC236}">
                  <a16:creationId xmlns:a16="http://schemas.microsoft.com/office/drawing/2014/main" id="{2820F169-38F8-F593-59EA-C2E2AD1E66C8}"/>
                </a:ext>
              </a:extLst>
            </p:cNvPr>
            <p:cNvSpPr>
              <a:spLocks noChangeShapeType="1"/>
            </p:cNvSpPr>
            <p:nvPr>
              <p:custDataLst>
                <p:tags r:id="rId264"/>
              </p:custDataLst>
            </p:nvPr>
          </p:nvSpPr>
          <p:spPr bwMode="auto">
            <a:xfrm flipH="1">
              <a:off x="1028700" y="2497138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7" name="Freeform 360">
              <a:extLst>
                <a:ext uri="{FF2B5EF4-FFF2-40B4-BE49-F238E27FC236}">
                  <a16:creationId xmlns:a16="http://schemas.microsoft.com/office/drawing/2014/main" id="{B088AE9C-4282-FA92-C8F9-FD0BC573A362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1028700" y="2505076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68" name="Freeform 361">
              <a:extLst>
                <a:ext uri="{FF2B5EF4-FFF2-40B4-BE49-F238E27FC236}">
                  <a16:creationId xmlns:a16="http://schemas.microsoft.com/office/drawing/2014/main" id="{21AFE8F5-1B69-BEBD-B110-B68DEC75EC84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1036638" y="2492376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69" name="Group 362">
              <a:extLst>
                <a:ext uri="{FF2B5EF4-FFF2-40B4-BE49-F238E27FC236}">
                  <a16:creationId xmlns:a16="http://schemas.microsoft.com/office/drawing/2014/main" id="{72348AD3-9D2A-5C82-E10B-81A9C9DF1174}"/>
                </a:ext>
              </a:extLst>
            </p:cNvPr>
            <p:cNvGrpSpPr>
              <a:grpSpLocks/>
            </p:cNvGrpSpPr>
            <p:nvPr>
              <p:custDataLst>
                <p:tags r:id="rId267"/>
              </p:custDataLst>
            </p:nvPr>
          </p:nvGrpSpPr>
          <p:grpSpPr bwMode="auto">
            <a:xfrm>
              <a:off x="1028700" y="2427288"/>
              <a:ext cx="417513" cy="201613"/>
              <a:chOff x="912" y="2626"/>
              <a:chExt cx="311" cy="127"/>
            </a:xfrm>
          </p:grpSpPr>
          <p:sp>
            <p:nvSpPr>
              <p:cNvPr id="455" name="Freeform 363">
                <a:extLst>
                  <a:ext uri="{FF2B5EF4-FFF2-40B4-BE49-F238E27FC236}">
                    <a16:creationId xmlns:a16="http://schemas.microsoft.com/office/drawing/2014/main" id="{DAB59DE0-A298-8B8B-4938-E501501BA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6" name="Freeform 364">
                <a:extLst>
                  <a:ext uri="{FF2B5EF4-FFF2-40B4-BE49-F238E27FC236}">
                    <a16:creationId xmlns:a16="http://schemas.microsoft.com/office/drawing/2014/main" id="{A7A06F91-B0E5-6F4F-F9BD-0B8FF4635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7" name="Freeform 365">
                <a:extLst>
                  <a:ext uri="{FF2B5EF4-FFF2-40B4-BE49-F238E27FC236}">
                    <a16:creationId xmlns:a16="http://schemas.microsoft.com/office/drawing/2014/main" id="{40035242-5180-17C4-8D0C-26CD477D3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70" name="Freeform 366">
              <a:extLst>
                <a:ext uri="{FF2B5EF4-FFF2-40B4-BE49-F238E27FC236}">
                  <a16:creationId xmlns:a16="http://schemas.microsoft.com/office/drawing/2014/main" id="{89EB732E-AFC2-6D95-865F-1BD35D89E501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676775" y="3144838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1" name="Freeform 367">
              <a:extLst>
                <a:ext uri="{FF2B5EF4-FFF2-40B4-BE49-F238E27FC236}">
                  <a16:creationId xmlns:a16="http://schemas.microsoft.com/office/drawing/2014/main" id="{25465F60-8DDF-D708-6E65-F63C35910904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648200" y="3171826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72" name="Group 368">
              <a:extLst>
                <a:ext uri="{FF2B5EF4-FFF2-40B4-BE49-F238E27FC236}">
                  <a16:creationId xmlns:a16="http://schemas.microsoft.com/office/drawing/2014/main" id="{EBA7532B-E7D0-C4D2-6AB0-C639A4FCD09D}"/>
                </a:ext>
              </a:extLst>
            </p:cNvPr>
            <p:cNvGrpSpPr>
              <a:grpSpLocks/>
            </p:cNvGrpSpPr>
            <p:nvPr>
              <p:custDataLst>
                <p:tags r:id="rId270"/>
              </p:custDataLst>
            </p:nvPr>
          </p:nvGrpSpPr>
          <p:grpSpPr bwMode="auto">
            <a:xfrm>
              <a:off x="4489450" y="2663826"/>
              <a:ext cx="168275" cy="103187"/>
              <a:chOff x="3481" y="2773"/>
              <a:chExt cx="125" cy="65"/>
            </a:xfrm>
          </p:grpSpPr>
          <p:sp>
            <p:nvSpPr>
              <p:cNvPr id="444" name="Freeform 369">
                <a:extLst>
                  <a:ext uri="{FF2B5EF4-FFF2-40B4-BE49-F238E27FC236}">
                    <a16:creationId xmlns:a16="http://schemas.microsoft.com/office/drawing/2014/main" id="{38732F8F-279F-3D53-9272-FDF95D541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5" name="Line 370">
                <a:extLst>
                  <a:ext uri="{FF2B5EF4-FFF2-40B4-BE49-F238E27FC236}">
                    <a16:creationId xmlns:a16="http://schemas.microsoft.com/office/drawing/2014/main" id="{0ED20203-F20F-931B-8F62-772E561D14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6" name="Freeform 371">
                <a:extLst>
                  <a:ext uri="{FF2B5EF4-FFF2-40B4-BE49-F238E27FC236}">
                    <a16:creationId xmlns:a16="http://schemas.microsoft.com/office/drawing/2014/main" id="{CD9495DF-B027-A2D0-9B5D-4651D27E4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7" name="Freeform 372">
                <a:extLst>
                  <a:ext uri="{FF2B5EF4-FFF2-40B4-BE49-F238E27FC236}">
                    <a16:creationId xmlns:a16="http://schemas.microsoft.com/office/drawing/2014/main" id="{4F784A75-25C7-4A9F-96C5-A5F5EE992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8" name="Freeform 373">
                <a:extLst>
                  <a:ext uri="{FF2B5EF4-FFF2-40B4-BE49-F238E27FC236}">
                    <a16:creationId xmlns:a16="http://schemas.microsoft.com/office/drawing/2014/main" id="{7B2ABE3F-1D9F-0223-779C-78B9A30EF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9" name="Line 374">
                <a:extLst>
                  <a:ext uri="{FF2B5EF4-FFF2-40B4-BE49-F238E27FC236}">
                    <a16:creationId xmlns:a16="http://schemas.microsoft.com/office/drawing/2014/main" id="{A24B0984-DCF0-85AD-BF2F-9D780BA56F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0" name="Freeform 375">
                <a:extLst>
                  <a:ext uri="{FF2B5EF4-FFF2-40B4-BE49-F238E27FC236}">
                    <a16:creationId xmlns:a16="http://schemas.microsoft.com/office/drawing/2014/main" id="{0BF4FE94-F11C-E373-6D5E-EA99D09E5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1" name="Freeform 376">
                <a:extLst>
                  <a:ext uri="{FF2B5EF4-FFF2-40B4-BE49-F238E27FC236}">
                    <a16:creationId xmlns:a16="http://schemas.microsoft.com/office/drawing/2014/main" id="{BE4BFA36-8A25-D467-79F9-CD620EA96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2" name="Freeform 377">
                <a:extLst>
                  <a:ext uri="{FF2B5EF4-FFF2-40B4-BE49-F238E27FC236}">
                    <a16:creationId xmlns:a16="http://schemas.microsoft.com/office/drawing/2014/main" id="{97CB0699-2049-A2A0-5F12-EFBC78113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3" name="Freeform 378">
                <a:extLst>
                  <a:ext uri="{FF2B5EF4-FFF2-40B4-BE49-F238E27FC236}">
                    <a16:creationId xmlns:a16="http://schemas.microsoft.com/office/drawing/2014/main" id="{2CD17848-5405-1AF4-A3C3-0B7DD0FFB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54" name="Freeform 379">
                <a:extLst>
                  <a:ext uri="{FF2B5EF4-FFF2-40B4-BE49-F238E27FC236}">
                    <a16:creationId xmlns:a16="http://schemas.microsoft.com/office/drawing/2014/main" id="{4084C0F8-2915-3C93-198B-8212B6321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73" name="Freeform 380">
              <a:extLst>
                <a:ext uri="{FF2B5EF4-FFF2-40B4-BE49-F238E27FC236}">
                  <a16:creationId xmlns:a16="http://schemas.microsoft.com/office/drawing/2014/main" id="{21A62A21-D663-A9CA-3221-E4C965CAF481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3617913" y="2655888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4" name="Freeform 381">
              <a:extLst>
                <a:ext uri="{FF2B5EF4-FFF2-40B4-BE49-F238E27FC236}">
                  <a16:creationId xmlns:a16="http://schemas.microsoft.com/office/drawing/2014/main" id="{18B5CE4F-43DE-49C9-1B6F-6760BB418C56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3629025" y="2628901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5" name="Freeform 382">
              <a:extLst>
                <a:ext uri="{FF2B5EF4-FFF2-40B4-BE49-F238E27FC236}">
                  <a16:creationId xmlns:a16="http://schemas.microsoft.com/office/drawing/2014/main" id="{9A4F0E1A-2A45-FE88-7924-A7C38892BE08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3730625" y="3171826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76" name="Freeform 383">
              <a:extLst>
                <a:ext uri="{FF2B5EF4-FFF2-40B4-BE49-F238E27FC236}">
                  <a16:creationId xmlns:a16="http://schemas.microsoft.com/office/drawing/2014/main" id="{28EF3A7D-5F29-11CC-F646-3001DC577FD5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3878263" y="1739901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77" name="Group 384">
              <a:extLst>
                <a:ext uri="{FF2B5EF4-FFF2-40B4-BE49-F238E27FC236}">
                  <a16:creationId xmlns:a16="http://schemas.microsoft.com/office/drawing/2014/main" id="{C0454521-0E22-A46F-6CE2-5C89DC83F52B}"/>
                </a:ext>
              </a:extLst>
            </p:cNvPr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2662238" y="1941513"/>
              <a:ext cx="80962" cy="82550"/>
              <a:chOff x="2352" y="2343"/>
              <a:chExt cx="65" cy="53"/>
            </a:xfrm>
          </p:grpSpPr>
          <p:sp>
            <p:nvSpPr>
              <p:cNvPr id="438" name="Freeform 385">
                <a:extLst>
                  <a:ext uri="{FF2B5EF4-FFF2-40B4-BE49-F238E27FC236}">
                    <a16:creationId xmlns:a16="http://schemas.microsoft.com/office/drawing/2014/main" id="{AB8779A3-EB2D-D85A-7DCA-DC518834F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9" name="Freeform 386">
                <a:extLst>
                  <a:ext uri="{FF2B5EF4-FFF2-40B4-BE49-F238E27FC236}">
                    <a16:creationId xmlns:a16="http://schemas.microsoft.com/office/drawing/2014/main" id="{ED838AEC-1AE1-C232-3F17-472082136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0" name="Freeform 387">
                <a:extLst>
                  <a:ext uri="{FF2B5EF4-FFF2-40B4-BE49-F238E27FC236}">
                    <a16:creationId xmlns:a16="http://schemas.microsoft.com/office/drawing/2014/main" id="{9EEE60B0-73E9-5ECC-2859-630049AEF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1" name="Freeform 388">
                <a:extLst>
                  <a:ext uri="{FF2B5EF4-FFF2-40B4-BE49-F238E27FC236}">
                    <a16:creationId xmlns:a16="http://schemas.microsoft.com/office/drawing/2014/main" id="{E9C79B50-7CF5-6DEB-BAA2-838C1B02D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2" name="Freeform 389">
                <a:extLst>
                  <a:ext uri="{FF2B5EF4-FFF2-40B4-BE49-F238E27FC236}">
                    <a16:creationId xmlns:a16="http://schemas.microsoft.com/office/drawing/2014/main" id="{F732736E-AA8B-14B1-0449-66654F66A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43" name="Freeform 390">
                <a:extLst>
                  <a:ext uri="{FF2B5EF4-FFF2-40B4-BE49-F238E27FC236}">
                    <a16:creationId xmlns:a16="http://schemas.microsoft.com/office/drawing/2014/main" id="{4F0CCBB1-6245-7F62-58FE-0E79DD9F0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grpSp>
          <p:nvGrpSpPr>
            <p:cNvPr id="278" name="Group 391">
              <a:extLst>
                <a:ext uri="{FF2B5EF4-FFF2-40B4-BE49-F238E27FC236}">
                  <a16:creationId xmlns:a16="http://schemas.microsoft.com/office/drawing/2014/main" id="{C014C4C1-F919-B1C4-CA85-15B82D3AC410}"/>
                </a:ext>
              </a:extLst>
            </p:cNvPr>
            <p:cNvGrpSpPr>
              <a:grpSpLocks/>
            </p:cNvGrpSpPr>
            <p:nvPr>
              <p:custDataLst>
                <p:tags r:id="rId276"/>
              </p:custDataLst>
            </p:nvPr>
          </p:nvGrpSpPr>
          <p:grpSpPr bwMode="auto">
            <a:xfrm>
              <a:off x="508000" y="1588"/>
              <a:ext cx="1897063" cy="1133475"/>
              <a:chOff x="527" y="1110"/>
              <a:chExt cx="1410" cy="709"/>
            </a:xfrm>
          </p:grpSpPr>
          <p:sp>
            <p:nvSpPr>
              <p:cNvPr id="396" name="Freeform 392">
                <a:extLst>
                  <a:ext uri="{FF2B5EF4-FFF2-40B4-BE49-F238E27FC236}">
                    <a16:creationId xmlns:a16="http://schemas.microsoft.com/office/drawing/2014/main" id="{427ED536-9232-7969-F512-8FE8CA2EA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7" name="Freeform 393">
                <a:extLst>
                  <a:ext uri="{FF2B5EF4-FFF2-40B4-BE49-F238E27FC236}">
                    <a16:creationId xmlns:a16="http://schemas.microsoft.com/office/drawing/2014/main" id="{CA508447-2951-99ED-916D-78C598646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8" name="Freeform 394">
                <a:extLst>
                  <a:ext uri="{FF2B5EF4-FFF2-40B4-BE49-F238E27FC236}">
                    <a16:creationId xmlns:a16="http://schemas.microsoft.com/office/drawing/2014/main" id="{67AD6319-4FE7-942E-CCEA-68F783430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9" name="Freeform 395">
                <a:extLst>
                  <a:ext uri="{FF2B5EF4-FFF2-40B4-BE49-F238E27FC236}">
                    <a16:creationId xmlns:a16="http://schemas.microsoft.com/office/drawing/2014/main" id="{F03E09FF-8C6B-3EA5-8C23-4D939FCE6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0" name="Freeform 396">
                <a:extLst>
                  <a:ext uri="{FF2B5EF4-FFF2-40B4-BE49-F238E27FC236}">
                    <a16:creationId xmlns:a16="http://schemas.microsoft.com/office/drawing/2014/main" id="{382076A9-6E19-3C22-2E47-40020F276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1" name="Freeform 397">
                <a:extLst>
                  <a:ext uri="{FF2B5EF4-FFF2-40B4-BE49-F238E27FC236}">
                    <a16:creationId xmlns:a16="http://schemas.microsoft.com/office/drawing/2014/main" id="{CE49A581-5252-4A88-608B-368EB7E2C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2" name="Freeform 398">
                <a:extLst>
                  <a:ext uri="{FF2B5EF4-FFF2-40B4-BE49-F238E27FC236}">
                    <a16:creationId xmlns:a16="http://schemas.microsoft.com/office/drawing/2014/main" id="{2748787B-4522-18C1-F63C-C81C5EAE7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3" name="Freeform 399">
                <a:extLst>
                  <a:ext uri="{FF2B5EF4-FFF2-40B4-BE49-F238E27FC236}">
                    <a16:creationId xmlns:a16="http://schemas.microsoft.com/office/drawing/2014/main" id="{42933E9F-DBBA-3B62-C69E-8B6053DAD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4" name="Freeform 400">
                <a:extLst>
                  <a:ext uri="{FF2B5EF4-FFF2-40B4-BE49-F238E27FC236}">
                    <a16:creationId xmlns:a16="http://schemas.microsoft.com/office/drawing/2014/main" id="{1DDB1DAB-9F28-A59D-1D96-F4D7EFCC3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5" name="Freeform 401">
                <a:extLst>
                  <a:ext uri="{FF2B5EF4-FFF2-40B4-BE49-F238E27FC236}">
                    <a16:creationId xmlns:a16="http://schemas.microsoft.com/office/drawing/2014/main" id="{5B1E0A5C-0CF2-C5E5-5E77-F5119FDA5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6" name="Freeform 402">
                <a:extLst>
                  <a:ext uri="{FF2B5EF4-FFF2-40B4-BE49-F238E27FC236}">
                    <a16:creationId xmlns:a16="http://schemas.microsoft.com/office/drawing/2014/main" id="{7450A62A-1069-5003-365F-61E57A7FC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7" name="Freeform 403">
                <a:extLst>
                  <a:ext uri="{FF2B5EF4-FFF2-40B4-BE49-F238E27FC236}">
                    <a16:creationId xmlns:a16="http://schemas.microsoft.com/office/drawing/2014/main" id="{1D903568-59EE-53B8-839D-79D906995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8" name="Freeform 404">
                <a:extLst>
                  <a:ext uri="{FF2B5EF4-FFF2-40B4-BE49-F238E27FC236}">
                    <a16:creationId xmlns:a16="http://schemas.microsoft.com/office/drawing/2014/main" id="{33DA01ED-79A6-FA14-3606-7ED8954FA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09" name="Freeform 405">
                <a:extLst>
                  <a:ext uri="{FF2B5EF4-FFF2-40B4-BE49-F238E27FC236}">
                    <a16:creationId xmlns:a16="http://schemas.microsoft.com/office/drawing/2014/main" id="{F0E0F7CB-F9E9-590C-4C76-0B3A6EB35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0" name="Freeform 406">
                <a:extLst>
                  <a:ext uri="{FF2B5EF4-FFF2-40B4-BE49-F238E27FC236}">
                    <a16:creationId xmlns:a16="http://schemas.microsoft.com/office/drawing/2014/main" id="{2CD2F1FC-0C25-86E5-988D-6698757A2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1" name="Freeform 407">
                <a:extLst>
                  <a:ext uri="{FF2B5EF4-FFF2-40B4-BE49-F238E27FC236}">
                    <a16:creationId xmlns:a16="http://schemas.microsoft.com/office/drawing/2014/main" id="{F039CC55-1B1D-3A0B-44C3-4D4EE0670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2" name="Freeform 408">
                <a:extLst>
                  <a:ext uri="{FF2B5EF4-FFF2-40B4-BE49-F238E27FC236}">
                    <a16:creationId xmlns:a16="http://schemas.microsoft.com/office/drawing/2014/main" id="{E6D89D43-F15A-F09B-66D3-9609AE653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3" name="Freeform 409">
                <a:extLst>
                  <a:ext uri="{FF2B5EF4-FFF2-40B4-BE49-F238E27FC236}">
                    <a16:creationId xmlns:a16="http://schemas.microsoft.com/office/drawing/2014/main" id="{641642E2-8598-14D4-0F3C-D6D7999BF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4" name="Freeform 410">
                <a:extLst>
                  <a:ext uri="{FF2B5EF4-FFF2-40B4-BE49-F238E27FC236}">
                    <a16:creationId xmlns:a16="http://schemas.microsoft.com/office/drawing/2014/main" id="{DF44BA96-D590-25AA-2390-7F31B8E2F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5" name="Freeform 411">
                <a:extLst>
                  <a:ext uri="{FF2B5EF4-FFF2-40B4-BE49-F238E27FC236}">
                    <a16:creationId xmlns:a16="http://schemas.microsoft.com/office/drawing/2014/main" id="{0364411A-342E-D3EF-BCB8-7D053A97E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6" name="Freeform 412">
                <a:extLst>
                  <a:ext uri="{FF2B5EF4-FFF2-40B4-BE49-F238E27FC236}">
                    <a16:creationId xmlns:a16="http://schemas.microsoft.com/office/drawing/2014/main" id="{43331A34-8DCB-0A08-7C7B-EEAB3A062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7" name="Freeform 413">
                <a:extLst>
                  <a:ext uri="{FF2B5EF4-FFF2-40B4-BE49-F238E27FC236}">
                    <a16:creationId xmlns:a16="http://schemas.microsoft.com/office/drawing/2014/main" id="{B6E47099-3B7A-AE99-BC67-BB28C0420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8" name="Freeform 414">
                <a:extLst>
                  <a:ext uri="{FF2B5EF4-FFF2-40B4-BE49-F238E27FC236}">
                    <a16:creationId xmlns:a16="http://schemas.microsoft.com/office/drawing/2014/main" id="{9B3280D4-DB92-6FC0-7D28-47FF5AA7A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19" name="Freeform 415">
                <a:extLst>
                  <a:ext uri="{FF2B5EF4-FFF2-40B4-BE49-F238E27FC236}">
                    <a16:creationId xmlns:a16="http://schemas.microsoft.com/office/drawing/2014/main" id="{FB962F6D-CDD5-7630-070F-49D16CA20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0" name="Freeform 416">
                <a:extLst>
                  <a:ext uri="{FF2B5EF4-FFF2-40B4-BE49-F238E27FC236}">
                    <a16:creationId xmlns:a16="http://schemas.microsoft.com/office/drawing/2014/main" id="{2A9CBFBC-A2FD-B623-EEF2-EFFD63DB1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1" name="Freeform 417">
                <a:extLst>
                  <a:ext uri="{FF2B5EF4-FFF2-40B4-BE49-F238E27FC236}">
                    <a16:creationId xmlns:a16="http://schemas.microsoft.com/office/drawing/2014/main" id="{7C57B822-72D6-D200-14D2-6BA390157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2" name="Freeform 418">
                <a:extLst>
                  <a:ext uri="{FF2B5EF4-FFF2-40B4-BE49-F238E27FC236}">
                    <a16:creationId xmlns:a16="http://schemas.microsoft.com/office/drawing/2014/main" id="{1EF049E4-6F26-89E4-DEEB-1AB4E9BF6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3" name="Freeform 419">
                <a:extLst>
                  <a:ext uri="{FF2B5EF4-FFF2-40B4-BE49-F238E27FC236}">
                    <a16:creationId xmlns:a16="http://schemas.microsoft.com/office/drawing/2014/main" id="{39F0D04D-4AF0-381F-7614-6F4CAEA90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4" name="Freeform 420">
                <a:extLst>
                  <a:ext uri="{FF2B5EF4-FFF2-40B4-BE49-F238E27FC236}">
                    <a16:creationId xmlns:a16="http://schemas.microsoft.com/office/drawing/2014/main" id="{C095DDBE-7FF0-F132-5B0C-A7B8709BC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5" name="Freeform 421">
                <a:extLst>
                  <a:ext uri="{FF2B5EF4-FFF2-40B4-BE49-F238E27FC236}">
                    <a16:creationId xmlns:a16="http://schemas.microsoft.com/office/drawing/2014/main" id="{BFDABA9C-D7ED-E570-61A2-32CC5DAB0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6" name="Freeform 422">
                <a:extLst>
                  <a:ext uri="{FF2B5EF4-FFF2-40B4-BE49-F238E27FC236}">
                    <a16:creationId xmlns:a16="http://schemas.microsoft.com/office/drawing/2014/main" id="{9356A775-B216-4897-1060-14D8F6564E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7" name="Freeform 423">
                <a:extLst>
                  <a:ext uri="{FF2B5EF4-FFF2-40B4-BE49-F238E27FC236}">
                    <a16:creationId xmlns:a16="http://schemas.microsoft.com/office/drawing/2014/main" id="{D7C4C42F-BFA2-AA05-6FD7-367F92E70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8" name="Freeform 424">
                <a:extLst>
                  <a:ext uri="{FF2B5EF4-FFF2-40B4-BE49-F238E27FC236}">
                    <a16:creationId xmlns:a16="http://schemas.microsoft.com/office/drawing/2014/main" id="{57645FAD-5D3D-65BA-2F98-62DCE14E0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29" name="Freeform 425">
                <a:extLst>
                  <a:ext uri="{FF2B5EF4-FFF2-40B4-BE49-F238E27FC236}">
                    <a16:creationId xmlns:a16="http://schemas.microsoft.com/office/drawing/2014/main" id="{E9BAFC80-0AC5-95AC-768A-100B00769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0" name="Freeform 426">
                <a:extLst>
                  <a:ext uri="{FF2B5EF4-FFF2-40B4-BE49-F238E27FC236}">
                    <a16:creationId xmlns:a16="http://schemas.microsoft.com/office/drawing/2014/main" id="{8E7D0CF9-B00B-071B-592C-72ECAE82B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1" name="Freeform 427">
                <a:extLst>
                  <a:ext uri="{FF2B5EF4-FFF2-40B4-BE49-F238E27FC236}">
                    <a16:creationId xmlns:a16="http://schemas.microsoft.com/office/drawing/2014/main" id="{A3068776-549C-76CE-04FB-0A8637EEF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2" name="Freeform 428">
                <a:extLst>
                  <a:ext uri="{FF2B5EF4-FFF2-40B4-BE49-F238E27FC236}">
                    <a16:creationId xmlns:a16="http://schemas.microsoft.com/office/drawing/2014/main" id="{6E9EDDDC-3F71-122C-112A-E6CCADD15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3" name="Freeform 429">
                <a:extLst>
                  <a:ext uri="{FF2B5EF4-FFF2-40B4-BE49-F238E27FC236}">
                    <a16:creationId xmlns:a16="http://schemas.microsoft.com/office/drawing/2014/main" id="{C9373AB6-B660-CD85-5154-109157D93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4" name="Freeform 430">
                <a:extLst>
                  <a:ext uri="{FF2B5EF4-FFF2-40B4-BE49-F238E27FC236}">
                    <a16:creationId xmlns:a16="http://schemas.microsoft.com/office/drawing/2014/main" id="{B0BBB8BE-C0A4-B201-D3F1-D737F4EF0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5" name="Freeform 431">
                <a:extLst>
                  <a:ext uri="{FF2B5EF4-FFF2-40B4-BE49-F238E27FC236}">
                    <a16:creationId xmlns:a16="http://schemas.microsoft.com/office/drawing/2014/main" id="{FE8AD634-5883-A64E-9384-232DEAED4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6" name="Freeform 432">
                <a:extLst>
                  <a:ext uri="{FF2B5EF4-FFF2-40B4-BE49-F238E27FC236}">
                    <a16:creationId xmlns:a16="http://schemas.microsoft.com/office/drawing/2014/main" id="{97EB946D-16A1-6CC3-F7A7-B83F8D9BF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437" name="Freeform 433">
                <a:extLst>
                  <a:ext uri="{FF2B5EF4-FFF2-40B4-BE49-F238E27FC236}">
                    <a16:creationId xmlns:a16="http://schemas.microsoft.com/office/drawing/2014/main" id="{143F9045-4595-AA4C-1C9D-4EA946D26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79" name="Freeform 434">
              <a:extLst>
                <a:ext uri="{FF2B5EF4-FFF2-40B4-BE49-F238E27FC236}">
                  <a16:creationId xmlns:a16="http://schemas.microsoft.com/office/drawing/2014/main" id="{C7C91B1A-2F1D-D981-BCFE-FEDAD100C670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078288" y="2346326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0" name="Freeform 435">
              <a:extLst>
                <a:ext uri="{FF2B5EF4-FFF2-40B4-BE49-F238E27FC236}">
                  <a16:creationId xmlns:a16="http://schemas.microsoft.com/office/drawing/2014/main" id="{BE8910F7-7053-8F83-9E24-0FD56F87CB5A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184650" y="2497138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1" name="Freeform 436">
              <a:extLst>
                <a:ext uri="{FF2B5EF4-FFF2-40B4-BE49-F238E27FC236}">
                  <a16:creationId xmlns:a16="http://schemas.microsoft.com/office/drawing/2014/main" id="{CE730476-BAE9-A848-4726-966DFE162DEC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3675063" y="1733551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2" name="Freeform 437">
              <a:extLst>
                <a:ext uri="{FF2B5EF4-FFF2-40B4-BE49-F238E27FC236}">
                  <a16:creationId xmlns:a16="http://schemas.microsoft.com/office/drawing/2014/main" id="{23D67BDA-6904-18F2-E620-0D09C4746F29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3351213" y="1116013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283" name="Group 438">
              <a:extLst>
                <a:ext uri="{FF2B5EF4-FFF2-40B4-BE49-F238E27FC236}">
                  <a16:creationId xmlns:a16="http://schemas.microsoft.com/office/drawing/2014/main" id="{DF6FF8D1-DD94-0E7A-EEA1-1DCAC804B3F0}"/>
                </a:ext>
              </a:extLst>
            </p:cNvPr>
            <p:cNvGrpSpPr>
              <a:grpSpLocks/>
            </p:cNvGrpSpPr>
            <p:nvPr>
              <p:custDataLst>
                <p:tags r:id="rId281"/>
              </p:custDataLst>
            </p:nvPr>
          </p:nvGrpSpPr>
          <p:grpSpPr bwMode="auto">
            <a:xfrm>
              <a:off x="1651000" y="3176588"/>
              <a:ext cx="384175" cy="1031875"/>
              <a:chOff x="1589" y="3126"/>
              <a:chExt cx="290" cy="657"/>
            </a:xfrm>
          </p:grpSpPr>
          <p:sp>
            <p:nvSpPr>
              <p:cNvPr id="393" name="Freeform 439">
                <a:extLst>
                  <a:ext uri="{FF2B5EF4-FFF2-40B4-BE49-F238E27FC236}">
                    <a16:creationId xmlns:a16="http://schemas.microsoft.com/office/drawing/2014/main" id="{57EEF5CF-C229-A82B-D5D0-8139892B8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4" name="Freeform 440">
                <a:extLst>
                  <a:ext uri="{FF2B5EF4-FFF2-40B4-BE49-F238E27FC236}">
                    <a16:creationId xmlns:a16="http://schemas.microsoft.com/office/drawing/2014/main" id="{1F7C9216-EE47-4CAD-637B-A15CF2E31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5" name="Freeform 441">
                <a:extLst>
                  <a:ext uri="{FF2B5EF4-FFF2-40B4-BE49-F238E27FC236}">
                    <a16:creationId xmlns:a16="http://schemas.microsoft.com/office/drawing/2014/main" id="{9F43E359-DD54-D0C7-5FEB-DA425E0E2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284" name="Freeform 442">
              <a:extLst>
                <a:ext uri="{FF2B5EF4-FFF2-40B4-BE49-F238E27FC236}">
                  <a16:creationId xmlns:a16="http://schemas.microsoft.com/office/drawing/2014/main" id="{7BF44A6B-2A92-840C-F8A4-A282D9D81DB9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0863" y="1128713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5" name="Freeform 443">
              <a:extLst>
                <a:ext uri="{FF2B5EF4-FFF2-40B4-BE49-F238E27FC236}">
                  <a16:creationId xmlns:a16="http://schemas.microsoft.com/office/drawing/2014/main" id="{C52892EA-2939-8F54-0B04-210119F63BB2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827463" y="701676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6" name="Freeform 444">
              <a:extLst>
                <a:ext uri="{FF2B5EF4-FFF2-40B4-BE49-F238E27FC236}">
                  <a16:creationId xmlns:a16="http://schemas.microsoft.com/office/drawing/2014/main" id="{6257DC11-CAD2-5C6A-4C7B-0D1D5245F813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684588" y="1033463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7" name="Freeform 445">
              <a:extLst>
                <a:ext uri="{FF2B5EF4-FFF2-40B4-BE49-F238E27FC236}">
                  <a16:creationId xmlns:a16="http://schemas.microsoft.com/office/drawing/2014/main" id="{80BE5E50-9B6B-3C97-27E8-F55C637AA93D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2049463" y="2470151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8" name="Freeform 446">
              <a:extLst>
                <a:ext uri="{FF2B5EF4-FFF2-40B4-BE49-F238E27FC236}">
                  <a16:creationId xmlns:a16="http://schemas.microsoft.com/office/drawing/2014/main" id="{3B1DA5F1-4363-05DA-9F27-FE140D86425D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843338" y="1068388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89" name="Freeform 447">
              <a:extLst>
                <a:ext uri="{FF2B5EF4-FFF2-40B4-BE49-F238E27FC236}">
                  <a16:creationId xmlns:a16="http://schemas.microsoft.com/office/drawing/2014/main" id="{54308D6B-63BD-4B1B-767D-8A8911E3D551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3198813" y="1995488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0" name="Freeform 448">
              <a:extLst>
                <a:ext uri="{FF2B5EF4-FFF2-40B4-BE49-F238E27FC236}">
                  <a16:creationId xmlns:a16="http://schemas.microsoft.com/office/drawing/2014/main" id="{F79ADA7E-781F-05F3-A22C-66285D8272BB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46475" y="2063751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1" name="Freeform 449">
              <a:extLst>
                <a:ext uri="{FF2B5EF4-FFF2-40B4-BE49-F238E27FC236}">
                  <a16:creationId xmlns:a16="http://schemas.microsoft.com/office/drawing/2014/main" id="{CC4E2D9A-0210-CD0A-80AA-B35FF3CBFF97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997575" y="1822451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2" name="Freeform 450">
              <a:extLst>
                <a:ext uri="{FF2B5EF4-FFF2-40B4-BE49-F238E27FC236}">
                  <a16:creationId xmlns:a16="http://schemas.microsoft.com/office/drawing/2014/main" id="{5AD3CAE5-51E2-D2DF-6CFD-D25FF940A676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1352550" y="2085976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3" name="Freeform 451">
              <a:extLst>
                <a:ext uri="{FF2B5EF4-FFF2-40B4-BE49-F238E27FC236}">
                  <a16:creationId xmlns:a16="http://schemas.microsoft.com/office/drawing/2014/main" id="{23AACF1D-9F6E-AD23-A337-31AA077F74AD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3605213" y="2354263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4" name="Freeform 452">
              <a:extLst>
                <a:ext uri="{FF2B5EF4-FFF2-40B4-BE49-F238E27FC236}">
                  <a16:creationId xmlns:a16="http://schemas.microsoft.com/office/drawing/2014/main" id="{CC376DA2-7128-A813-7B11-569AE9C4421B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3636963" y="996951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5" name="Freeform 453">
              <a:extLst>
                <a:ext uri="{FF2B5EF4-FFF2-40B4-BE49-F238E27FC236}">
                  <a16:creationId xmlns:a16="http://schemas.microsoft.com/office/drawing/2014/main" id="{EFFD5B88-7C60-DD18-E91B-29E2E4438C94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3587750" y="855663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6" name="Freeform 454">
              <a:extLst>
                <a:ext uri="{FF2B5EF4-FFF2-40B4-BE49-F238E27FC236}">
                  <a16:creationId xmlns:a16="http://schemas.microsoft.com/office/drawing/2014/main" id="{D415BF73-A02B-EE2B-F272-CE1E4F6C61DB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551238" y="711201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7" name="Freeform 455">
              <a:extLst>
                <a:ext uri="{FF2B5EF4-FFF2-40B4-BE49-F238E27FC236}">
                  <a16:creationId xmlns:a16="http://schemas.microsoft.com/office/drawing/2014/main" id="{8DDF87A4-951D-07D0-34CA-66702D17A44C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3522663" y="715963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8" name="Freeform 456">
              <a:extLst>
                <a:ext uri="{FF2B5EF4-FFF2-40B4-BE49-F238E27FC236}">
                  <a16:creationId xmlns:a16="http://schemas.microsoft.com/office/drawing/2014/main" id="{3540439B-4926-7197-A9A8-0542DA5397AE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3492500" y="661988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299" name="Freeform 457">
              <a:extLst>
                <a:ext uri="{FF2B5EF4-FFF2-40B4-BE49-F238E27FC236}">
                  <a16:creationId xmlns:a16="http://schemas.microsoft.com/office/drawing/2014/main" id="{0AF88CEA-1500-FC10-B7BC-4D1AE28644A7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924300" y="1466851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0" name="Freeform 458">
              <a:extLst>
                <a:ext uri="{FF2B5EF4-FFF2-40B4-BE49-F238E27FC236}">
                  <a16:creationId xmlns:a16="http://schemas.microsoft.com/office/drawing/2014/main" id="{4E1DB9C2-B09B-1156-28C2-6F04EBABCC01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3519488" y="1101726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1" name="Freeform 459">
              <a:extLst>
                <a:ext uri="{FF2B5EF4-FFF2-40B4-BE49-F238E27FC236}">
                  <a16:creationId xmlns:a16="http://schemas.microsoft.com/office/drawing/2014/main" id="{632AF3FB-62D2-3A7A-E6C5-6D5013D0E86E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237235" y="852488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2" name="Freeform 460">
              <a:extLst>
                <a:ext uri="{FF2B5EF4-FFF2-40B4-BE49-F238E27FC236}">
                  <a16:creationId xmlns:a16="http://schemas.microsoft.com/office/drawing/2014/main" id="{8719B557-F074-6C33-4E3F-3C96BA3980DD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240213" y="1087438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3" name="Freeform 461">
              <a:extLst>
                <a:ext uri="{FF2B5EF4-FFF2-40B4-BE49-F238E27FC236}">
                  <a16:creationId xmlns:a16="http://schemas.microsoft.com/office/drawing/2014/main" id="{2B649C40-98D6-5545-870D-DB06746B4480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789363" y="1147763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4" name="Freeform 462">
              <a:extLst>
                <a:ext uri="{FF2B5EF4-FFF2-40B4-BE49-F238E27FC236}">
                  <a16:creationId xmlns:a16="http://schemas.microsoft.com/office/drawing/2014/main" id="{027C2220-1F0D-DFD4-BB92-B8436588029C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873500" y="1339851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57A7B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5" name="Freeform 463">
              <a:extLst>
                <a:ext uri="{FF2B5EF4-FFF2-40B4-BE49-F238E27FC236}">
                  <a16:creationId xmlns:a16="http://schemas.microsoft.com/office/drawing/2014/main" id="{7BB761A8-B933-3551-466A-CFCFB21290F8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2952750" y="2071688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6" name="Freeform 464">
              <a:extLst>
                <a:ext uri="{FF2B5EF4-FFF2-40B4-BE49-F238E27FC236}">
                  <a16:creationId xmlns:a16="http://schemas.microsoft.com/office/drawing/2014/main" id="{E83D1B23-3CBB-ACF2-34EA-062EB712BC97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997450" y="1335088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7" name="Freeform 465">
              <a:extLst>
                <a:ext uri="{FF2B5EF4-FFF2-40B4-BE49-F238E27FC236}">
                  <a16:creationId xmlns:a16="http://schemas.microsoft.com/office/drawing/2014/main" id="{90D1F171-DD4B-CC73-6F73-878F93CE1224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3119438" y="2130426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8" name="Freeform 466">
              <a:extLst>
                <a:ext uri="{FF2B5EF4-FFF2-40B4-BE49-F238E27FC236}">
                  <a16:creationId xmlns:a16="http://schemas.microsoft.com/office/drawing/2014/main" id="{5970FEEC-3D6A-6C2F-7B40-6E6421822BA9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187825" y="2325688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09" name="Freeform 467">
              <a:extLst>
                <a:ext uri="{FF2B5EF4-FFF2-40B4-BE49-F238E27FC236}">
                  <a16:creationId xmlns:a16="http://schemas.microsoft.com/office/drawing/2014/main" id="{1EF009E3-E6DF-4C9F-B4C2-4DB3EAFD2F6F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170363" y="1411288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0" name="Freeform 468">
              <a:extLst>
                <a:ext uri="{FF2B5EF4-FFF2-40B4-BE49-F238E27FC236}">
                  <a16:creationId xmlns:a16="http://schemas.microsoft.com/office/drawing/2014/main" id="{3DED8A9B-FD7D-3C1A-2CC3-41201BC840AD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468813" y="1514476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1" name="Freeform 469">
              <a:extLst>
                <a:ext uri="{FF2B5EF4-FFF2-40B4-BE49-F238E27FC236}">
                  <a16:creationId xmlns:a16="http://schemas.microsoft.com/office/drawing/2014/main" id="{E7CCAEA2-7132-69EB-C309-D65AFECF121E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3756025" y="649288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2" name="Freeform 470">
              <a:extLst>
                <a:ext uri="{FF2B5EF4-FFF2-40B4-BE49-F238E27FC236}">
                  <a16:creationId xmlns:a16="http://schemas.microsoft.com/office/drawing/2014/main" id="{01603471-FF50-8A04-6EB8-E54FEDE91D8B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167188" y="1370013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3" name="Freeform 471">
              <a:extLst>
                <a:ext uri="{FF2B5EF4-FFF2-40B4-BE49-F238E27FC236}">
                  <a16:creationId xmlns:a16="http://schemas.microsoft.com/office/drawing/2014/main" id="{516FF5C0-D340-D5E3-E236-3AA6152C79FE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3983038" y="338137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4" name="Freeform 472">
              <a:extLst>
                <a:ext uri="{FF2B5EF4-FFF2-40B4-BE49-F238E27FC236}">
                  <a16:creationId xmlns:a16="http://schemas.microsoft.com/office/drawing/2014/main" id="{84202BD8-3B84-FE3A-060D-1F97FB929808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754438" y="696913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5" name="Freeform 473">
              <a:extLst>
                <a:ext uri="{FF2B5EF4-FFF2-40B4-BE49-F238E27FC236}">
                  <a16:creationId xmlns:a16="http://schemas.microsoft.com/office/drawing/2014/main" id="{C9B1D508-4878-6C8B-F4E3-AB6F73AB39AD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3460750" y="882651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6" name="Freeform 474">
              <a:extLst>
                <a:ext uri="{FF2B5EF4-FFF2-40B4-BE49-F238E27FC236}">
                  <a16:creationId xmlns:a16="http://schemas.microsoft.com/office/drawing/2014/main" id="{E342AF16-13A8-F436-EA62-5209D81235FD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157663" y="2767013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7" name="Freeform 475">
              <a:extLst>
                <a:ext uri="{FF2B5EF4-FFF2-40B4-BE49-F238E27FC236}">
                  <a16:creationId xmlns:a16="http://schemas.microsoft.com/office/drawing/2014/main" id="{2F28532A-0443-5BAB-41A5-9A92EF1E7738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649663" y="1338263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8" name="Freeform 476">
              <a:extLst>
                <a:ext uri="{FF2B5EF4-FFF2-40B4-BE49-F238E27FC236}">
                  <a16:creationId xmlns:a16="http://schemas.microsoft.com/office/drawing/2014/main" id="{4AF9380A-CA81-E3C6-7F9E-44B2CB231491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3968750" y="2959101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19" name="Freeform 477">
              <a:extLst>
                <a:ext uri="{FF2B5EF4-FFF2-40B4-BE49-F238E27FC236}">
                  <a16:creationId xmlns:a16="http://schemas.microsoft.com/office/drawing/2014/main" id="{DE63BA59-7457-3827-B221-58CE68954498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881438" y="2735263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0" name="Freeform 478">
              <a:extLst>
                <a:ext uri="{FF2B5EF4-FFF2-40B4-BE49-F238E27FC236}">
                  <a16:creationId xmlns:a16="http://schemas.microsoft.com/office/drawing/2014/main" id="{4901A90D-A0C6-5B62-2991-73DB6C60702C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3617913" y="3008313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1" name="Freeform 479">
              <a:extLst>
                <a:ext uri="{FF2B5EF4-FFF2-40B4-BE49-F238E27FC236}">
                  <a16:creationId xmlns:a16="http://schemas.microsoft.com/office/drawing/2014/main" id="{B8888F2D-4128-4DBC-7243-6889EB88CE2C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2897188" y="1938338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57A7B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2" name="Freeform 480">
              <a:extLst>
                <a:ext uri="{FF2B5EF4-FFF2-40B4-BE49-F238E27FC236}">
                  <a16:creationId xmlns:a16="http://schemas.microsoft.com/office/drawing/2014/main" id="{386D204D-B353-9656-0DF3-BD6893F7D30B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070350" y="2500313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3" name="Freeform 481">
              <a:extLst>
                <a:ext uri="{FF2B5EF4-FFF2-40B4-BE49-F238E27FC236}">
                  <a16:creationId xmlns:a16="http://schemas.microsoft.com/office/drawing/2014/main" id="{E0501348-7A16-EF2B-AA55-80CAA94AAE7B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6634163" y="1014413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4" name="Freeform 482">
              <a:extLst>
                <a:ext uri="{FF2B5EF4-FFF2-40B4-BE49-F238E27FC236}">
                  <a16:creationId xmlns:a16="http://schemas.microsoft.com/office/drawing/2014/main" id="{49F663F4-F846-B4CF-D130-A6F342225458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492875" y="1016001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5" name="Freeform 483">
              <a:extLst>
                <a:ext uri="{FF2B5EF4-FFF2-40B4-BE49-F238E27FC236}">
                  <a16:creationId xmlns:a16="http://schemas.microsoft.com/office/drawing/2014/main" id="{2EBC2EC6-96F6-E782-1E02-EEF691D47BB7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6462713" y="1370013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6" name="Freeform 484">
              <a:extLst>
                <a:ext uri="{FF2B5EF4-FFF2-40B4-BE49-F238E27FC236}">
                  <a16:creationId xmlns:a16="http://schemas.microsoft.com/office/drawing/2014/main" id="{67C79605-18EB-D517-9E65-DC7C130AEB8E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408738" y="1384301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7" name="Freeform 485">
              <a:extLst>
                <a:ext uri="{FF2B5EF4-FFF2-40B4-BE49-F238E27FC236}">
                  <a16:creationId xmlns:a16="http://schemas.microsoft.com/office/drawing/2014/main" id="{DC3BC072-76F1-01C9-625A-D066C1F2A76C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424613" y="1146176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8" name="Freeform 486">
              <a:extLst>
                <a:ext uri="{FF2B5EF4-FFF2-40B4-BE49-F238E27FC236}">
                  <a16:creationId xmlns:a16="http://schemas.microsoft.com/office/drawing/2014/main" id="{AD902C4C-01CF-096C-76F1-70D32ECE0158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008438" y="36513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29" name="Freeform 487">
              <a:extLst>
                <a:ext uri="{FF2B5EF4-FFF2-40B4-BE49-F238E27FC236}">
                  <a16:creationId xmlns:a16="http://schemas.microsoft.com/office/drawing/2014/main" id="{8CB6840C-A75E-364B-C205-B3FFFF91B3E7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4151313" y="19051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0" name="Freeform 488">
              <a:extLst>
                <a:ext uri="{FF2B5EF4-FFF2-40B4-BE49-F238E27FC236}">
                  <a16:creationId xmlns:a16="http://schemas.microsoft.com/office/drawing/2014/main" id="{B43D263E-DD54-F6E3-C130-92060334BBE9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4187825" y="26988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1" name="Freeform 489">
              <a:extLst>
                <a:ext uri="{FF2B5EF4-FFF2-40B4-BE49-F238E27FC236}">
                  <a16:creationId xmlns:a16="http://schemas.microsoft.com/office/drawing/2014/main" id="{5E602225-1DE5-2DF2-B189-29E8647A5A1B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4721225" y="212726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2" name="Freeform 490">
              <a:extLst>
                <a:ext uri="{FF2B5EF4-FFF2-40B4-BE49-F238E27FC236}">
                  <a16:creationId xmlns:a16="http://schemas.microsoft.com/office/drawing/2014/main" id="{68C2413B-A6C6-EBEF-F736-3C21BC5BD4FC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4630738" y="71438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3" name="Freeform 491">
              <a:extLst>
                <a:ext uri="{FF2B5EF4-FFF2-40B4-BE49-F238E27FC236}">
                  <a16:creationId xmlns:a16="http://schemas.microsoft.com/office/drawing/2014/main" id="{27CE470C-308F-4679-81AC-5ACCAE5B6D87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4652963" y="30163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4" name="Freeform 492">
              <a:extLst>
                <a:ext uri="{FF2B5EF4-FFF2-40B4-BE49-F238E27FC236}">
                  <a16:creationId xmlns:a16="http://schemas.microsoft.com/office/drawing/2014/main" id="{36484AB0-BBAA-4B40-FEFF-C9CEA87891CC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4797425" y="146051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5" name="Freeform 493">
              <a:extLst>
                <a:ext uri="{FF2B5EF4-FFF2-40B4-BE49-F238E27FC236}">
                  <a16:creationId xmlns:a16="http://schemas.microsoft.com/office/drawing/2014/main" id="{BF213DE0-0B1D-B4BB-387F-DF12405DE35B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4851400" y="30163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6" name="Freeform 494">
              <a:extLst>
                <a:ext uri="{FF2B5EF4-FFF2-40B4-BE49-F238E27FC236}">
                  <a16:creationId xmlns:a16="http://schemas.microsoft.com/office/drawing/2014/main" id="{89248542-849C-97B6-7FA0-8726C7DA9EA0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4911725" y="55563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7" name="Freeform 495">
              <a:extLst>
                <a:ext uri="{FF2B5EF4-FFF2-40B4-BE49-F238E27FC236}">
                  <a16:creationId xmlns:a16="http://schemas.microsoft.com/office/drawing/2014/main" id="{CC2E723B-915B-18AC-9AC5-852BB5C97A46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5029200" y="69851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8" name="Freeform 496">
              <a:extLst>
                <a:ext uri="{FF2B5EF4-FFF2-40B4-BE49-F238E27FC236}">
                  <a16:creationId xmlns:a16="http://schemas.microsoft.com/office/drawing/2014/main" id="{61FE3755-6322-A0C8-F38B-179ED52FFD34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5556250" y="195263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39" name="Freeform 497">
              <a:extLst>
                <a:ext uri="{FF2B5EF4-FFF2-40B4-BE49-F238E27FC236}">
                  <a16:creationId xmlns:a16="http://schemas.microsoft.com/office/drawing/2014/main" id="{F0F529FE-D7B2-A38F-96A2-359D13DA508B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5622925" y="212726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0" name="Freeform 498">
              <a:extLst>
                <a:ext uri="{FF2B5EF4-FFF2-40B4-BE49-F238E27FC236}">
                  <a16:creationId xmlns:a16="http://schemas.microsoft.com/office/drawing/2014/main" id="{38A52FE9-7004-7054-B74E-7FBC7C728C33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5653088" y="223838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1" name="Freeform 499">
              <a:extLst>
                <a:ext uri="{FF2B5EF4-FFF2-40B4-BE49-F238E27FC236}">
                  <a16:creationId xmlns:a16="http://schemas.microsoft.com/office/drawing/2014/main" id="{0176A307-6EB8-EDB4-4F4F-6EA67AEF79DE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5424488" y="196851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2" name="Freeform 500">
              <a:extLst>
                <a:ext uri="{FF2B5EF4-FFF2-40B4-BE49-F238E27FC236}">
                  <a16:creationId xmlns:a16="http://schemas.microsoft.com/office/drawing/2014/main" id="{BEB34BEF-02C9-B8E7-A0A5-09106D6ACAC9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5724525" y="138113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3" name="Freeform 501">
              <a:extLst>
                <a:ext uri="{FF2B5EF4-FFF2-40B4-BE49-F238E27FC236}">
                  <a16:creationId xmlns:a16="http://schemas.microsoft.com/office/drawing/2014/main" id="{4057967D-8148-41EC-0F67-01D79FEB6309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5884863" y="146051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4" name="Freeform 502">
              <a:extLst>
                <a:ext uri="{FF2B5EF4-FFF2-40B4-BE49-F238E27FC236}">
                  <a16:creationId xmlns:a16="http://schemas.microsoft.com/office/drawing/2014/main" id="{9D45B63D-26B5-6027-10E3-4D65AEA79A7E}"/>
                </a:ext>
              </a:extLst>
            </p:cNvPr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5845175" y="193676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5" name="Freeform 503">
              <a:extLst>
                <a:ext uri="{FF2B5EF4-FFF2-40B4-BE49-F238E27FC236}">
                  <a16:creationId xmlns:a16="http://schemas.microsoft.com/office/drawing/2014/main" id="{2E0B27E2-3E65-7285-137B-0440EE44EC18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824538" y="190501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6" name="Line 504">
              <a:extLst>
                <a:ext uri="{FF2B5EF4-FFF2-40B4-BE49-F238E27FC236}">
                  <a16:creationId xmlns:a16="http://schemas.microsoft.com/office/drawing/2014/main" id="{5D1CA8D4-8E2C-9B73-7B72-BEABE043D680}"/>
                </a:ext>
              </a:extLst>
            </p:cNvPr>
            <p:cNvSpPr>
              <a:spLocks noChangeShapeType="1"/>
            </p:cNvSpPr>
            <p:nvPr>
              <p:custDataLst>
                <p:tags r:id="rId344"/>
              </p:custDataLst>
            </p:nvPr>
          </p:nvSpPr>
          <p:spPr bwMode="auto">
            <a:xfrm flipV="1">
              <a:off x="5826125" y="188913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7" name="Freeform 505">
              <a:extLst>
                <a:ext uri="{FF2B5EF4-FFF2-40B4-BE49-F238E27FC236}">
                  <a16:creationId xmlns:a16="http://schemas.microsoft.com/office/drawing/2014/main" id="{69E4DD34-25BD-7F99-0F80-8661C127524D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4995863" y="117476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8" name="Freeform 506">
              <a:extLst>
                <a:ext uri="{FF2B5EF4-FFF2-40B4-BE49-F238E27FC236}">
                  <a16:creationId xmlns:a16="http://schemas.microsoft.com/office/drawing/2014/main" id="{DED76608-AA32-A5EC-0712-0AF60459FF7B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5745163" y="188913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49" name="Freeform 507">
              <a:extLst>
                <a:ext uri="{FF2B5EF4-FFF2-40B4-BE49-F238E27FC236}">
                  <a16:creationId xmlns:a16="http://schemas.microsoft.com/office/drawing/2014/main" id="{F922149F-3318-EB59-A66A-6025C5E91401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5699125" y="152401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0" name="Freeform 508">
              <a:extLst>
                <a:ext uri="{FF2B5EF4-FFF2-40B4-BE49-F238E27FC236}">
                  <a16:creationId xmlns:a16="http://schemas.microsoft.com/office/drawing/2014/main" id="{A9877738-EC42-1F53-E642-2945CF5F717A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6199188" y="722313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1" name="Freeform 509">
              <a:extLst>
                <a:ext uri="{FF2B5EF4-FFF2-40B4-BE49-F238E27FC236}">
                  <a16:creationId xmlns:a16="http://schemas.microsoft.com/office/drawing/2014/main" id="{C0A94155-7F57-85A0-897D-5F901C04C0EA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6492875" y="244476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2" name="Freeform 510">
              <a:extLst>
                <a:ext uri="{FF2B5EF4-FFF2-40B4-BE49-F238E27FC236}">
                  <a16:creationId xmlns:a16="http://schemas.microsoft.com/office/drawing/2014/main" id="{F414439C-762A-2A3B-FBD5-429DFA3BB1CB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6629400" y="596901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3" name="Freeform 511">
              <a:extLst>
                <a:ext uri="{FF2B5EF4-FFF2-40B4-BE49-F238E27FC236}">
                  <a16:creationId xmlns:a16="http://schemas.microsoft.com/office/drawing/2014/main" id="{E7B6D4DD-FFB8-2C6D-2F6F-A4057E79C556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6778625" y="709613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4" name="Freeform 512">
              <a:extLst>
                <a:ext uri="{FF2B5EF4-FFF2-40B4-BE49-F238E27FC236}">
                  <a16:creationId xmlns:a16="http://schemas.microsoft.com/office/drawing/2014/main" id="{76F23FF2-BEC4-F379-0654-C18E70CB4F14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6829425" y="725488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5" name="Freeform 513">
              <a:extLst>
                <a:ext uri="{FF2B5EF4-FFF2-40B4-BE49-F238E27FC236}">
                  <a16:creationId xmlns:a16="http://schemas.microsoft.com/office/drawing/2014/main" id="{E7D424A6-EEB2-CB3C-941E-DECD51FBE4E8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6694488" y="852488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6" name="Freeform 514">
              <a:extLst>
                <a:ext uri="{FF2B5EF4-FFF2-40B4-BE49-F238E27FC236}">
                  <a16:creationId xmlns:a16="http://schemas.microsoft.com/office/drawing/2014/main" id="{A6836E54-7A01-62A6-8F55-F64BB56FC2DE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6705600" y="881063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7" name="Freeform 515">
              <a:extLst>
                <a:ext uri="{FF2B5EF4-FFF2-40B4-BE49-F238E27FC236}">
                  <a16:creationId xmlns:a16="http://schemas.microsoft.com/office/drawing/2014/main" id="{EA491319-ECD3-FF97-8725-2DF1197CFEBB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6692900" y="963613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8" name="Freeform 516">
              <a:extLst>
                <a:ext uri="{FF2B5EF4-FFF2-40B4-BE49-F238E27FC236}">
                  <a16:creationId xmlns:a16="http://schemas.microsoft.com/office/drawing/2014/main" id="{5EBE825F-2F55-841F-B386-9CC67E10106F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6670675" y="998538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59" name="Freeform 517">
              <a:extLst>
                <a:ext uri="{FF2B5EF4-FFF2-40B4-BE49-F238E27FC236}">
                  <a16:creationId xmlns:a16="http://schemas.microsoft.com/office/drawing/2014/main" id="{6F908EF0-11B2-3A5A-A1A8-87CFB980D3BA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6670675" y="998538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0" name="Freeform 518">
              <a:extLst>
                <a:ext uri="{FF2B5EF4-FFF2-40B4-BE49-F238E27FC236}">
                  <a16:creationId xmlns:a16="http://schemas.microsoft.com/office/drawing/2014/main" id="{71E8CBFB-AD52-31CF-1BEF-15C8E06C0FDC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424613" y="585788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1" name="Freeform 519">
              <a:extLst>
                <a:ext uri="{FF2B5EF4-FFF2-40B4-BE49-F238E27FC236}">
                  <a16:creationId xmlns:a16="http://schemas.microsoft.com/office/drawing/2014/main" id="{4DE4D543-B210-13F4-C2C8-A05556E0AFB6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3740150" y="725488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2" name="Freeform 520">
              <a:extLst>
                <a:ext uri="{FF2B5EF4-FFF2-40B4-BE49-F238E27FC236}">
                  <a16:creationId xmlns:a16="http://schemas.microsoft.com/office/drawing/2014/main" id="{7F9CB1BB-27BC-45CC-0C8D-EDE32D814044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189413" y="317501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3" name="Freeform 521">
              <a:extLst>
                <a:ext uri="{FF2B5EF4-FFF2-40B4-BE49-F238E27FC236}">
                  <a16:creationId xmlns:a16="http://schemas.microsoft.com/office/drawing/2014/main" id="{C7FEFEE0-C6BF-BA99-E5C7-C7720F81A415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224338" y="130176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4" name="Freeform 522">
              <a:extLst>
                <a:ext uri="{FF2B5EF4-FFF2-40B4-BE49-F238E27FC236}">
                  <a16:creationId xmlns:a16="http://schemas.microsoft.com/office/drawing/2014/main" id="{8423A72F-AB48-7CDE-5E2D-019288F94BB3}"/>
                </a:ext>
              </a:extLst>
            </p:cNvPr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4016375" y="441326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5" name="Freeform 523">
              <a:extLst>
                <a:ext uri="{FF2B5EF4-FFF2-40B4-BE49-F238E27FC236}">
                  <a16:creationId xmlns:a16="http://schemas.microsoft.com/office/drawing/2014/main" id="{6EC7093C-E418-D5EC-C445-0C02094B7F28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21425" y="738188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366" name="Group 524">
              <a:extLst>
                <a:ext uri="{FF2B5EF4-FFF2-40B4-BE49-F238E27FC236}">
                  <a16:creationId xmlns:a16="http://schemas.microsoft.com/office/drawing/2014/main" id="{5C741989-D5C1-BC56-9A5A-33CD85B9C749}"/>
                </a:ext>
              </a:extLst>
            </p:cNvPr>
            <p:cNvGrpSpPr>
              <a:grpSpLocks/>
            </p:cNvGrpSpPr>
            <p:nvPr>
              <p:custDataLst>
                <p:tags r:id="rId364"/>
              </p:custDataLst>
            </p:nvPr>
          </p:nvGrpSpPr>
          <p:grpSpPr bwMode="auto">
            <a:xfrm>
              <a:off x="5111750" y="693738"/>
              <a:ext cx="671513" cy="384175"/>
              <a:chOff x="4115" y="1551"/>
              <a:chExt cx="504" cy="244"/>
            </a:xfrm>
          </p:grpSpPr>
          <p:sp>
            <p:nvSpPr>
              <p:cNvPr id="391" name="Freeform 525">
                <a:extLst>
                  <a:ext uri="{FF2B5EF4-FFF2-40B4-BE49-F238E27FC236}">
                    <a16:creationId xmlns:a16="http://schemas.microsoft.com/office/drawing/2014/main" id="{A8003DF8-9891-A4C5-B571-C00256053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2" name="Freeform 526">
                <a:extLst>
                  <a:ext uri="{FF2B5EF4-FFF2-40B4-BE49-F238E27FC236}">
                    <a16:creationId xmlns:a16="http://schemas.microsoft.com/office/drawing/2014/main" id="{8BCA8C88-FDA6-866D-381A-F75F4971E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367" name="Freeform 527">
              <a:extLst>
                <a:ext uri="{FF2B5EF4-FFF2-40B4-BE49-F238E27FC236}">
                  <a16:creationId xmlns:a16="http://schemas.microsoft.com/office/drawing/2014/main" id="{2D29842B-A46F-A8E6-364E-4BBA63F83A88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168775" y="1443038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8" name="Freeform 528">
              <a:extLst>
                <a:ext uri="{FF2B5EF4-FFF2-40B4-BE49-F238E27FC236}">
                  <a16:creationId xmlns:a16="http://schemas.microsoft.com/office/drawing/2014/main" id="{17E8EE95-8A45-CEAB-4F79-5923958D1F6C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43313" y="987426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69" name="Freeform 529">
              <a:extLst>
                <a:ext uri="{FF2B5EF4-FFF2-40B4-BE49-F238E27FC236}">
                  <a16:creationId xmlns:a16="http://schemas.microsoft.com/office/drawing/2014/main" id="{608A9AD4-4358-9EBD-1803-E3D5FEDC23D1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382963" y="1200151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0" name="Freeform 530">
              <a:extLst>
                <a:ext uri="{FF2B5EF4-FFF2-40B4-BE49-F238E27FC236}">
                  <a16:creationId xmlns:a16="http://schemas.microsoft.com/office/drawing/2014/main" id="{690D954A-E376-151D-75C4-E17340D29AE5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2974975" y="1546226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1" name="Freeform 531">
              <a:extLst>
                <a:ext uri="{FF2B5EF4-FFF2-40B4-BE49-F238E27FC236}">
                  <a16:creationId xmlns:a16="http://schemas.microsoft.com/office/drawing/2014/main" id="{A5F907AE-B195-E074-5461-F2218ACF25AD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2916238" y="1562101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2" name="Freeform 532">
              <a:extLst>
                <a:ext uri="{FF2B5EF4-FFF2-40B4-BE49-F238E27FC236}">
                  <a16:creationId xmlns:a16="http://schemas.microsoft.com/office/drawing/2014/main" id="{2AE766FE-C7A1-1D2C-FB30-338E6B9AE080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2890838" y="1555751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3" name="Freeform 533">
              <a:extLst>
                <a:ext uri="{FF2B5EF4-FFF2-40B4-BE49-F238E27FC236}">
                  <a16:creationId xmlns:a16="http://schemas.microsoft.com/office/drawing/2014/main" id="{557BCB6B-1269-9DE7-93BC-2CF6C4971420}"/>
                </a:ext>
              </a:extLst>
            </p:cNvPr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4162425" y="1284288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4" name="Freeform 534">
              <a:extLst>
                <a:ext uri="{FF2B5EF4-FFF2-40B4-BE49-F238E27FC236}">
                  <a16:creationId xmlns:a16="http://schemas.microsoft.com/office/drawing/2014/main" id="{F4594236-8D46-BDB1-8AD5-CE111690104F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6256338" y="1665288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grpSp>
          <p:nvGrpSpPr>
            <p:cNvPr id="375" name="Group 535">
              <a:extLst>
                <a:ext uri="{FF2B5EF4-FFF2-40B4-BE49-F238E27FC236}">
                  <a16:creationId xmlns:a16="http://schemas.microsoft.com/office/drawing/2014/main" id="{3F982734-8083-4277-623E-3F111442C094}"/>
                </a:ext>
              </a:extLst>
            </p:cNvPr>
            <p:cNvGrpSpPr>
              <a:grpSpLocks/>
            </p:cNvGrpSpPr>
            <p:nvPr>
              <p:custDataLst>
                <p:tags r:id="rId373"/>
              </p:custDataLst>
            </p:nvPr>
          </p:nvGrpSpPr>
          <p:grpSpPr bwMode="auto">
            <a:xfrm>
              <a:off x="3903663" y="1133476"/>
              <a:ext cx="482600" cy="201612"/>
              <a:chOff x="3289" y="1830"/>
              <a:chExt cx="363" cy="128"/>
            </a:xfrm>
          </p:grpSpPr>
          <p:sp>
            <p:nvSpPr>
              <p:cNvPr id="386" name="Freeform 536">
                <a:extLst>
                  <a:ext uri="{FF2B5EF4-FFF2-40B4-BE49-F238E27FC236}">
                    <a16:creationId xmlns:a16="http://schemas.microsoft.com/office/drawing/2014/main" id="{F2F25E4C-51B0-FE1A-6C20-7FFF0720F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87" name="Freeform 537">
                <a:extLst>
                  <a:ext uri="{FF2B5EF4-FFF2-40B4-BE49-F238E27FC236}">
                    <a16:creationId xmlns:a16="http://schemas.microsoft.com/office/drawing/2014/main" id="{62380286-A4F4-F0FC-F6DD-AC8E5221E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88" name="Freeform 538">
                <a:extLst>
                  <a:ext uri="{FF2B5EF4-FFF2-40B4-BE49-F238E27FC236}">
                    <a16:creationId xmlns:a16="http://schemas.microsoft.com/office/drawing/2014/main" id="{F4040AB2-71DE-E775-3A3F-7C434DE0E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89" name="Freeform 539">
                <a:extLst>
                  <a:ext uri="{FF2B5EF4-FFF2-40B4-BE49-F238E27FC236}">
                    <a16:creationId xmlns:a16="http://schemas.microsoft.com/office/drawing/2014/main" id="{75608BAB-67F0-D0FE-2E4D-C97CA4F23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  <p:sp>
            <p:nvSpPr>
              <p:cNvPr id="390" name="Freeform 540">
                <a:extLst>
                  <a:ext uri="{FF2B5EF4-FFF2-40B4-BE49-F238E27FC236}">
                    <a16:creationId xmlns:a16="http://schemas.microsoft.com/office/drawing/2014/main" id="{17AA3DD5-BD21-B6C7-90ED-4386B37E6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050">
                  <a:latin typeface="Tenorite" pitchFamily="2" charset="0"/>
                </a:endParaRPr>
              </a:p>
            </p:txBody>
          </p:sp>
        </p:grpSp>
        <p:sp>
          <p:nvSpPr>
            <p:cNvPr id="376" name="Freeform 541">
              <a:extLst>
                <a:ext uri="{FF2B5EF4-FFF2-40B4-BE49-F238E27FC236}">
                  <a16:creationId xmlns:a16="http://schemas.microsoft.com/office/drawing/2014/main" id="{3ABB63C6-6586-0AA3-23E8-212B2140D1A1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1892300" y="2286001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7" name="Freeform 542">
              <a:extLst>
                <a:ext uri="{FF2B5EF4-FFF2-40B4-BE49-F238E27FC236}">
                  <a16:creationId xmlns:a16="http://schemas.microsoft.com/office/drawing/2014/main" id="{5BCE458E-6172-A2D2-0834-B7E0625A09F3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837238" y="1722438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8" name="Freeform 543">
              <a:extLst>
                <a:ext uri="{FF2B5EF4-FFF2-40B4-BE49-F238E27FC236}">
                  <a16:creationId xmlns:a16="http://schemas.microsoft.com/office/drawing/2014/main" id="{EE955745-1F92-3F5A-06B5-828680607A98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924550" y="2408238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79" name="Freeform 544">
              <a:extLst>
                <a:ext uri="{FF2B5EF4-FFF2-40B4-BE49-F238E27FC236}">
                  <a16:creationId xmlns:a16="http://schemas.microsoft.com/office/drawing/2014/main" id="{624F38F1-C53B-2C51-2A87-40C2E38BA3C8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616450" y="1666876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0" name="Freeform 545">
              <a:extLst>
                <a:ext uri="{FF2B5EF4-FFF2-40B4-BE49-F238E27FC236}">
                  <a16:creationId xmlns:a16="http://schemas.microsoft.com/office/drawing/2014/main" id="{EB89A57D-EF87-09EE-12D2-75D7BD3B45AC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3343275" y="1720851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1" name="Freeform 546">
              <a:extLst>
                <a:ext uri="{FF2B5EF4-FFF2-40B4-BE49-F238E27FC236}">
                  <a16:creationId xmlns:a16="http://schemas.microsoft.com/office/drawing/2014/main" id="{CD9F4211-FD09-573F-FCA3-8A5C0F99D411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3013075" y="1338263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2" name="Freeform 547">
              <a:extLst>
                <a:ext uri="{FF2B5EF4-FFF2-40B4-BE49-F238E27FC236}">
                  <a16:creationId xmlns:a16="http://schemas.microsoft.com/office/drawing/2014/main" id="{9375CF95-4A6F-93A9-D968-CBE006ECB8E5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3713163" y="268288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3" name="Freeform 548">
              <a:extLst>
                <a:ext uri="{FF2B5EF4-FFF2-40B4-BE49-F238E27FC236}">
                  <a16:creationId xmlns:a16="http://schemas.microsoft.com/office/drawing/2014/main" id="{B3CF9F34-AC2C-B900-1EE6-048BF97162CD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4224338" y="252413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4" name="Freeform 549">
              <a:extLst>
                <a:ext uri="{FF2B5EF4-FFF2-40B4-BE49-F238E27FC236}">
                  <a16:creationId xmlns:a16="http://schemas.microsoft.com/office/drawing/2014/main" id="{3F6A67EF-753C-183C-AE0A-080F352FD3E5}"/>
                </a:ext>
              </a:extLst>
            </p:cNvPr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4367213" y="234951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  <p:sp>
          <p:nvSpPr>
            <p:cNvPr id="385" name="Freeform 550">
              <a:extLst>
                <a:ext uri="{FF2B5EF4-FFF2-40B4-BE49-F238E27FC236}">
                  <a16:creationId xmlns:a16="http://schemas.microsoft.com/office/drawing/2014/main" id="{8773E113-09B0-6738-2B2D-E748DE380F47}"/>
                </a:ext>
              </a:extLst>
            </p:cNvPr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4403725" y="242888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050">
                <a:latin typeface="Tenorite" pitchFamily="2" charset="0"/>
              </a:endParaRPr>
            </a:p>
          </p:txBody>
        </p:sp>
      </p:grpSp>
      <p:sp>
        <p:nvSpPr>
          <p:cNvPr id="554" name="TextBox 553">
            <a:extLst>
              <a:ext uri="{FF2B5EF4-FFF2-40B4-BE49-F238E27FC236}">
                <a16:creationId xmlns:a16="http://schemas.microsoft.com/office/drawing/2014/main" id="{053CE09B-2A13-EFDF-EBAE-9BDABAC631AE}"/>
              </a:ext>
            </a:extLst>
          </p:cNvPr>
          <p:cNvSpPr txBox="1"/>
          <p:nvPr/>
        </p:nvSpPr>
        <p:spPr>
          <a:xfrm>
            <a:off x="266609" y="96736"/>
            <a:ext cx="6354625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100" b="1" dirty="0">
                <a:latin typeface="Tenorite" pitchFamily="2" charset="0"/>
              </a:rPr>
              <a:t>A non-profit for research, tool-building and training</a:t>
            </a:r>
          </a:p>
        </p:txBody>
      </p: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4C31FA98-A59D-12A0-1DD7-630F55F7E8C4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CleanShot 2022-09-27 at 11.50.02" descr="CleanShot 2022-09-27 at 11.50.02">
            <a:hlinkClick r:id="" action="ppaction://media"/>
            <a:extLst>
              <a:ext uri="{FF2B5EF4-FFF2-40B4-BE49-F238E27FC236}">
                <a16:creationId xmlns:a16="http://schemas.microsoft.com/office/drawing/2014/main" id="{B0D87B5C-D2B2-12BC-9894-0C2A0D7DB83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385"/>
          <a:stretch>
            <a:fillRect/>
          </a:stretch>
        </p:blipFill>
        <p:spPr>
          <a:xfrm>
            <a:off x="697861" y="566712"/>
            <a:ext cx="7513171" cy="449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74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5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E0F6F8E-9BB7-3032-A68B-91834FD55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838" y="110752"/>
            <a:ext cx="5116214" cy="360098"/>
          </a:xfrm>
        </p:spPr>
        <p:txBody>
          <a:bodyPr>
            <a:normAutofit fontScale="90000"/>
          </a:bodyPr>
          <a:lstStyle/>
          <a:p>
            <a:r>
              <a:rPr lang="en-US" dirty="0"/>
              <a:t>Training bottlenecks in data science</a:t>
            </a:r>
            <a:endParaRPr lang="en-CH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B9637B0-E16D-249F-3E33-DD392A876D9D}"/>
              </a:ext>
            </a:extLst>
          </p:cNvPr>
          <p:cNvGrpSpPr/>
          <p:nvPr/>
        </p:nvGrpSpPr>
        <p:grpSpPr>
          <a:xfrm>
            <a:off x="359564" y="769418"/>
            <a:ext cx="2058054" cy="2125174"/>
            <a:chOff x="479419" y="1025890"/>
            <a:chExt cx="2744072" cy="2833565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7B276A08-F284-8859-8ABA-A4E88D0B47E3}"/>
                </a:ext>
              </a:extLst>
            </p:cNvPr>
            <p:cNvGrpSpPr/>
            <p:nvPr/>
          </p:nvGrpSpPr>
          <p:grpSpPr>
            <a:xfrm>
              <a:off x="1372751" y="2202922"/>
              <a:ext cx="381950" cy="356572"/>
              <a:chOff x="2101073" y="4443720"/>
              <a:chExt cx="488376" cy="488376"/>
            </a:xfrm>
          </p:grpSpPr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0DA52870-C960-E983-CB53-A1618D5741F2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D2492D71-DD45-4491-E8F0-C0F6FE3D7D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65B82FAE-1092-34AC-C6DC-2A4A87E890D8}"/>
                </a:ext>
              </a:extLst>
            </p:cNvPr>
            <p:cNvGrpSpPr/>
            <p:nvPr/>
          </p:nvGrpSpPr>
          <p:grpSpPr>
            <a:xfrm>
              <a:off x="1885636" y="2185997"/>
              <a:ext cx="381950" cy="356572"/>
              <a:chOff x="2101073" y="4443720"/>
              <a:chExt cx="488376" cy="488376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A4681AF8-4C9C-83D4-FAE6-5DD40AE9513B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153E7FAA-0706-40A9-4349-D1B01D5D23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8294677C-E6D7-C168-5F4C-910F78144E53}"/>
                </a:ext>
              </a:extLst>
            </p:cNvPr>
            <p:cNvGrpSpPr/>
            <p:nvPr/>
          </p:nvGrpSpPr>
          <p:grpSpPr>
            <a:xfrm>
              <a:off x="1701497" y="2564135"/>
              <a:ext cx="381950" cy="356572"/>
              <a:chOff x="2101073" y="4443720"/>
              <a:chExt cx="488376" cy="488376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04B7988C-65E0-579F-A3D6-B95BE992AE28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98" name="Picture 97">
                <a:extLst>
                  <a:ext uri="{FF2B5EF4-FFF2-40B4-BE49-F238E27FC236}">
                    <a16:creationId xmlns:a16="http://schemas.microsoft.com/office/drawing/2014/main" id="{B9ECE1FE-9E62-55CA-6F89-20741DF415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CF7DE9A6-E75C-E8AB-F0A3-52CC11608CEF}"/>
                </a:ext>
              </a:extLst>
            </p:cNvPr>
            <p:cNvGrpSpPr/>
            <p:nvPr/>
          </p:nvGrpSpPr>
          <p:grpSpPr>
            <a:xfrm>
              <a:off x="1945884" y="2964360"/>
              <a:ext cx="381950" cy="356572"/>
              <a:chOff x="2101073" y="4443720"/>
              <a:chExt cx="488376" cy="488376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CB98F24F-6E85-3904-21A4-07F8A249E555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205EDAA8-0A05-0C3F-2C1F-93A624BF00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3661DED6-4D50-ED06-40E6-AB2E4B8323EB}"/>
                </a:ext>
              </a:extLst>
            </p:cNvPr>
            <p:cNvGrpSpPr/>
            <p:nvPr/>
          </p:nvGrpSpPr>
          <p:grpSpPr>
            <a:xfrm>
              <a:off x="1406178" y="2976114"/>
              <a:ext cx="381950" cy="356572"/>
              <a:chOff x="2101073" y="4443720"/>
              <a:chExt cx="488376" cy="488376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229F3280-CBCB-361D-CFC8-3BC4DAE50C11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1473E241-142B-289E-D53A-23215A64E6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30E33625-3AE1-4C4C-73CD-E2F69B38FE9A}"/>
                </a:ext>
              </a:extLst>
            </p:cNvPr>
            <p:cNvGrpSpPr/>
            <p:nvPr/>
          </p:nvGrpSpPr>
          <p:grpSpPr>
            <a:xfrm>
              <a:off x="1163025" y="3416664"/>
              <a:ext cx="381950" cy="356572"/>
              <a:chOff x="2101073" y="4443720"/>
              <a:chExt cx="488376" cy="488376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35C4CCFF-AA8F-7419-34AB-8B8648461521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83A2E71C-AB79-F326-BDAE-B7A7EA64E7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963AF047-81A2-B61E-1EB8-480482A7F616}"/>
                </a:ext>
              </a:extLst>
            </p:cNvPr>
            <p:cNvGrpSpPr/>
            <p:nvPr/>
          </p:nvGrpSpPr>
          <p:grpSpPr>
            <a:xfrm>
              <a:off x="1678152" y="3502883"/>
              <a:ext cx="381950" cy="356572"/>
              <a:chOff x="2101073" y="4443720"/>
              <a:chExt cx="488376" cy="488376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59A1771B-68C3-C4E4-0A18-108263779C5B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10" name="Picture 109">
                <a:extLst>
                  <a:ext uri="{FF2B5EF4-FFF2-40B4-BE49-F238E27FC236}">
                    <a16:creationId xmlns:a16="http://schemas.microsoft.com/office/drawing/2014/main" id="{224CB5B6-DFFA-09C1-E1FE-5A0D139099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2832770E-FE55-D063-CED3-75BFDA245D3F}"/>
                </a:ext>
              </a:extLst>
            </p:cNvPr>
            <p:cNvGrpSpPr/>
            <p:nvPr/>
          </p:nvGrpSpPr>
          <p:grpSpPr>
            <a:xfrm>
              <a:off x="2211470" y="3364595"/>
              <a:ext cx="381950" cy="356572"/>
              <a:chOff x="2101073" y="4443720"/>
              <a:chExt cx="488376" cy="488376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4EE62069-75F5-AB7E-BE10-B8281E78D0B8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13" name="Picture 112">
                <a:extLst>
                  <a:ext uri="{FF2B5EF4-FFF2-40B4-BE49-F238E27FC236}">
                    <a16:creationId xmlns:a16="http://schemas.microsoft.com/office/drawing/2014/main" id="{11138033-4CF3-C8DB-F672-F604F7C071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5A5D370-3AFD-5C9C-C44A-761E70B1981E}"/>
                </a:ext>
              </a:extLst>
            </p:cNvPr>
            <p:cNvGrpSpPr/>
            <p:nvPr/>
          </p:nvGrpSpPr>
          <p:grpSpPr>
            <a:xfrm>
              <a:off x="2518466" y="2915523"/>
              <a:ext cx="381950" cy="356572"/>
              <a:chOff x="2101073" y="4443720"/>
              <a:chExt cx="488376" cy="488376"/>
            </a:xfrm>
          </p:grpSpPr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66F0C73A-9978-B243-3FDB-9AF7C9AA1683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C7931B27-19B1-BD72-1C51-020070B836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76AADC7E-688E-1FD6-361E-5890AEC7BDE6}"/>
                </a:ext>
              </a:extLst>
            </p:cNvPr>
            <p:cNvGrpSpPr/>
            <p:nvPr/>
          </p:nvGrpSpPr>
          <p:grpSpPr>
            <a:xfrm>
              <a:off x="2381486" y="2447411"/>
              <a:ext cx="381950" cy="356572"/>
              <a:chOff x="2101073" y="4443720"/>
              <a:chExt cx="488376" cy="488376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BF51A2AD-A182-D5E7-7BE3-1A7376B1A06D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19" name="Picture 118">
                <a:extLst>
                  <a:ext uri="{FF2B5EF4-FFF2-40B4-BE49-F238E27FC236}">
                    <a16:creationId xmlns:a16="http://schemas.microsoft.com/office/drawing/2014/main" id="{6FD54110-5613-F22D-2C6D-50B7BD5187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792D9A5C-E057-E74D-B716-309899F5F0DB}"/>
                </a:ext>
              </a:extLst>
            </p:cNvPr>
            <p:cNvGrpSpPr/>
            <p:nvPr/>
          </p:nvGrpSpPr>
          <p:grpSpPr>
            <a:xfrm>
              <a:off x="1001659" y="2509171"/>
              <a:ext cx="381950" cy="356572"/>
              <a:chOff x="2101073" y="4443720"/>
              <a:chExt cx="488376" cy="488376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D8371287-CF66-D941-ACA8-5AA513204BCD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22" name="Picture 121">
                <a:extLst>
                  <a:ext uri="{FF2B5EF4-FFF2-40B4-BE49-F238E27FC236}">
                    <a16:creationId xmlns:a16="http://schemas.microsoft.com/office/drawing/2014/main" id="{76EF8DBC-DB21-C4C8-89B3-F1D18D1DDC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4D032494-2B2D-DC3D-F839-2CE9AC20888A}"/>
                </a:ext>
              </a:extLst>
            </p:cNvPr>
            <p:cNvGrpSpPr/>
            <p:nvPr/>
          </p:nvGrpSpPr>
          <p:grpSpPr>
            <a:xfrm>
              <a:off x="902151" y="3000704"/>
              <a:ext cx="381950" cy="356572"/>
              <a:chOff x="2101073" y="4443720"/>
              <a:chExt cx="488376" cy="488376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C6769DED-DC56-6181-30D1-7D1AFA077837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solidFill>
                <a:srgbClr val="57A7B1">
                  <a:alpha val="4941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BDE02981-229F-6871-FC16-A53179E347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</p:spPr>
          </p:pic>
        </p:grp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EBDFBF8F-D9AD-C3ED-0E8D-7393DDC0857B}"/>
                </a:ext>
              </a:extLst>
            </p:cNvPr>
            <p:cNvSpPr txBox="1"/>
            <p:nvPr/>
          </p:nvSpPr>
          <p:spPr>
            <a:xfrm>
              <a:off x="479419" y="1025890"/>
              <a:ext cx="2744072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100" b="1">
                  <a:solidFill>
                    <a:srgbClr val="79B8BE"/>
                  </a:solidFill>
                  <a:latin typeface="Avenir Next LT Pro" panose="020B0504020202020204" pitchFamily="34" charset="77"/>
                </a:rPr>
                <a:t>Rich pool of potential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817E5D9-9744-A782-6FEF-AE53485805CE}"/>
              </a:ext>
            </a:extLst>
          </p:cNvPr>
          <p:cNvGrpSpPr/>
          <p:nvPr/>
        </p:nvGrpSpPr>
        <p:grpSpPr>
          <a:xfrm>
            <a:off x="6402999" y="764279"/>
            <a:ext cx="2513887" cy="1631890"/>
            <a:chOff x="8537331" y="1019038"/>
            <a:chExt cx="3351849" cy="2175853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98276997-61EC-EBE9-5EF3-F4AF401E2021}"/>
                </a:ext>
              </a:extLst>
            </p:cNvPr>
            <p:cNvGrpSpPr/>
            <p:nvPr/>
          </p:nvGrpSpPr>
          <p:grpSpPr>
            <a:xfrm>
              <a:off x="10086877" y="2546258"/>
              <a:ext cx="604294" cy="648633"/>
              <a:chOff x="2101073" y="4443720"/>
              <a:chExt cx="488376" cy="488376"/>
            </a:xfrm>
            <a:solidFill>
              <a:srgbClr val="57A7B1"/>
            </a:solidFill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2D5CB5A2-7A94-563C-153E-D9800DE1968E}"/>
                  </a:ext>
                </a:extLst>
              </p:cNvPr>
              <p:cNvSpPr/>
              <p:nvPr/>
            </p:nvSpPr>
            <p:spPr>
              <a:xfrm>
                <a:off x="2101073" y="4443720"/>
                <a:ext cx="488376" cy="48837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>
                  <a:latin typeface="Avenir Next LT Pro" panose="020B0504020202020204" pitchFamily="34" charset="77"/>
                </a:endParaRPr>
              </a:p>
            </p:txBody>
          </p:sp>
          <p:pic>
            <p:nvPicPr>
              <p:cNvPr id="129" name="Picture 128">
                <a:extLst>
                  <a:ext uri="{FF2B5EF4-FFF2-40B4-BE49-F238E27FC236}">
                    <a16:creationId xmlns:a16="http://schemas.microsoft.com/office/drawing/2014/main" id="{B7EA5BB1-6FEE-0026-00D9-F67BEB079D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91731" y="4493505"/>
                <a:ext cx="285262" cy="367275"/>
              </a:xfrm>
              <a:prstGeom prst="rect">
                <a:avLst/>
              </a:prstGeom>
              <a:grpFill/>
            </p:spPr>
          </p:pic>
        </p:grp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40330A8D-3D1E-9FA3-5B95-D8F36ED50A28}"/>
                </a:ext>
              </a:extLst>
            </p:cNvPr>
            <p:cNvSpPr txBox="1"/>
            <p:nvPr/>
          </p:nvSpPr>
          <p:spPr>
            <a:xfrm>
              <a:off x="8537331" y="1019038"/>
              <a:ext cx="3351849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100" b="1" dirty="0">
                  <a:solidFill>
                    <a:srgbClr val="509AA4"/>
                  </a:solidFill>
                  <a:latin typeface="Avenir Next LT Pro" panose="020B0504020202020204" pitchFamily="34" charset="77"/>
                </a:rPr>
                <a:t>Health data scientists</a:t>
              </a:r>
            </a:p>
          </p:txBody>
        </p: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CEAE2A1-3810-A09D-85AF-8056D251FCDC}"/>
              </a:ext>
            </a:extLst>
          </p:cNvPr>
          <p:cNvCxnSpPr>
            <a:cxnSpLocks/>
          </p:cNvCxnSpPr>
          <p:nvPr/>
        </p:nvCxnSpPr>
        <p:spPr>
          <a:xfrm>
            <a:off x="359564" y="485653"/>
            <a:ext cx="558323" cy="0"/>
          </a:xfrm>
          <a:prstGeom prst="line">
            <a:avLst/>
          </a:prstGeom>
          <a:ln w="38100">
            <a:solidFill>
              <a:srgbClr val="57A7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03AE7A3A-7726-F85C-13A9-E5D8932C21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50" y="762706"/>
            <a:ext cx="2873444" cy="2873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005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E5769"/>
      </a:accent1>
      <a:accent2>
        <a:srgbClr val="57A7B3"/>
      </a:accent2>
      <a:accent3>
        <a:srgbClr val="A5A5A5"/>
      </a:accent3>
      <a:accent4>
        <a:srgbClr val="97A6C7"/>
      </a:accent4>
      <a:accent5>
        <a:srgbClr val="5B9BD5"/>
      </a:accent5>
      <a:accent6>
        <a:srgbClr val="A3B4C0"/>
      </a:accent6>
      <a:hlink>
        <a:srgbClr val="57A7B3"/>
      </a:hlink>
      <a:folHlink>
        <a:srgbClr val="A3B4C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1</TotalTime>
  <Words>2004</Words>
  <Application>Microsoft Macintosh PowerPoint</Application>
  <PresentationFormat>On-screen Show (16:9)</PresentationFormat>
  <Paragraphs>381</Paragraphs>
  <Slides>45</Slides>
  <Notes>42</Notes>
  <HiddenSlides>0</HiddenSlides>
  <MMClips>3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6" baseType="lpstr">
      <vt:lpstr>Arial</vt:lpstr>
      <vt:lpstr>Avenir</vt:lpstr>
      <vt:lpstr>Avenir Next</vt:lpstr>
      <vt:lpstr>Avenir Next Condensed</vt:lpstr>
      <vt:lpstr>Avenir Next LT Pro</vt:lpstr>
      <vt:lpstr>Avenir Next Medium</vt:lpstr>
      <vt:lpstr>Calibri</vt:lpstr>
      <vt:lpstr>Lato</vt:lpstr>
      <vt:lpstr>Tenorite</vt:lpstr>
      <vt:lpstr>Whitney</vt:lpstr>
      <vt:lpstr>Office Theme</vt:lpstr>
      <vt:lpstr>R for busy people </vt:lpstr>
      <vt:lpstr>Meeting 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aining bottlenecks in data science</vt:lpstr>
      <vt:lpstr>Training bottlenecks in data science</vt:lpstr>
      <vt:lpstr>Training bottlenecks in data sci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📷 Practice using cosmos.video</vt:lpstr>
      <vt:lpstr>📷 Practice using cosmos.video</vt:lpstr>
      <vt:lpstr>📷 Practice using cosmos.vide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 for busy people </dc:title>
  <cp:lastModifiedBy>Kenechukwu Nwosu</cp:lastModifiedBy>
  <cp:revision>60</cp:revision>
  <dcterms:modified xsi:type="dcterms:W3CDTF">2023-04-29T23:52:53Z</dcterms:modified>
</cp:coreProperties>
</file>